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29.xml" ContentType="application/vnd.openxmlformats-officedocument.presentationml.tags+xml"/>
  <Override PartName="/ppt/notesSlides/notesSlide2.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tags/tag30.xml" ContentType="application/vnd.openxmlformats-officedocument.presentationml.tags+xml"/>
  <Override PartName="/ppt/notesSlides/notesSlide3.xml" ContentType="application/vnd.openxmlformats-officedocument.presentationml.notesSlide+xml"/>
  <Override PartName="/ppt/charts/chart5.xml" ContentType="application/vnd.openxmlformats-officedocument.drawingml.chart+xml"/>
  <Override PartName="/ppt/charts/chart6.xml" ContentType="application/vnd.openxmlformats-officedocument.drawingml.chart+xml"/>
  <Override PartName="/ppt/tags/tag31.xml" ContentType="application/vnd.openxmlformats-officedocument.presentationml.tags+xml"/>
  <Override PartName="/ppt/notesSlides/notesSlide4.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tags/tag32.xml" ContentType="application/vnd.openxmlformats-officedocument.presentationml.tags+xml"/>
  <Override PartName="/ppt/notesSlides/notesSlide5.xml" ContentType="application/vnd.openxmlformats-officedocument.presentationml.notesSlide+xml"/>
  <Override PartName="/ppt/charts/chart9.xml" ContentType="application/vnd.openxmlformats-officedocument.drawingml.chart+xml"/>
  <Override PartName="/ppt/charts/chart10.xml" ContentType="application/vnd.openxmlformats-officedocument.drawingml.chart+xml"/>
  <Override PartName="/ppt/tags/tag33.xml" ContentType="application/vnd.openxmlformats-officedocument.presentationml.tags+xml"/>
  <Override PartName="/ppt/notesSlides/notesSlide6.xml" ContentType="application/vnd.openxmlformats-officedocument.presentationml.notesSlide+xml"/>
  <Override PartName="/ppt/charts/chart11.xml" ContentType="application/vnd.openxmlformats-officedocument.drawingml.chart+xml"/>
  <Override PartName="/ppt/charts/chart12.xml" ContentType="application/vnd.openxmlformats-officedocument.drawingml.chart+xml"/>
  <Override PartName="/ppt/tags/tag34.xml" ContentType="application/vnd.openxmlformats-officedocument.presentationml.tags+xml"/>
  <Override PartName="/ppt/notesSlides/notesSlide7.xml" ContentType="application/vnd.openxmlformats-officedocument.presentationml.notesSlide+xml"/>
  <Override PartName="/ppt/charts/chart13.xml" ContentType="application/vnd.openxmlformats-officedocument.drawingml.chart+xml"/>
  <Override PartName="/ppt/charts/chart14.xml" ContentType="application/vnd.openxmlformats-officedocument.drawingml.chart+xml"/>
  <Override PartName="/ppt/tags/tag35.xml" ContentType="application/vnd.openxmlformats-officedocument.presentationml.tags+xml"/>
  <Override PartName="/ppt/notesSlides/notesSlide8.xml" ContentType="application/vnd.openxmlformats-officedocument.presentationml.notesSlide+xml"/>
  <Override PartName="/ppt/charts/chart15.xml" ContentType="application/vnd.openxmlformats-officedocument.drawingml.chart+xml"/>
  <Override PartName="/ppt/charts/chart16.xml" ContentType="application/vnd.openxmlformats-officedocument.drawingml.chart+xml"/>
  <Override PartName="/ppt/tags/tag36.xml" ContentType="application/vnd.openxmlformats-officedocument.presentationml.tags+xml"/>
  <Override PartName="/ppt/notesSlides/notesSlide9.xml" ContentType="application/vnd.openxmlformats-officedocument.presentationml.notesSlide+xml"/>
  <Override PartName="/ppt/charts/chart17.xml" ContentType="application/vnd.openxmlformats-officedocument.drawingml.chart+xml"/>
  <Override PartName="/ppt/charts/chart18.xml" ContentType="application/vnd.openxmlformats-officedocument.drawingml.chart+xml"/>
  <Override PartName="/ppt/tags/tag37.xml" ContentType="application/vnd.openxmlformats-officedocument.presentationml.tags+xml"/>
  <Override PartName="/ppt/notesSlides/notesSlide10.xml" ContentType="application/vnd.openxmlformats-officedocument.presentationml.notesSlide+xml"/>
  <Override PartName="/ppt/charts/chart19.xml" ContentType="application/vnd.openxmlformats-officedocument.drawingml.chart+xml"/>
  <Override PartName="/ppt/charts/chart20.xml" ContentType="application/vnd.openxmlformats-officedocument.drawingml.chart+xml"/>
  <Override PartName="/ppt/tags/tag38.xml" ContentType="application/vnd.openxmlformats-officedocument.presentationml.tags+xml"/>
  <Override PartName="/ppt/notesSlides/notesSlide11.xml" ContentType="application/vnd.openxmlformats-officedocument.presentationml.notesSlide+xml"/>
  <Override PartName="/ppt/charts/chart21.xml" ContentType="application/vnd.openxmlformats-officedocument.drawingml.chart+xml"/>
  <Override PartName="/ppt/charts/chart22.xml" ContentType="application/vnd.openxmlformats-officedocument.drawingml.chart+xml"/>
  <Override PartName="/ppt/tags/tag39.xml" ContentType="application/vnd.openxmlformats-officedocument.presentationml.tags+xml"/>
  <Override PartName="/ppt/notesSlides/notesSlide12.xml" ContentType="application/vnd.openxmlformats-officedocument.presentationml.notesSlide+xml"/>
  <Override PartName="/ppt/charts/chart23.xml" ContentType="application/vnd.openxmlformats-officedocument.drawingml.chart+xml"/>
  <Override PartName="/ppt/charts/chart24.xml" ContentType="application/vnd.openxmlformats-officedocument.drawingml.chart+xml"/>
  <Override PartName="/ppt/tags/tag40.xml" ContentType="application/vnd.openxmlformats-officedocument.presentationml.tags+xml"/>
  <Override PartName="/ppt/notesSlides/notesSlide13.xml" ContentType="application/vnd.openxmlformats-officedocument.presentationml.notesSlide+xml"/>
  <Override PartName="/ppt/tags/tag41.xml" ContentType="application/vnd.openxmlformats-officedocument.presentationml.tags+xml"/>
  <Override PartName="/ppt/notesSlides/notesSlide14.xml" ContentType="application/vnd.openxmlformats-officedocument.presentationml.notesSlide+xml"/>
  <Override PartName="/ppt/tags/tag42.xml" ContentType="application/vnd.openxmlformats-officedocument.presentationml.tags+xml"/>
  <Override PartName="/ppt/notesSlides/notesSlide15.xml" ContentType="application/vnd.openxmlformats-officedocument.presentationml.notesSlide+xml"/>
  <Override PartName="/ppt/tags/tag43.xml" ContentType="application/vnd.openxmlformats-officedocument.presentationml.tags+xml"/>
  <Override PartName="/ppt/notesSlides/notesSlide16.xml" ContentType="application/vnd.openxmlformats-officedocument.presentationml.notesSlide+xml"/>
  <Override PartName="/ppt/tags/tag44.xml" ContentType="application/vnd.openxmlformats-officedocument.presentationml.tags+xml"/>
  <Override PartName="/ppt/notesSlides/notesSlide17.xml" ContentType="application/vnd.openxmlformats-officedocument.presentationml.notesSlide+xml"/>
  <Override PartName="/ppt/charts/chart25.xml" ContentType="application/vnd.openxmlformats-officedocument.drawingml.chart+xml"/>
  <Override PartName="/ppt/charts/style1.xml" ContentType="application/vnd.ms-office.chartstyle+xml"/>
  <Override PartName="/ppt/charts/colors1.xml" ContentType="application/vnd.ms-office.chartcolorstyle+xml"/>
  <Override PartName="/ppt/tags/tag45.xml" ContentType="application/vnd.openxmlformats-officedocument.presentationml.tags+xml"/>
  <Override PartName="/ppt/notesSlides/notesSlide18.xml" ContentType="application/vnd.openxmlformats-officedocument.presentationml.notesSlide+xml"/>
  <Override PartName="/ppt/charts/chart26.xml" ContentType="application/vnd.openxmlformats-officedocument.drawingml.chart+xml"/>
  <Override PartName="/ppt/charts/style2.xml" ContentType="application/vnd.ms-office.chartstyle+xml"/>
  <Override PartName="/ppt/charts/colors2.xml" ContentType="application/vnd.ms-office.chartcolorstyle+xml"/>
  <Override PartName="/ppt/tags/tag46.xml" ContentType="application/vnd.openxmlformats-officedocument.presentationml.tags+xml"/>
  <Override PartName="/ppt/notesSlides/notesSlide19.xml" ContentType="application/vnd.openxmlformats-officedocument.presentationml.notesSlide+xml"/>
  <Override PartName="/ppt/charts/chart27.xml" ContentType="application/vnd.openxmlformats-officedocument.drawingml.chart+xml"/>
  <Override PartName="/ppt/charts/style3.xml" ContentType="application/vnd.ms-office.chartstyle+xml"/>
  <Override PartName="/ppt/charts/colors3.xml" ContentType="application/vnd.ms-office.chartcolorstyle+xml"/>
  <Override PartName="/ppt/tags/tag47.xml" ContentType="application/vnd.openxmlformats-officedocument.presentationml.tags+xml"/>
  <Override PartName="/ppt/notesSlides/notesSlide20.xml" ContentType="application/vnd.openxmlformats-officedocument.presentationml.notesSlide+xml"/>
  <Override PartName="/ppt/charts/chart28.xml" ContentType="application/vnd.openxmlformats-officedocument.drawingml.chart+xml"/>
  <Override PartName="/ppt/charts/style4.xml" ContentType="application/vnd.ms-office.chartstyle+xml"/>
  <Override PartName="/ppt/charts/colors4.xml" ContentType="application/vnd.ms-office.chartcolorstyle+xml"/>
  <Override PartName="/ppt/tags/tag48.xml" ContentType="application/vnd.openxmlformats-officedocument.presentationml.tags+xml"/>
  <Override PartName="/ppt/notesSlides/notesSlide21.xml" ContentType="application/vnd.openxmlformats-officedocument.presentationml.notesSlide+xml"/>
  <Override PartName="/ppt/charts/chart29.xml" ContentType="application/vnd.openxmlformats-officedocument.drawingml.chart+xml"/>
  <Override PartName="/ppt/charts/style5.xml" ContentType="application/vnd.ms-office.chartstyle+xml"/>
  <Override PartName="/ppt/charts/colors5.xml" ContentType="application/vnd.ms-office.chartcolorstyle+xml"/>
  <Override PartName="/ppt/tags/tag49.xml" ContentType="application/vnd.openxmlformats-officedocument.presentationml.tags+xml"/>
  <Override PartName="/ppt/notesSlides/notesSlide22.xml" ContentType="application/vnd.openxmlformats-officedocument.presentationml.notesSlide+xml"/>
  <Override PartName="/ppt/charts/chart30.xml" ContentType="application/vnd.openxmlformats-officedocument.drawingml.chart+xml"/>
  <Override PartName="/ppt/charts/style6.xml" ContentType="application/vnd.ms-office.chartstyle+xml"/>
  <Override PartName="/ppt/charts/colors6.xml" ContentType="application/vnd.ms-office.chartcolorstyle+xml"/>
  <Override PartName="/ppt/tags/tag50.xml" ContentType="application/vnd.openxmlformats-officedocument.presentationml.tags+xml"/>
  <Override PartName="/ppt/charts/chart31.xml" ContentType="application/vnd.openxmlformats-officedocument.drawingml.chart+xml"/>
  <Override PartName="/ppt/charts/style7.xml" ContentType="application/vnd.ms-office.chartstyle+xml"/>
  <Override PartName="/ppt/charts/colors7.xml" ContentType="application/vnd.ms-office.chartcolorstyle+xml"/>
  <Override PartName="/ppt/tags/tag51.xml" ContentType="application/vnd.openxmlformats-officedocument.presentationml.tags+xml"/>
  <Override PartName="/ppt/charts/chart32.xml" ContentType="application/vnd.openxmlformats-officedocument.drawingml.chart+xml"/>
  <Override PartName="/ppt/charts/style8.xml" ContentType="application/vnd.ms-office.chartstyle+xml"/>
  <Override PartName="/ppt/charts/colors8.xml" ContentType="application/vnd.ms-office.chartcolorstyle+xml"/>
  <Override PartName="/ppt/tags/tag52.xml" ContentType="application/vnd.openxmlformats-officedocument.presentationml.tags+xml"/>
  <Override PartName="/ppt/charts/chart33.xml" ContentType="application/vnd.openxmlformats-officedocument.drawingml.chart+xml"/>
  <Override PartName="/ppt/charts/style9.xml" ContentType="application/vnd.ms-office.chartstyle+xml"/>
  <Override PartName="/ppt/charts/colors9.xml" ContentType="application/vnd.ms-office.chartcolorstyle+xml"/>
  <Override PartName="/ppt/tags/tag53.xml" ContentType="application/vnd.openxmlformats-officedocument.presentationml.tags+xml"/>
  <Override PartName="/ppt/charts/chart34.xml" ContentType="application/vnd.openxmlformats-officedocument.drawingml.chart+xml"/>
  <Override PartName="/ppt/charts/style10.xml" ContentType="application/vnd.ms-office.chartstyle+xml"/>
  <Override PartName="/ppt/charts/colors10.xml" ContentType="application/vnd.ms-office.chartcolorstyle+xml"/>
  <Override PartName="/ppt/tags/tag54.xml" ContentType="application/vnd.openxmlformats-officedocument.presentationml.tags+xml"/>
  <Override PartName="/ppt/charts/chart35.xml" ContentType="application/vnd.openxmlformats-officedocument.drawingml.chart+xml"/>
  <Override PartName="/ppt/charts/style11.xml" ContentType="application/vnd.ms-office.chartstyle+xml"/>
  <Override PartName="/ppt/charts/colors11.xml" ContentType="application/vnd.ms-office.chartcolorstyle+xml"/>
  <Override PartName="/ppt/tags/tag55.xml" ContentType="application/vnd.openxmlformats-officedocument.presentationml.tags+xml"/>
  <Override PartName="/ppt/charts/chart36.xml" ContentType="application/vnd.openxmlformats-officedocument.drawingml.chart+xml"/>
  <Override PartName="/ppt/charts/style12.xml" ContentType="application/vnd.ms-office.chartstyle+xml"/>
  <Override PartName="/ppt/charts/colors12.xml" ContentType="application/vnd.ms-office.chartcolorstyle+xml"/>
  <Override PartName="/ppt/tags/tag56.xml" ContentType="application/vnd.openxmlformats-officedocument.presentationml.tags+xml"/>
  <Override PartName="/ppt/charts/chart37.xml" ContentType="application/vnd.openxmlformats-officedocument.drawingml.chart+xml"/>
  <Override PartName="/ppt/charts/style13.xml" ContentType="application/vnd.ms-office.chartstyle+xml"/>
  <Override PartName="/ppt/charts/colors13.xml" ContentType="application/vnd.ms-office.chartcolorstyle+xml"/>
  <Override PartName="/ppt/tags/tag57.xml" ContentType="application/vnd.openxmlformats-officedocument.presentationml.tags+xml"/>
  <Override PartName="/ppt/charts/chart38.xml" ContentType="application/vnd.openxmlformats-officedocument.drawingml.chart+xml"/>
  <Override PartName="/ppt/charts/style14.xml" ContentType="application/vnd.ms-office.chartstyle+xml"/>
  <Override PartName="/ppt/charts/colors14.xml" ContentType="application/vnd.ms-office.chartcolorstyle+xml"/>
  <Override PartName="/ppt/tags/tag58.xml" ContentType="application/vnd.openxmlformats-officedocument.presentationml.tags+xml"/>
  <Override PartName="/ppt/charts/chart39.xml" ContentType="application/vnd.openxmlformats-officedocument.drawingml.chart+xml"/>
  <Override PartName="/ppt/charts/style15.xml" ContentType="application/vnd.ms-office.chartstyle+xml"/>
  <Override PartName="/ppt/charts/colors15.xml" ContentType="application/vnd.ms-office.chartcolorstyle+xml"/>
  <Override PartName="/ppt/tags/tag59.xml" ContentType="application/vnd.openxmlformats-officedocument.presentationml.tags+xml"/>
  <Override PartName="/ppt/charts/chart40.xml" ContentType="application/vnd.openxmlformats-officedocument.drawingml.chart+xml"/>
  <Override PartName="/ppt/charts/style16.xml" ContentType="application/vnd.ms-office.chartstyle+xml"/>
  <Override PartName="/ppt/charts/colors16.xml" ContentType="application/vnd.ms-office.chartcolorstyle+xml"/>
  <Override PartName="/ppt/tags/tag60.xml" ContentType="application/vnd.openxmlformats-officedocument.presentationml.tags+xml"/>
  <Override PartName="/ppt/charts/chart41.xml" ContentType="application/vnd.openxmlformats-officedocument.drawingml.chart+xml"/>
  <Override PartName="/ppt/charts/style17.xml" ContentType="application/vnd.ms-office.chartstyle+xml"/>
  <Override PartName="/ppt/charts/colors17.xml" ContentType="application/vnd.ms-office.chartcolorstyle+xml"/>
  <Override PartName="/ppt/tags/tag61.xml" ContentType="application/vnd.openxmlformats-officedocument.presentationml.tags+xml"/>
  <Override PartName="/ppt/charts/chart42.xml" ContentType="application/vnd.openxmlformats-officedocument.drawingml.chart+xml"/>
  <Override PartName="/ppt/charts/style18.xml" ContentType="application/vnd.ms-office.chartstyle+xml"/>
  <Override PartName="/ppt/charts/colors18.xml" ContentType="application/vnd.ms-office.chartcolorstyle+xml"/>
  <Override PartName="/ppt/tags/tag62.xml" ContentType="application/vnd.openxmlformats-officedocument.presentationml.tags+xml"/>
  <Override PartName="/ppt/notesSlides/notesSlide23.xml" ContentType="application/vnd.openxmlformats-officedocument.presentationml.notesSlide+xml"/>
  <Override PartName="/ppt/charts/chart43.xml" ContentType="application/vnd.openxmlformats-officedocument.drawingml.chart+xml"/>
  <Override PartName="/ppt/tags/tag63.xml" ContentType="application/vnd.openxmlformats-officedocument.presentationml.tags+xml"/>
  <Override PartName="/ppt/notesSlides/notesSlide24.xml" ContentType="application/vnd.openxmlformats-officedocument.presentationml.notesSlide+xml"/>
  <Override PartName="/ppt/charts/chart44.xml" ContentType="application/vnd.openxmlformats-officedocument.drawingml.chart+xml"/>
  <Override PartName="/ppt/tags/tag64.xml" ContentType="application/vnd.openxmlformats-officedocument.presentationml.tags+xml"/>
  <Override PartName="/ppt/notesSlides/notesSlide25.xml" ContentType="application/vnd.openxmlformats-officedocument.presentationml.notesSlide+xml"/>
  <Override PartName="/ppt/charts/chart45.xml" ContentType="application/vnd.openxmlformats-officedocument.drawingml.chart+xml"/>
  <Override PartName="/ppt/tags/tag65.xml" ContentType="application/vnd.openxmlformats-officedocument.presentationml.tags+xml"/>
  <Override PartName="/ppt/notesSlides/notesSlide26.xml" ContentType="application/vnd.openxmlformats-officedocument.presentationml.notesSlide+xml"/>
  <Override PartName="/ppt/charts/chart46.xml" ContentType="application/vnd.openxmlformats-officedocument.drawingml.chart+xml"/>
  <Override PartName="/ppt/tags/tag66.xml" ContentType="application/vnd.openxmlformats-officedocument.presentationml.tags+xml"/>
  <Override PartName="/ppt/notesSlides/notesSlide27.xml" ContentType="application/vnd.openxmlformats-officedocument.presentationml.notesSlide+xml"/>
  <Override PartName="/ppt/charts/chart47.xml" ContentType="application/vnd.openxmlformats-officedocument.drawingml.chart+xml"/>
  <Override PartName="/ppt/tags/tag67.xml" ContentType="application/vnd.openxmlformats-officedocument.presentationml.tags+xml"/>
  <Override PartName="/ppt/notesSlides/notesSlide28.xml" ContentType="application/vnd.openxmlformats-officedocument.presentationml.notesSlide+xml"/>
  <Override PartName="/ppt/charts/chart48.xml" ContentType="application/vnd.openxmlformats-officedocument.drawingml.chart+xml"/>
  <Override PartName="/ppt/tags/tag68.xml" ContentType="application/vnd.openxmlformats-officedocument.presentationml.tags+xml"/>
  <Override PartName="/ppt/notesSlides/notesSlide29.xml" ContentType="application/vnd.openxmlformats-officedocument.presentationml.notesSlide+xml"/>
  <Override PartName="/ppt/charts/chart49.xml" ContentType="application/vnd.openxmlformats-officedocument.drawingml.chart+xml"/>
  <Override PartName="/ppt/tags/tag69.xml" ContentType="application/vnd.openxmlformats-officedocument.presentationml.tags+xml"/>
  <Override PartName="/ppt/notesSlides/notesSlide30.xml" ContentType="application/vnd.openxmlformats-officedocument.presentationml.notesSlide+xml"/>
  <Override PartName="/ppt/charts/chart50.xml" ContentType="application/vnd.openxmlformats-officedocument.drawingml.chart+xml"/>
  <Override PartName="/ppt/tags/tag70.xml" ContentType="application/vnd.openxmlformats-officedocument.presentationml.tags+xml"/>
  <Override PartName="/ppt/notesSlides/notesSlide31.xml" ContentType="application/vnd.openxmlformats-officedocument.presentationml.notesSlide+xml"/>
  <Override PartName="/ppt/charts/chart51.xml" ContentType="application/vnd.openxmlformats-officedocument.drawingml.chart+xml"/>
  <Override PartName="/ppt/tags/tag71.xml" ContentType="application/vnd.openxmlformats-officedocument.presentationml.tags+xml"/>
  <Override PartName="/ppt/notesSlides/notesSlide32.xml" ContentType="application/vnd.openxmlformats-officedocument.presentationml.notesSlide+xml"/>
  <Override PartName="/ppt/charts/chart52.xml" ContentType="application/vnd.openxmlformats-officedocument.drawingml.chart+xml"/>
  <Override PartName="/ppt/tags/tag72.xml" ContentType="application/vnd.openxmlformats-officedocument.presentationml.tags+xml"/>
  <Override PartName="/ppt/notesSlides/notesSlide33.xml" ContentType="application/vnd.openxmlformats-officedocument.presentationml.notesSlide+xml"/>
  <Override PartName="/ppt/charts/chart53.xml" ContentType="application/vnd.openxmlformats-officedocument.drawingml.chart+xml"/>
  <Override PartName="/ppt/tags/tag73.xml" ContentType="application/vnd.openxmlformats-officedocument.presentationml.tags+xml"/>
  <Override PartName="/ppt/notesSlides/notesSlide34.xml" ContentType="application/vnd.openxmlformats-officedocument.presentationml.notesSlide+xml"/>
  <Override PartName="/ppt/charts/chart54.xml" ContentType="application/vnd.openxmlformats-officedocument.drawingml.chart+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notesSlides/notesSlide35.xml" ContentType="application/vnd.openxmlformats-officedocument.presentationml.notesSlide+xml"/>
  <Override PartName="/ppt/charts/chart55.xml" ContentType="application/vnd.openxmlformats-officedocument.drawingml.chart+xml"/>
  <Override PartName="/ppt/charts/chart56.xml" ContentType="application/vnd.openxmlformats-officedocument.drawingml.chart+xml"/>
  <Override PartName="/ppt/tags/tag109.xml" ContentType="application/vnd.openxmlformats-officedocument.presentationml.tags+xml"/>
  <Override PartName="/ppt/notesSlides/notesSlide36.xml" ContentType="application/vnd.openxmlformats-officedocument.presentationml.notesSlide+xml"/>
  <Override PartName="/ppt/charts/chart57.xml" ContentType="application/vnd.openxmlformats-officedocument.drawingml.chart+xml"/>
  <Override PartName="/ppt/charts/chart58.xml" ContentType="application/vnd.openxmlformats-officedocument.drawingml.chart+xml"/>
  <Override PartName="/ppt/tags/tag110.xml" ContentType="application/vnd.openxmlformats-officedocument.presentationml.tags+xml"/>
  <Override PartName="/ppt/notesSlides/notesSlide37.xml" ContentType="application/vnd.openxmlformats-officedocument.presentationml.notesSlide+xml"/>
  <Override PartName="/ppt/charts/chart59.xml" ContentType="application/vnd.openxmlformats-officedocument.drawingml.chart+xml"/>
  <Override PartName="/ppt/charts/chart60.xml" ContentType="application/vnd.openxmlformats-officedocument.drawingml.chart+xml"/>
  <Override PartName="/ppt/tags/tag111.xml" ContentType="application/vnd.openxmlformats-officedocument.presentationml.tags+xml"/>
  <Override PartName="/ppt/notesSlides/notesSlide38.xml" ContentType="application/vnd.openxmlformats-officedocument.presentationml.notesSlide+xml"/>
  <Override PartName="/ppt/charts/chart61.xml" ContentType="application/vnd.openxmlformats-officedocument.drawingml.chart+xml"/>
  <Override PartName="/ppt/charts/chart62.xml" ContentType="application/vnd.openxmlformats-officedocument.drawingml.chart+xml"/>
  <Override PartName="/ppt/tags/tag112.xml" ContentType="application/vnd.openxmlformats-officedocument.presentationml.tags+xml"/>
  <Override PartName="/ppt/notesSlides/notesSlide39.xml" ContentType="application/vnd.openxmlformats-officedocument.presentationml.notesSlide+xml"/>
  <Override PartName="/ppt/charts/chart63.xml" ContentType="application/vnd.openxmlformats-officedocument.drawingml.chart+xml"/>
  <Override PartName="/ppt/charts/chart64.xml" ContentType="application/vnd.openxmlformats-officedocument.drawingml.chart+xml"/>
  <Override PartName="/ppt/tags/tag113.xml" ContentType="application/vnd.openxmlformats-officedocument.presentationml.tags+xml"/>
  <Override PartName="/ppt/notesSlides/notesSlide40.xml" ContentType="application/vnd.openxmlformats-officedocument.presentationml.notesSlide+xml"/>
  <Override PartName="/ppt/charts/chart65.xml" ContentType="application/vnd.openxmlformats-officedocument.drawingml.chart+xml"/>
  <Override PartName="/ppt/charts/chart66.xml" ContentType="application/vnd.openxmlformats-officedocument.drawingml.chart+xml"/>
  <Override PartName="/ppt/tags/tag114.xml" ContentType="application/vnd.openxmlformats-officedocument.presentationml.tags+xml"/>
  <Override PartName="/ppt/notesSlides/notesSlide41.xml" ContentType="application/vnd.openxmlformats-officedocument.presentationml.notesSlide+xml"/>
  <Override PartName="/ppt/charts/chart67.xml" ContentType="application/vnd.openxmlformats-officedocument.drawingml.chart+xml"/>
  <Override PartName="/ppt/charts/chart68.xml" ContentType="application/vnd.openxmlformats-officedocument.drawingml.chart+xml"/>
  <Override PartName="/ppt/tags/tag115.xml" ContentType="application/vnd.openxmlformats-officedocument.presentationml.tags+xml"/>
  <Override PartName="/ppt/notesSlides/notesSlide42.xml" ContentType="application/vnd.openxmlformats-officedocument.presentationml.notesSlide+xml"/>
  <Override PartName="/ppt/charts/chart69.xml" ContentType="application/vnd.openxmlformats-officedocument.drawingml.chart+xml"/>
  <Override PartName="/ppt/charts/chart70.xml" ContentType="application/vnd.openxmlformats-officedocument.drawingml.chart+xml"/>
  <Override PartName="/ppt/tags/tag116.xml" ContentType="application/vnd.openxmlformats-officedocument.presentationml.tags+xml"/>
  <Override PartName="/ppt/notesSlides/notesSlide43.xml" ContentType="application/vnd.openxmlformats-officedocument.presentationml.notesSlide+xml"/>
  <Override PartName="/ppt/charts/chart71.xml" ContentType="application/vnd.openxmlformats-officedocument.drawingml.chart+xml"/>
  <Override PartName="/ppt/charts/chart72.xml" ContentType="application/vnd.openxmlformats-officedocument.drawingml.chart+xml"/>
  <Override PartName="/ppt/tags/tag117.xml" ContentType="application/vnd.openxmlformats-officedocument.presentationml.tags+xml"/>
  <Override PartName="/ppt/notesSlides/notesSlide44.xml" ContentType="application/vnd.openxmlformats-officedocument.presentationml.notesSlide+xml"/>
  <Override PartName="/ppt/charts/chart73.xml" ContentType="application/vnd.openxmlformats-officedocument.drawingml.chart+xml"/>
  <Override PartName="/ppt/charts/chart74.xml" ContentType="application/vnd.openxmlformats-officedocument.drawingml.chart+xml"/>
  <Override PartName="/ppt/tags/tag118.xml" ContentType="application/vnd.openxmlformats-officedocument.presentationml.tags+xml"/>
  <Override PartName="/ppt/notesSlides/notesSlide45.xml" ContentType="application/vnd.openxmlformats-officedocument.presentationml.notesSlide+xml"/>
  <Override PartName="/ppt/charts/chart75.xml" ContentType="application/vnd.openxmlformats-officedocument.drawingml.chart+xml"/>
  <Override PartName="/ppt/charts/chart76.xml" ContentType="application/vnd.openxmlformats-officedocument.drawingml.chart+xml"/>
  <Override PartName="/ppt/tags/tag119.xml" ContentType="application/vnd.openxmlformats-officedocument.presentationml.tags+xml"/>
  <Override PartName="/ppt/notesSlides/notesSlide46.xml" ContentType="application/vnd.openxmlformats-officedocument.presentationml.notesSlide+xml"/>
  <Override PartName="/ppt/charts/chart77.xml" ContentType="application/vnd.openxmlformats-officedocument.drawingml.chart+xml"/>
  <Override PartName="/ppt/charts/chart78.xml" ContentType="application/vnd.openxmlformats-officedocument.drawingml.chart+xml"/>
  <Override PartName="/ppt/tags/tag120.xml" ContentType="application/vnd.openxmlformats-officedocument.presentationml.tags+xml"/>
  <Override PartName="/ppt/notesSlides/notesSlide47.xml" ContentType="application/vnd.openxmlformats-officedocument.presentationml.notesSlide+xml"/>
  <Override PartName="/ppt/charts/chart79.xml" ContentType="application/vnd.openxmlformats-officedocument.drawingml.chart+xml"/>
  <Override PartName="/ppt/charts/chart80.xml" ContentType="application/vnd.openxmlformats-officedocument.drawingml.chart+xml"/>
  <Override PartName="/ppt/tags/tag121.xml" ContentType="application/vnd.openxmlformats-officedocument.presentationml.tags+xml"/>
  <Override PartName="/ppt/notesSlides/notesSlide48.xml" ContentType="application/vnd.openxmlformats-officedocument.presentationml.notesSlide+xml"/>
  <Override PartName="/ppt/charts/chart81.xml" ContentType="application/vnd.openxmlformats-officedocument.drawingml.chart+xml"/>
  <Override PartName="/ppt/charts/chart82.xml" ContentType="application/vnd.openxmlformats-officedocument.drawingml.chart+xml"/>
  <Override PartName="/ppt/tags/tag122.xml" ContentType="application/vnd.openxmlformats-officedocument.presentationml.tags+xml"/>
  <Override PartName="/ppt/notesSlides/notesSlide49.xml" ContentType="application/vnd.openxmlformats-officedocument.presentationml.notesSlide+xml"/>
  <Override PartName="/ppt/charts/chart83.xml" ContentType="application/vnd.openxmlformats-officedocument.drawingml.chart+xml"/>
  <Override PartName="/ppt/charts/chart84.xml" ContentType="application/vnd.openxmlformats-officedocument.drawingml.chart+xml"/>
  <Override PartName="/ppt/tags/tag123.xml" ContentType="application/vnd.openxmlformats-officedocument.presentationml.tags+xml"/>
  <Override PartName="/ppt/notesSlides/notesSlide50.xml" ContentType="application/vnd.openxmlformats-officedocument.presentationml.notesSlide+xml"/>
  <Override PartName="/ppt/charts/chart85.xml" ContentType="application/vnd.openxmlformats-officedocument.drawingml.chart+xml"/>
  <Override PartName="/ppt/charts/chart86.xml" ContentType="application/vnd.openxmlformats-officedocument.drawingml.chart+xml"/>
  <Override PartName="/ppt/tags/tag124.xml" ContentType="application/vnd.openxmlformats-officedocument.presentationml.tags+xml"/>
  <Override PartName="/ppt/notesSlides/notesSlide51.xml" ContentType="application/vnd.openxmlformats-officedocument.presentationml.notesSlide+xml"/>
  <Override PartName="/ppt/charts/chart87.xml" ContentType="application/vnd.openxmlformats-officedocument.drawingml.chart+xml"/>
  <Override PartName="/ppt/charts/chart88.xml" ContentType="application/vnd.openxmlformats-officedocument.drawingml.chart+xml"/>
  <Override PartName="/ppt/tags/tag125.xml" ContentType="application/vnd.openxmlformats-officedocument.presentationml.tags+xml"/>
  <Override PartName="/ppt/notesSlides/notesSlide52.xml" ContentType="application/vnd.openxmlformats-officedocument.presentationml.notesSlide+xml"/>
  <Override PartName="/ppt/charts/chart89.xml" ContentType="application/vnd.openxmlformats-officedocument.drawingml.chart+xml"/>
  <Override PartName="/ppt/charts/chart90.xml" ContentType="application/vnd.openxmlformats-officedocument.drawingml.chart+xml"/>
  <Override PartName="/ppt/tags/tag126.xml" ContentType="application/vnd.openxmlformats-officedocument.presentationml.tags+xml"/>
  <Override PartName="/ppt/notesSlides/notesSlide53.xml" ContentType="application/vnd.openxmlformats-officedocument.presentationml.notesSlide+xml"/>
  <Override PartName="/ppt/charts/chart91.xml" ContentType="application/vnd.openxmlformats-officedocument.drawingml.chart+xml"/>
  <Override PartName="/ppt/charts/chart92.xml" ContentType="application/vnd.openxmlformats-officedocument.drawingml.chart+xml"/>
  <Override PartName="/ppt/tags/tag127.xml" ContentType="application/vnd.openxmlformats-officedocument.presentationml.tags+xml"/>
  <Override PartName="/ppt/notesSlides/notesSlide54.xml" ContentType="application/vnd.openxmlformats-officedocument.presentationml.notesSlide+xml"/>
  <Override PartName="/ppt/charts/chart93.xml" ContentType="application/vnd.openxmlformats-officedocument.drawingml.chart+xml"/>
  <Override PartName="/ppt/charts/chart94.xml" ContentType="application/vnd.openxmlformats-officedocument.drawingml.chart+xml"/>
  <Override PartName="/ppt/tags/tag128.xml" ContentType="application/vnd.openxmlformats-officedocument.presentationml.tags+xml"/>
  <Override PartName="/ppt/notesSlides/notesSlide55.xml" ContentType="application/vnd.openxmlformats-officedocument.presentationml.notesSlide+xml"/>
  <Override PartName="/ppt/charts/chart95.xml" ContentType="application/vnd.openxmlformats-officedocument.drawingml.chart+xml"/>
  <Override PartName="/ppt/charts/chart96.xml" ContentType="application/vnd.openxmlformats-officedocument.drawingml.chart+xml"/>
  <Override PartName="/ppt/tags/tag129.xml" ContentType="application/vnd.openxmlformats-officedocument.presentationml.tags+xml"/>
  <Override PartName="/ppt/notesSlides/notesSlide56.xml" ContentType="application/vnd.openxmlformats-officedocument.presentationml.notesSlide+xml"/>
  <Override PartName="/ppt/charts/chart97.xml" ContentType="application/vnd.openxmlformats-officedocument.drawingml.chart+xml"/>
  <Override PartName="/ppt/charts/chart98.xml" ContentType="application/vnd.openxmlformats-officedocument.drawingml.chart+xml"/>
  <Override PartName="/ppt/tags/tag130.xml" ContentType="application/vnd.openxmlformats-officedocument.presentationml.tags+xml"/>
  <Override PartName="/ppt/notesSlides/notesSlide57.xml" ContentType="application/vnd.openxmlformats-officedocument.presentationml.notesSlide+xml"/>
  <Override PartName="/ppt/charts/chart99.xml" ContentType="application/vnd.openxmlformats-officedocument.drawingml.chart+xml"/>
  <Override PartName="/ppt/charts/chart100.xml" ContentType="application/vnd.openxmlformats-officedocument.drawingml.chart+xml"/>
  <Override PartName="/ppt/tags/tag131.xml" ContentType="application/vnd.openxmlformats-officedocument.presentationml.tags+xml"/>
  <Override PartName="/ppt/charts/chart101.xml" ContentType="application/vnd.openxmlformats-officedocument.drawingml.chart+xml"/>
  <Override PartName="/ppt/tags/tag132.xml" ContentType="application/vnd.openxmlformats-officedocument.presentationml.tags+xml"/>
  <Override PartName="/ppt/charts/chart102.xml" ContentType="application/vnd.openxmlformats-officedocument.drawingml.chart+xml"/>
  <Override PartName="/ppt/tags/tag133.xml" ContentType="application/vnd.openxmlformats-officedocument.presentationml.tags+xml"/>
  <Override PartName="/ppt/charts/chart103.xml" ContentType="application/vnd.openxmlformats-officedocument.drawingml.chart+xml"/>
  <Override PartName="/ppt/tags/tag134.xml" ContentType="application/vnd.openxmlformats-officedocument.presentationml.tags+xml"/>
  <Override PartName="/ppt/charts/chart104.xml" ContentType="application/vnd.openxmlformats-officedocument.drawingml.chart+xml"/>
  <Override PartName="/ppt/tags/tag135.xml" ContentType="application/vnd.openxmlformats-officedocument.presentationml.tags+xml"/>
  <Override PartName="/ppt/charts/chart105.xml" ContentType="application/vnd.openxmlformats-officedocument.drawingml.chart+xml"/>
  <Override PartName="/ppt/tags/tag136.xml" ContentType="application/vnd.openxmlformats-officedocument.presentationml.tags+xml"/>
  <Override PartName="/ppt/charts/chart106.xml" ContentType="application/vnd.openxmlformats-officedocument.drawingml.chart+xml"/>
  <Override PartName="/ppt/tags/tag137.xml" ContentType="application/vnd.openxmlformats-officedocument.presentationml.tags+xml"/>
  <Override PartName="/ppt/charts/chart107.xml" ContentType="application/vnd.openxmlformats-officedocument.drawingml.chart+xml"/>
  <Override PartName="/ppt/tags/tag138.xml" ContentType="application/vnd.openxmlformats-officedocument.presentationml.tags+xml"/>
  <Override PartName="/ppt/charts/chart108.xml" ContentType="application/vnd.openxmlformats-officedocument.drawingml.chart+xml"/>
  <Override PartName="/ppt/tags/tag139.xml" ContentType="application/vnd.openxmlformats-officedocument.presentationml.tags+xml"/>
  <Override PartName="/ppt/charts/chart109.xml" ContentType="application/vnd.openxmlformats-officedocument.drawingml.chart+xml"/>
  <Override PartName="/ppt/tags/tag140.xml" ContentType="application/vnd.openxmlformats-officedocument.presentationml.tags+xml"/>
  <Override PartName="/ppt/charts/chart110.xml" ContentType="application/vnd.openxmlformats-officedocument.drawingml.chart+xml"/>
  <Override PartName="/ppt/tags/tag141.xml" ContentType="application/vnd.openxmlformats-officedocument.presentationml.tags+xml"/>
  <Override PartName="/ppt/charts/chart111.xml" ContentType="application/vnd.openxmlformats-officedocument.drawingml.chart+xml"/>
  <Override PartName="/ppt/tags/tag142.xml" ContentType="application/vnd.openxmlformats-officedocument.presentationml.tags+xml"/>
  <Override PartName="/ppt/charts/chart112.xml" ContentType="application/vnd.openxmlformats-officedocument.drawingml.chart+xml"/>
  <Override PartName="/ppt/tags/tag143.xml" ContentType="application/vnd.openxmlformats-officedocument.presentationml.tags+xml"/>
  <Override PartName="/ppt/charts/chart113.xml" ContentType="application/vnd.openxmlformats-officedocument.drawingml.chart+xml"/>
  <Override PartName="/ppt/tags/tag144.xml" ContentType="application/vnd.openxmlformats-officedocument.presentationml.tags+xml"/>
  <Override PartName="/ppt/charts/chart114.xml" ContentType="application/vnd.openxmlformats-officedocument.drawingml.chart+xml"/>
  <Override PartName="/ppt/tags/tag145.xml" ContentType="application/vnd.openxmlformats-officedocument.presentationml.tags+xml"/>
  <Override PartName="/ppt/charts/chart115.xml" ContentType="application/vnd.openxmlformats-officedocument.drawingml.chart+xml"/>
  <Override PartName="/ppt/tags/tag146.xml" ContentType="application/vnd.openxmlformats-officedocument.presentationml.tags+xml"/>
  <Override PartName="/ppt/charts/chart116.xml" ContentType="application/vnd.openxmlformats-officedocument.drawingml.chart+xml"/>
  <Override PartName="/ppt/tags/tag147.xml" ContentType="application/vnd.openxmlformats-officedocument.presentationml.tags+xml"/>
  <Override PartName="/ppt/charts/chart117.xml" ContentType="application/vnd.openxmlformats-officedocument.drawingml.chart+xml"/>
  <Override PartName="/ppt/tags/tag148.xml" ContentType="application/vnd.openxmlformats-officedocument.presentationml.tags+xml"/>
  <Override PartName="/ppt/charts/chart118.xml" ContentType="application/vnd.openxmlformats-officedocument.drawingml.chart+xml"/>
  <Override PartName="/ppt/tags/tag149.xml" ContentType="application/vnd.openxmlformats-officedocument.presentationml.tags+xml"/>
  <Override PartName="/ppt/charts/chart119.xml" ContentType="application/vnd.openxmlformats-officedocument.drawingml.chart+xml"/>
  <Override PartName="/ppt/tags/tag150.xml" ContentType="application/vnd.openxmlformats-officedocument.presentationml.tags+xml"/>
  <Override PartName="/ppt/charts/chart120.xml" ContentType="application/vnd.openxmlformats-officedocument.drawingml.chart+xml"/>
  <Override PartName="/ppt/tags/tag151.xml" ContentType="application/vnd.openxmlformats-officedocument.presentationml.tags+xml"/>
  <Override PartName="/ppt/charts/chart121.xml" ContentType="application/vnd.openxmlformats-officedocument.drawingml.chart+xml"/>
  <Override PartName="/ppt/tags/tag152.xml" ContentType="application/vnd.openxmlformats-officedocument.presentationml.tags+xml"/>
  <Override PartName="/ppt/charts/chart122.xml" ContentType="application/vnd.openxmlformats-officedocument.drawingml.chart+xml"/>
  <Override PartName="/ppt/tags/tag153.xml" ContentType="application/vnd.openxmlformats-officedocument.presentationml.tags+xml"/>
  <Override PartName="/ppt/charts/chart123.xml" ContentType="application/vnd.openxmlformats-officedocument.drawingml.chart+xml"/>
  <Override PartName="/ppt/tags/tag154.xml" ContentType="application/vnd.openxmlformats-officedocument.presentationml.tags+xml"/>
  <Override PartName="/ppt/charts/chart124.xml" ContentType="application/vnd.openxmlformats-officedocument.drawingml.chart+xml"/>
  <Override PartName="/ppt/tags/tag155.xml" ContentType="application/vnd.openxmlformats-officedocument.presentationml.tags+xml"/>
  <Override PartName="/ppt/charts/chart125.xml" ContentType="application/vnd.openxmlformats-officedocument.drawingml.chart+xml"/>
  <Override PartName="/ppt/tags/tag156.xml" ContentType="application/vnd.openxmlformats-officedocument.presentationml.tags+xml"/>
  <Override PartName="/ppt/charts/chart126.xml" ContentType="application/vnd.openxmlformats-officedocument.drawingml.chart+xml"/>
  <Override PartName="/ppt/tags/tag157.xml" ContentType="application/vnd.openxmlformats-officedocument.presentationml.tags+xml"/>
  <Override PartName="/ppt/charts/chart127.xml" ContentType="application/vnd.openxmlformats-officedocument.drawingml.chart+xml"/>
  <Override PartName="/ppt/tags/tag158.xml" ContentType="application/vnd.openxmlformats-officedocument.presentationml.tags+xml"/>
  <Override PartName="/ppt/charts/chart128.xml" ContentType="application/vnd.openxmlformats-officedocument.drawingml.chart+xml"/>
  <Override PartName="/ppt/tags/tag159.xml" ContentType="application/vnd.openxmlformats-officedocument.presentationml.tags+xml"/>
  <Override PartName="/ppt/charts/chart129.xml" ContentType="application/vnd.openxmlformats-officedocument.drawingml.chart+xml"/>
  <Override PartName="/ppt/tags/tag160.xml" ContentType="application/vnd.openxmlformats-officedocument.presentationml.tags+xml"/>
  <Override PartName="/ppt/charts/chart130.xml" ContentType="application/vnd.openxmlformats-officedocument.drawingml.chart+xml"/>
  <Override PartName="/ppt/tags/tag161.xml" ContentType="application/vnd.openxmlformats-officedocument.presentationml.tags+xml"/>
  <Override PartName="/ppt/charts/chart131.xml" ContentType="application/vnd.openxmlformats-officedocument.drawingml.chart+xml"/>
  <Override PartName="/ppt/tags/tag162.xml" ContentType="application/vnd.openxmlformats-officedocument.presentationml.tags+xml"/>
  <Override PartName="/ppt/charts/chart132.xml" ContentType="application/vnd.openxmlformats-officedocument.drawingml.chart+xml"/>
  <Override PartName="/ppt/tags/tag163.xml" ContentType="application/vnd.openxmlformats-officedocument.presentationml.tags+xml"/>
  <Override PartName="/ppt/charts/chart133.xml" ContentType="application/vnd.openxmlformats-officedocument.drawingml.chart+xml"/>
  <Override PartName="/ppt/tags/tag164.xml" ContentType="application/vnd.openxmlformats-officedocument.presentationml.tags+xml"/>
  <Override PartName="/ppt/charts/chart134.xml" ContentType="application/vnd.openxmlformats-officedocument.drawingml.chart+xml"/>
  <Override PartName="/ppt/tags/tag165.xml" ContentType="application/vnd.openxmlformats-officedocument.presentationml.tags+xml"/>
  <Override PartName="/ppt/charts/chart135.xml" ContentType="application/vnd.openxmlformats-officedocument.drawingml.chart+xml"/>
  <Override PartName="/ppt/tags/tag166.xml" ContentType="application/vnd.openxmlformats-officedocument.presentationml.tags+xml"/>
  <Override PartName="/ppt/charts/chart136.xml" ContentType="application/vnd.openxmlformats-officedocument.drawingml.chart+xml"/>
  <Override PartName="/ppt/tags/tag167.xml" ContentType="application/vnd.openxmlformats-officedocument.presentationml.tags+xml"/>
  <Override PartName="/ppt/charts/chart137.xml" ContentType="application/vnd.openxmlformats-officedocument.drawingml.chart+xml"/>
  <Override PartName="/ppt/tags/tag168.xml" ContentType="application/vnd.openxmlformats-officedocument.presentationml.tags+xml"/>
  <Override PartName="/ppt/charts/chart138.xml" ContentType="application/vnd.openxmlformats-officedocument.drawingml.chart+xml"/>
  <Override PartName="/ppt/tags/tag169.xml" ContentType="application/vnd.openxmlformats-officedocument.presentationml.tags+xml"/>
  <Override PartName="/ppt/charts/chart139.xml" ContentType="application/vnd.openxmlformats-officedocument.drawingml.chart+xml"/>
  <Override PartName="/ppt/tags/tag170.xml" ContentType="application/vnd.openxmlformats-officedocument.presentationml.tags+xml"/>
  <Override PartName="/ppt/charts/chart140.xml" ContentType="application/vnd.openxmlformats-officedocument.drawingml.chart+xml"/>
  <Override PartName="/ppt/tags/tag171.xml" ContentType="application/vnd.openxmlformats-officedocument.presentationml.tags+xml"/>
  <Override PartName="/ppt/charts/chart141.xml" ContentType="application/vnd.openxmlformats-officedocument.drawingml.chart+xml"/>
  <Override PartName="/ppt/tags/tag172.xml" ContentType="application/vnd.openxmlformats-officedocument.presentationml.tags+xml"/>
  <Override PartName="/ppt/charts/chart142.xml" ContentType="application/vnd.openxmlformats-officedocument.drawingml.chart+xml"/>
  <Override PartName="/ppt/tags/tag173.xml" ContentType="application/vnd.openxmlformats-officedocument.presentationml.tags+xml"/>
  <Override PartName="/ppt/charts/chart143.xml" ContentType="application/vnd.openxmlformats-officedocument.drawingml.chart+xml"/>
  <Override PartName="/ppt/tags/tag174.xml" ContentType="application/vnd.openxmlformats-officedocument.presentationml.tags+xml"/>
  <Override PartName="/ppt/charts/chart144.xml" ContentType="application/vnd.openxmlformats-officedocument.drawingml.chart+xml"/>
  <Override PartName="/ppt/tags/tag175.xml" ContentType="application/vnd.openxmlformats-officedocument.presentationml.tags+xml"/>
  <Override PartName="/ppt/charts/chart145.xml" ContentType="application/vnd.openxmlformats-officedocument.drawingml.chart+xml"/>
  <Override PartName="/ppt/tags/tag176.xml" ContentType="application/vnd.openxmlformats-officedocument.presentationml.tags+xml"/>
  <Override PartName="/ppt/charts/chart146.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147.xml" ContentType="application/vnd.openxmlformats-officedocument.drawingml.chart+xml"/>
  <Override PartName="/ppt/charts/style20.xml" ContentType="application/vnd.ms-office.chartstyle+xml"/>
  <Override PartName="/ppt/charts/colors20.xml" ContentType="application/vnd.ms-office.chartcolorstyle+xml"/>
  <Override PartName="/ppt/tags/tag177.xml" ContentType="application/vnd.openxmlformats-officedocument.presentationml.tags+xml"/>
  <Override PartName="/ppt/charts/chart148.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149.xml" ContentType="application/vnd.openxmlformats-officedocument.drawingml.chart+xml"/>
  <Override PartName="/ppt/charts/style22.xml" ContentType="application/vnd.ms-office.chartstyle+xml"/>
  <Override PartName="/ppt/charts/colors22.xml" ContentType="application/vnd.ms-office.chartcolorstyle+xml"/>
  <Override PartName="/ppt/tags/tag178.xml" ContentType="application/vnd.openxmlformats-officedocument.presentationml.tags+xml"/>
  <Override PartName="/ppt/charts/chart150.xml" ContentType="application/vnd.openxmlformats-officedocument.drawingml.chart+xml"/>
  <Override PartName="/ppt/tags/tag179.xml" ContentType="application/vnd.openxmlformats-officedocument.presentationml.tags+xml"/>
  <Override PartName="/ppt/charts/chart151.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152.xml" ContentType="application/vnd.openxmlformats-officedocument.drawingml.chart+xml"/>
  <Override PartName="/ppt/charts/style24.xml" ContentType="application/vnd.ms-office.chartstyle+xml"/>
  <Override PartName="/ppt/charts/colors24.xml" ContentType="application/vnd.ms-office.chartcolorstyle+xml"/>
  <Override PartName="/ppt/tags/tag180.xml" ContentType="application/vnd.openxmlformats-officedocument.presentationml.tags+xml"/>
  <Override PartName="/ppt/charts/chart153.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154.xml" ContentType="application/vnd.openxmlformats-officedocument.drawingml.chart+xml"/>
  <Override PartName="/ppt/charts/style26.xml" ContentType="application/vnd.ms-office.chartstyle+xml"/>
  <Override PartName="/ppt/charts/colors26.xml" ContentType="application/vnd.ms-office.chartcolorstyle+xml"/>
  <Override PartName="/ppt/tags/tag181.xml" ContentType="application/vnd.openxmlformats-officedocument.presentationml.tags+xml"/>
  <Override PartName="/ppt/charts/chart155.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156.xml" ContentType="application/vnd.openxmlformats-officedocument.drawingml.chart+xml"/>
  <Override PartName="/ppt/charts/style28.xml" ContentType="application/vnd.ms-office.chartstyle+xml"/>
  <Override PartName="/ppt/charts/colors28.xml" ContentType="application/vnd.ms-office.chartcolorstyle+xml"/>
  <Override PartName="/ppt/tags/tag182.xml" ContentType="application/vnd.openxmlformats-officedocument.presentationml.tags+xml"/>
  <Override PartName="/ppt/charts/chart157.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158.xml" ContentType="application/vnd.openxmlformats-officedocument.drawingml.chart+xml"/>
  <Override PartName="/ppt/charts/style30.xml" ContentType="application/vnd.ms-office.chartstyle+xml"/>
  <Override PartName="/ppt/charts/colors30.xml" ContentType="application/vnd.ms-office.chartcolorstyle+xml"/>
  <Override PartName="/ppt/tags/tag183.xml" ContentType="application/vnd.openxmlformats-officedocument.presentationml.tags+xml"/>
  <Override PartName="/ppt/charts/chart159.xml" ContentType="application/vnd.openxmlformats-officedocument.drawingml.chart+xml"/>
  <Override PartName="/ppt/tags/tag184.xml" ContentType="application/vnd.openxmlformats-officedocument.presentationml.tags+xml"/>
  <Override PartName="/ppt/charts/chart160.xml" ContentType="application/vnd.openxmlformats-officedocument.drawingml.chart+xml"/>
  <Override PartName="/ppt/tags/tag185.xml" ContentType="application/vnd.openxmlformats-officedocument.presentationml.tags+xml"/>
  <Override PartName="/ppt/charts/chart161.xml" ContentType="application/vnd.openxmlformats-officedocument.drawingml.chart+xml"/>
  <Override PartName="/ppt/charts/style31.xml" ContentType="application/vnd.ms-office.chartstyle+xml"/>
  <Override PartName="/ppt/charts/colors31.xml" ContentType="application/vnd.ms-office.chartcolorstyle+xml"/>
  <Override PartName="/ppt/charts/chart162.xml" ContentType="application/vnd.openxmlformats-officedocument.drawingml.chart+xml"/>
  <Override PartName="/ppt/charts/style32.xml" ContentType="application/vnd.ms-office.chartstyle+xml"/>
  <Override PartName="/ppt/charts/colors32.xml" ContentType="application/vnd.ms-office.chartcolorstyle+xml"/>
  <Override PartName="/ppt/tags/tag186.xml" ContentType="application/vnd.openxmlformats-officedocument.presentationml.tags+xml"/>
  <Override PartName="/ppt/charts/chart163.xml" ContentType="application/vnd.openxmlformats-officedocument.drawingml.chart+xml"/>
  <Override PartName="/ppt/tags/tag187.xml" ContentType="application/vnd.openxmlformats-officedocument.presentationml.tags+xml"/>
  <Override PartName="/ppt/charts/chart164.xml" ContentType="application/vnd.openxmlformats-officedocument.drawingml.chart+xml"/>
  <Override PartName="/ppt/charts/style33.xml" ContentType="application/vnd.ms-office.chartstyle+xml"/>
  <Override PartName="/ppt/charts/colors33.xml" ContentType="application/vnd.ms-office.chartcolorstyle+xml"/>
  <Override PartName="/ppt/charts/chart165.xml" ContentType="application/vnd.openxmlformats-officedocument.drawingml.chart+xml"/>
  <Override PartName="/ppt/charts/style34.xml" ContentType="application/vnd.ms-office.chartstyle+xml"/>
  <Override PartName="/ppt/charts/colors34.xml" ContentType="application/vnd.ms-office.chartcolorstyle+xml"/>
  <Override PartName="/ppt/tags/tag188.xml" ContentType="application/vnd.openxmlformats-officedocument.presentationml.tags+xml"/>
  <Override PartName="/ppt/charts/chart166.xml" ContentType="application/vnd.openxmlformats-officedocument.drawingml.chart+xml"/>
  <Override PartName="/ppt/tags/tag189.xml" ContentType="application/vnd.openxmlformats-officedocument.presentationml.tags+xml"/>
  <Override PartName="/ppt/charts/chart167.xml" ContentType="application/vnd.openxmlformats-officedocument.drawingml.chart+xml"/>
  <Override PartName="/ppt/charts/style35.xml" ContentType="application/vnd.ms-office.chartstyle+xml"/>
  <Override PartName="/ppt/charts/colors35.xml" ContentType="application/vnd.ms-office.chartcolorstyle+xml"/>
  <Override PartName="/ppt/charts/chart168.xml" ContentType="application/vnd.openxmlformats-officedocument.drawingml.chart+xml"/>
  <Override PartName="/ppt/charts/style36.xml" ContentType="application/vnd.ms-office.chartstyle+xml"/>
  <Override PartName="/ppt/charts/colors36.xml" ContentType="application/vnd.ms-office.chartcolorstyle+xml"/>
  <Override PartName="/ppt/tags/tag190.xml" ContentType="application/vnd.openxmlformats-officedocument.presentationml.tags+xml"/>
  <Override PartName="/ppt/charts/chart169.xml" ContentType="application/vnd.openxmlformats-officedocument.drawingml.chart+xml"/>
  <Override PartName="/ppt/charts/style37.xml" ContentType="application/vnd.ms-office.chartstyle+xml"/>
  <Override PartName="/ppt/charts/colors37.xml" ContentType="application/vnd.ms-office.chartcolorstyle+xml"/>
  <Override PartName="/ppt/charts/chart170.xml" ContentType="application/vnd.openxmlformats-officedocument.drawingml.chart+xml"/>
  <Override PartName="/ppt/charts/style38.xml" ContentType="application/vnd.ms-office.chartstyle+xml"/>
  <Override PartName="/ppt/charts/colors38.xml" ContentType="application/vnd.ms-office.chartcolorstyle+xml"/>
  <Override PartName="/ppt/tags/tag191.xml" ContentType="application/vnd.openxmlformats-officedocument.presentationml.tags+xml"/>
  <Override PartName="/ppt/charts/chart171.xml" ContentType="application/vnd.openxmlformats-officedocument.drawingml.chart+xml"/>
  <Override PartName="/ppt/tags/tag192.xml" ContentType="application/vnd.openxmlformats-officedocument.presentationml.tags+xml"/>
  <Override PartName="/ppt/charts/chart172.xml" ContentType="application/vnd.openxmlformats-officedocument.drawingml.chart+xml"/>
  <Override PartName="/ppt/tags/tag193.xml" ContentType="application/vnd.openxmlformats-officedocument.presentationml.tags+xml"/>
  <Override PartName="/ppt/charts/chart173.xml" ContentType="application/vnd.openxmlformats-officedocument.drawingml.chart+xml"/>
  <Override PartName="/ppt/tags/tag194.xml" ContentType="application/vnd.openxmlformats-officedocument.presentationml.tags+xml"/>
  <Override PartName="/ppt/charts/chart174.xml" ContentType="application/vnd.openxmlformats-officedocument.drawingml.chart+xml"/>
  <Override PartName="/ppt/tags/tag195.xml" ContentType="application/vnd.openxmlformats-officedocument.presentationml.tags+xml"/>
  <Override PartName="/ppt/charts/chart175.xml" ContentType="application/vnd.openxmlformats-officedocument.drawingml.chart+xml"/>
  <Override PartName="/ppt/charts/style39.xml" ContentType="application/vnd.ms-office.chartstyle+xml"/>
  <Override PartName="/ppt/charts/colors39.xml" ContentType="application/vnd.ms-office.chartcolorstyle+xml"/>
  <Override PartName="/ppt/charts/chart176.xml" ContentType="application/vnd.openxmlformats-officedocument.drawingml.chart+xml"/>
  <Override PartName="/ppt/charts/style40.xml" ContentType="application/vnd.ms-office.chartstyle+xml"/>
  <Override PartName="/ppt/charts/colors40.xml" ContentType="application/vnd.ms-office.chartcolorstyle+xml"/>
  <Override PartName="/ppt/tags/tag196.xml" ContentType="application/vnd.openxmlformats-officedocument.presentationml.tags+xml"/>
  <Override PartName="/ppt/charts/chart177.xml" ContentType="application/vnd.openxmlformats-officedocument.drawingml.chart+xml"/>
  <Override PartName="/ppt/tags/tag197.xml" ContentType="application/vnd.openxmlformats-officedocument.presentationml.tags+xml"/>
  <Override PartName="/ppt/charts/chart178.xml" ContentType="application/vnd.openxmlformats-officedocument.drawingml.chart+xml"/>
  <Override PartName="/ppt/tags/tag198.xml" ContentType="application/vnd.openxmlformats-officedocument.presentationml.tags+xml"/>
  <Override PartName="/ppt/charts/chart179.xml" ContentType="application/vnd.openxmlformats-officedocument.drawingml.chart+xml"/>
  <Override PartName="/ppt/charts/style41.xml" ContentType="application/vnd.ms-office.chartstyle+xml"/>
  <Override PartName="/ppt/charts/colors41.xml" ContentType="application/vnd.ms-office.chartcolorstyle+xml"/>
  <Override PartName="/ppt/charts/chart180.xml" ContentType="application/vnd.openxmlformats-officedocument.drawingml.chart+xml"/>
  <Override PartName="/ppt/tags/tag199.xml" ContentType="application/vnd.openxmlformats-officedocument.presentationml.tags+xml"/>
  <Override PartName="/ppt/charts/chart181.xml" ContentType="application/vnd.openxmlformats-officedocument.drawingml.chart+xml"/>
  <Override PartName="/ppt/charts/style42.xml" ContentType="application/vnd.ms-office.chartstyle+xml"/>
  <Override PartName="/ppt/charts/colors42.xml" ContentType="application/vnd.ms-office.chartcolorstyle+xml"/>
  <Override PartName="/ppt/charts/chart182.xml" ContentType="application/vnd.openxmlformats-officedocument.drawingml.chart+xml"/>
  <Override PartName="/ppt/tags/tag200.xml" ContentType="application/vnd.openxmlformats-officedocument.presentationml.tags+xml"/>
  <Override PartName="/ppt/charts/chart183.xml" ContentType="application/vnd.openxmlformats-officedocument.drawingml.chart+xml"/>
  <Override PartName="/ppt/charts/style43.xml" ContentType="application/vnd.ms-office.chartstyle+xml"/>
  <Override PartName="/ppt/charts/colors43.xml" ContentType="application/vnd.ms-office.chartcolorstyle+xml"/>
  <Override PartName="/ppt/charts/chart184.xml" ContentType="application/vnd.openxmlformats-officedocument.drawingml.chart+xml"/>
  <Override PartName="/ppt/tags/tag201.xml" ContentType="application/vnd.openxmlformats-officedocument.presentationml.tags+xml"/>
  <Override PartName="/ppt/charts/chart185.xml" ContentType="application/vnd.openxmlformats-officedocument.drawingml.chart+xml"/>
  <Override PartName="/ppt/charts/style44.xml" ContentType="application/vnd.ms-office.chartstyle+xml"/>
  <Override PartName="/ppt/charts/colors44.xml" ContentType="application/vnd.ms-office.chartcolorstyle+xml"/>
  <Override PartName="/ppt/charts/chart186.xml" ContentType="application/vnd.openxmlformats-officedocument.drawingml.chart+xml"/>
  <Override PartName="/ppt/tags/tag202.xml" ContentType="application/vnd.openxmlformats-officedocument.presentationml.tags+xml"/>
  <Override PartName="/ppt/charts/chart187.xml" ContentType="application/vnd.openxmlformats-officedocument.drawingml.chart+xml"/>
  <Override PartName="/ppt/charts/style45.xml" ContentType="application/vnd.ms-office.chartstyle+xml"/>
  <Override PartName="/ppt/charts/colors45.xml" ContentType="application/vnd.ms-office.chartcolorstyle+xml"/>
  <Override PartName="/ppt/charts/chart188.xml" ContentType="application/vnd.openxmlformats-officedocument.drawingml.chart+xml"/>
  <Override PartName="/ppt/tags/tag203.xml" ContentType="application/vnd.openxmlformats-officedocument.presentationml.tags+xml"/>
  <Override PartName="/ppt/charts/chart189.xml" ContentType="application/vnd.openxmlformats-officedocument.drawingml.chart+xml"/>
  <Override PartName="/ppt/charts/style46.xml" ContentType="application/vnd.ms-office.chartstyle+xml"/>
  <Override PartName="/ppt/charts/colors46.xml" ContentType="application/vnd.ms-office.chartcolorstyle+xml"/>
  <Override PartName="/ppt/charts/chart190.xml" ContentType="application/vnd.openxmlformats-officedocument.drawingml.chart+xml"/>
  <Override PartName="/ppt/tags/tag204.xml" ContentType="application/vnd.openxmlformats-officedocument.presentationml.tags+xml"/>
  <Override PartName="/ppt/charts/chart191.xml" ContentType="application/vnd.openxmlformats-officedocument.drawingml.chart+xml"/>
  <Override PartName="/ppt/charts/style47.xml" ContentType="application/vnd.ms-office.chartstyle+xml"/>
  <Override PartName="/ppt/charts/colors47.xml" ContentType="application/vnd.ms-office.chartcolorstyle+xml"/>
  <Override PartName="/ppt/charts/chart192.xml" ContentType="application/vnd.openxmlformats-officedocument.drawingml.chart+xml"/>
  <Override PartName="/ppt/tags/tag205.xml" ContentType="application/vnd.openxmlformats-officedocument.presentationml.tags+xml"/>
  <Override PartName="/ppt/charts/chart193.xml" ContentType="application/vnd.openxmlformats-officedocument.drawingml.chart+xml"/>
  <Override PartName="/ppt/charts/style48.xml" ContentType="application/vnd.ms-office.chartstyle+xml"/>
  <Override PartName="/ppt/charts/colors48.xml" ContentType="application/vnd.ms-office.chartcolorstyle+xml"/>
  <Override PartName="/ppt/charts/chart194.xml" ContentType="application/vnd.openxmlformats-officedocument.drawingml.chart+xml"/>
  <Override PartName="/ppt/tags/tag206.xml" ContentType="application/vnd.openxmlformats-officedocument.presentationml.tags+xml"/>
  <Override PartName="/ppt/charts/chart195.xml" ContentType="application/vnd.openxmlformats-officedocument.drawingml.chart+xml"/>
  <Override PartName="/ppt/charts/style49.xml" ContentType="application/vnd.ms-office.chartstyle+xml"/>
  <Override PartName="/ppt/charts/colors49.xml" ContentType="application/vnd.ms-office.chartcolorstyle+xml"/>
  <Override PartName="/ppt/charts/chart196.xml" ContentType="application/vnd.openxmlformats-officedocument.drawingml.chart+xml"/>
  <Override PartName="/ppt/tags/tag207.xml" ContentType="application/vnd.openxmlformats-officedocument.presentationml.tags+xml"/>
  <Override PartName="/ppt/charts/chart197.xml" ContentType="application/vnd.openxmlformats-officedocument.drawingml.chart+xml"/>
  <Override PartName="/ppt/charts/style50.xml" ContentType="application/vnd.ms-office.chartstyle+xml"/>
  <Override PartName="/ppt/charts/colors50.xml" ContentType="application/vnd.ms-office.chartcolorstyle+xml"/>
  <Override PartName="/ppt/charts/chart198.xml" ContentType="application/vnd.openxmlformats-officedocument.drawingml.chart+xml"/>
  <Override PartName="/ppt/tags/tag208.xml" ContentType="application/vnd.openxmlformats-officedocument.presentationml.tags+xml"/>
  <Override PartName="/ppt/charts/chart199.xml" ContentType="application/vnd.openxmlformats-officedocument.drawingml.chart+xml"/>
  <Override PartName="/ppt/charts/style51.xml" ContentType="application/vnd.ms-office.chartstyle+xml"/>
  <Override PartName="/ppt/charts/colors51.xml" ContentType="application/vnd.ms-office.chartcolorstyle+xml"/>
  <Override PartName="/ppt/charts/chart200.xml" ContentType="application/vnd.openxmlformats-officedocument.drawingml.chart+xml"/>
  <Override PartName="/ppt/tags/tag209.xml" ContentType="application/vnd.openxmlformats-officedocument.presentationml.tags+xml"/>
  <Override PartName="/ppt/charts/chart201.xml" ContentType="application/vnd.openxmlformats-officedocument.drawingml.chart+xml"/>
  <Override PartName="/ppt/charts/style52.xml" ContentType="application/vnd.ms-office.chartstyle+xml"/>
  <Override PartName="/ppt/charts/colors52.xml" ContentType="application/vnd.ms-office.chartcolorstyle+xml"/>
  <Override PartName="/ppt/charts/chart202.xml" ContentType="application/vnd.openxmlformats-officedocument.drawingml.chart+xml"/>
  <Override PartName="/ppt/tags/tag210.xml" ContentType="application/vnd.openxmlformats-officedocument.presentationml.tags+xml"/>
  <Override PartName="/ppt/charts/chart203.xml" ContentType="application/vnd.openxmlformats-officedocument.drawingml.chart+xml"/>
  <Override PartName="/ppt/charts/style53.xml" ContentType="application/vnd.ms-office.chartstyle+xml"/>
  <Override PartName="/ppt/charts/colors53.xml" ContentType="application/vnd.ms-office.chartcolorstyle+xml"/>
  <Override PartName="/ppt/charts/chart204.xml" ContentType="application/vnd.openxmlformats-officedocument.drawingml.chart+xml"/>
  <Override PartName="/ppt/tags/tag211.xml" ContentType="application/vnd.openxmlformats-officedocument.presentationml.tags+xml"/>
  <Override PartName="/ppt/charts/chart205.xml" ContentType="application/vnd.openxmlformats-officedocument.drawingml.chart+xml"/>
  <Override PartName="/ppt/charts/style54.xml" ContentType="application/vnd.ms-office.chartstyle+xml"/>
  <Override PartName="/ppt/charts/colors54.xml" ContentType="application/vnd.ms-office.chartcolorstyle+xml"/>
  <Override PartName="/ppt/charts/chart206.xml" ContentType="application/vnd.openxmlformats-officedocument.drawingml.chart+xml"/>
  <Override PartName="/ppt/tags/tag212.xml" ContentType="application/vnd.openxmlformats-officedocument.presentationml.tags+xml"/>
  <Override PartName="/ppt/charts/chart207.xml" ContentType="application/vnd.openxmlformats-officedocument.drawingml.chart+xml"/>
  <Override PartName="/ppt/charts/style55.xml" ContentType="application/vnd.ms-office.chartstyle+xml"/>
  <Override PartName="/ppt/charts/colors55.xml" ContentType="application/vnd.ms-office.chartcolorstyle+xml"/>
  <Override PartName="/ppt/charts/chart208.xml" ContentType="application/vnd.openxmlformats-officedocument.drawingml.chart+xml"/>
  <Override PartName="/ppt/tags/tag213.xml" ContentType="application/vnd.openxmlformats-officedocument.presentationml.tags+xml"/>
  <Override PartName="/ppt/charts/chart209.xml" ContentType="application/vnd.openxmlformats-officedocument.drawingml.chart+xml"/>
  <Override PartName="/ppt/tags/tag214.xml" ContentType="application/vnd.openxmlformats-officedocument.presentationml.tags+xml"/>
  <Override PartName="/ppt/charts/chart210.xml" ContentType="application/vnd.openxmlformats-officedocument.drawingml.chart+xml"/>
  <Override PartName="/ppt/tags/tag215.xml" ContentType="application/vnd.openxmlformats-officedocument.presentationml.tags+xml"/>
  <Override PartName="/ppt/charts/chart211.xml" ContentType="application/vnd.openxmlformats-officedocument.drawingml.chart+xml"/>
  <Override PartName="/ppt/charts/chart212.xml" ContentType="application/vnd.openxmlformats-officedocument.drawingml.chart+xml"/>
  <Override PartName="/ppt/tags/tag216.xml" ContentType="application/vnd.openxmlformats-officedocument.presentationml.tags+xml"/>
  <Override PartName="/ppt/charts/chart213.xml" ContentType="application/vnd.openxmlformats-officedocument.drawingml.chart+xml"/>
  <Override PartName="/ppt/charts/chart214.xml" ContentType="application/vnd.openxmlformats-officedocument.drawingml.chart+xml"/>
  <Override PartName="/ppt/tags/tag217.xml" ContentType="application/vnd.openxmlformats-officedocument.presentationml.tags+xml"/>
  <Override PartName="/ppt/charts/chart215.xml" ContentType="application/vnd.openxmlformats-officedocument.drawingml.chart+xml"/>
  <Override PartName="/ppt/charts/chart216.xml" ContentType="application/vnd.openxmlformats-officedocument.drawingml.chart+xml"/>
  <Override PartName="/ppt/tags/tag218.xml" ContentType="application/vnd.openxmlformats-officedocument.presentationml.tags+xml"/>
  <Override PartName="/ppt/charts/chart217.xml" ContentType="application/vnd.openxmlformats-officedocument.drawingml.chart+xml"/>
  <Override PartName="/ppt/tags/tag219.xml" ContentType="application/vnd.openxmlformats-officedocument.presentationml.tags+xml"/>
  <Override PartName="/ppt/charts/chart218.xml" ContentType="application/vnd.openxmlformats-officedocument.drawingml.chart+xml"/>
  <Override PartName="/ppt/charts/chart219.xml" ContentType="application/vnd.openxmlformats-officedocument.drawingml.chart+xml"/>
  <Override PartName="/ppt/tags/tag220.xml" ContentType="application/vnd.openxmlformats-officedocument.presentationml.tags+xml"/>
  <Override PartName="/ppt/charts/chart220.xml" ContentType="application/vnd.openxmlformats-officedocument.drawingml.chart+xml"/>
  <Override PartName="/ppt/tags/tag221.xml" ContentType="application/vnd.openxmlformats-officedocument.presentationml.tags+xml"/>
  <Override PartName="/ppt/notesSlides/notesSlide58.xml" ContentType="application/vnd.openxmlformats-officedocument.presentationml.notesSlide+xml"/>
  <Override PartName="/ppt/charts/chart221.xml" ContentType="application/vnd.openxmlformats-officedocument.drawingml.chart+xml"/>
  <Override PartName="/ppt/charts/style56.xml" ContentType="application/vnd.ms-office.chartstyle+xml"/>
  <Override PartName="/ppt/charts/colors56.xml" ContentType="application/vnd.ms-office.chartcolorstyle+xml"/>
  <Override PartName="/ppt/charts/chart222.xml" ContentType="application/vnd.openxmlformats-officedocument.drawingml.chart+xml"/>
  <Override PartName="/ppt/tags/tag222.xml" ContentType="application/vnd.openxmlformats-officedocument.presentationml.tags+xml"/>
  <Override PartName="/ppt/notesSlides/notesSlide59.xml" ContentType="application/vnd.openxmlformats-officedocument.presentationml.notesSlide+xml"/>
  <Override PartName="/ppt/charts/chart223.xml" ContentType="application/vnd.openxmlformats-officedocument.drawingml.chart+xml"/>
  <Override PartName="/ppt/charts/style57.xml" ContentType="application/vnd.ms-office.chartstyle+xml"/>
  <Override PartName="/ppt/charts/colors57.xml" ContentType="application/vnd.ms-office.chartcolorstyle+xml"/>
  <Override PartName="/ppt/charts/chart224.xml" ContentType="application/vnd.openxmlformats-officedocument.drawingml.chart+xml"/>
  <Override PartName="/ppt/tags/tag223.xml" ContentType="application/vnd.openxmlformats-officedocument.presentationml.tags+xml"/>
  <Override PartName="/ppt/notesSlides/notesSlide60.xml" ContentType="application/vnd.openxmlformats-officedocument.presentationml.notesSlide+xml"/>
  <Override PartName="/ppt/charts/chart225.xml" ContentType="application/vnd.openxmlformats-officedocument.drawingml.chart+xml"/>
  <Override PartName="/ppt/charts/style58.xml" ContentType="application/vnd.ms-office.chartstyle+xml"/>
  <Override PartName="/ppt/charts/colors58.xml" ContentType="application/vnd.ms-office.chartcolorstyle+xml"/>
  <Override PartName="/ppt/charts/chart226.xml" ContentType="application/vnd.openxmlformats-officedocument.drawingml.chart+xml"/>
  <Override PartName="/ppt/tags/tag224.xml" ContentType="application/vnd.openxmlformats-officedocument.presentationml.tags+xml"/>
  <Override PartName="/ppt/notesSlides/notesSlide61.xml" ContentType="application/vnd.openxmlformats-officedocument.presentationml.notesSlide+xml"/>
  <Override PartName="/ppt/charts/chart227.xml" ContentType="application/vnd.openxmlformats-officedocument.drawingml.chart+xml"/>
  <Override PartName="/ppt/charts/style59.xml" ContentType="application/vnd.ms-office.chartstyle+xml"/>
  <Override PartName="/ppt/charts/colors59.xml" ContentType="application/vnd.ms-office.chartcolorstyle+xml"/>
  <Override PartName="/ppt/tags/tag225.xml" ContentType="application/vnd.openxmlformats-officedocument.presentationml.tags+xml"/>
  <Override PartName="/ppt/notesSlides/notesSlide62.xml" ContentType="application/vnd.openxmlformats-officedocument.presentationml.notesSlide+xml"/>
  <Override PartName="/ppt/charts/chart228.xml" ContentType="application/vnd.openxmlformats-officedocument.drawingml.chart+xml"/>
  <Override PartName="/ppt/charts/style60.xml" ContentType="application/vnd.ms-office.chartstyle+xml"/>
  <Override PartName="/ppt/charts/colors60.xml" ContentType="application/vnd.ms-office.chartcolorstyle+xml"/>
  <Override PartName="/ppt/tags/tag226.xml" ContentType="application/vnd.openxmlformats-officedocument.presentationml.tags+xml"/>
  <Override PartName="/ppt/notesSlides/notesSlide63.xml" ContentType="application/vnd.openxmlformats-officedocument.presentationml.notesSlide+xml"/>
  <Override PartName="/ppt/charts/chart229.xml" ContentType="application/vnd.openxmlformats-officedocument.drawingml.chart+xml"/>
  <Override PartName="/ppt/charts/style61.xml" ContentType="application/vnd.ms-office.chartstyle+xml"/>
  <Override PartName="/ppt/charts/colors61.xml" ContentType="application/vnd.ms-office.chartcolorstyle+xml"/>
  <Override PartName="/ppt/tags/tag227.xml" ContentType="application/vnd.openxmlformats-officedocument.presentationml.tags+xml"/>
  <Override PartName="/ppt/notesSlides/notesSlide64.xml" ContentType="application/vnd.openxmlformats-officedocument.presentationml.notesSlide+xml"/>
  <Override PartName="/ppt/charts/chart230.xml" ContentType="application/vnd.openxmlformats-officedocument.drawingml.chart+xml"/>
  <Override PartName="/ppt/charts/style62.xml" ContentType="application/vnd.ms-office.chartstyle+xml"/>
  <Override PartName="/ppt/charts/colors62.xml" ContentType="application/vnd.ms-office.chartcolorstyle+xml"/>
  <Override PartName="/ppt/charts/chart231.xml" ContentType="application/vnd.openxmlformats-officedocument.drawingml.chart+xml"/>
  <Override PartName="/ppt/tags/tag228.xml" ContentType="application/vnd.openxmlformats-officedocument.presentationml.tags+xml"/>
  <Override PartName="/ppt/notesSlides/notesSlide65.xml" ContentType="application/vnd.openxmlformats-officedocument.presentationml.notesSlide+xml"/>
  <Override PartName="/ppt/charts/chart232.xml" ContentType="application/vnd.openxmlformats-officedocument.drawingml.chart+xml"/>
  <Override PartName="/ppt/charts/style63.xml" ContentType="application/vnd.ms-office.chartstyle+xml"/>
  <Override PartName="/ppt/charts/colors63.xml" ContentType="application/vnd.ms-office.chartcolorstyle+xml"/>
  <Override PartName="/ppt/tags/tag229.xml" ContentType="application/vnd.openxmlformats-officedocument.presentationml.tags+xml"/>
  <Override PartName="/ppt/notesSlides/notesSlide66.xml" ContentType="application/vnd.openxmlformats-officedocument.presentationml.notesSlide+xml"/>
  <Override PartName="/ppt/charts/chart233.xml" ContentType="application/vnd.openxmlformats-officedocument.drawingml.chart+xml"/>
  <Override PartName="/ppt/charts/style64.xml" ContentType="application/vnd.ms-office.chartstyle+xml"/>
  <Override PartName="/ppt/charts/colors64.xml" ContentType="application/vnd.ms-office.chartcolorstyle+xml"/>
  <Override PartName="/ppt/charts/chart234.xml" ContentType="application/vnd.openxmlformats-officedocument.drawingml.chart+xml"/>
  <Override PartName="/ppt/tags/tag230.xml" ContentType="application/vnd.openxmlformats-officedocument.presentationml.tags+xml"/>
  <Override PartName="/ppt/notesSlides/notesSlide67.xml" ContentType="application/vnd.openxmlformats-officedocument.presentationml.notesSlide+xml"/>
  <Override PartName="/ppt/charts/chart235.xml" ContentType="application/vnd.openxmlformats-officedocument.drawingml.chart+xml"/>
  <Override PartName="/ppt/tags/tag231.xml" ContentType="application/vnd.openxmlformats-officedocument.presentationml.tags+xml"/>
  <Override PartName="/ppt/notesSlides/notesSlide68.xml" ContentType="application/vnd.openxmlformats-officedocument.presentationml.notesSlide+xml"/>
  <Override PartName="/ppt/charts/chart236.xml" ContentType="application/vnd.openxmlformats-officedocument.drawingml.chart+xml"/>
  <Override PartName="/ppt/charts/style65.xml" ContentType="application/vnd.ms-office.chartstyle+xml"/>
  <Override PartName="/ppt/charts/colors65.xml" ContentType="application/vnd.ms-office.chartcolorstyle+xml"/>
  <Override PartName="/ppt/tags/tag232.xml" ContentType="application/vnd.openxmlformats-officedocument.presentationml.tags+xml"/>
  <Override PartName="/ppt/notesSlides/notesSlide69.xml" ContentType="application/vnd.openxmlformats-officedocument.presentationml.notesSlide+xml"/>
  <Override PartName="/ppt/charts/chart237.xml" ContentType="application/vnd.openxmlformats-officedocument.drawingml.chart+xml"/>
  <Override PartName="/ppt/charts/style66.xml" ContentType="application/vnd.ms-office.chartstyle+xml"/>
  <Override PartName="/ppt/charts/colors66.xml" ContentType="application/vnd.ms-office.chartcolorstyle+xml"/>
  <Override PartName="/ppt/tags/tag233.xml" ContentType="application/vnd.openxmlformats-officedocument.presentationml.tags+xml"/>
  <Override PartName="/ppt/notesSlides/notesSlide70.xml" ContentType="application/vnd.openxmlformats-officedocument.presentationml.notesSlide+xml"/>
  <Override PartName="/ppt/charts/chart238.xml" ContentType="application/vnd.openxmlformats-officedocument.drawingml.chart+xml"/>
  <Override PartName="/ppt/charts/style67.xml" ContentType="application/vnd.ms-office.chartstyle+xml"/>
  <Override PartName="/ppt/charts/colors67.xml" ContentType="application/vnd.ms-office.chartcolorstyle+xml"/>
  <Override PartName="/ppt/tags/tag234.xml" ContentType="application/vnd.openxmlformats-officedocument.presentationml.tags+xml"/>
  <Override PartName="/ppt/notesSlides/notesSlide71.xml" ContentType="application/vnd.openxmlformats-officedocument.presentationml.notesSlide+xml"/>
  <Override PartName="/ppt/charts/chart239.xml" ContentType="application/vnd.openxmlformats-officedocument.drawingml.chart+xml"/>
  <Override PartName="/ppt/charts/style68.xml" ContentType="application/vnd.ms-office.chartstyle+xml"/>
  <Override PartName="/ppt/charts/colors68.xml" ContentType="application/vnd.ms-office.chartcolorstyle+xml"/>
  <Override PartName="/ppt/charts/chart240.xml" ContentType="application/vnd.openxmlformats-officedocument.drawingml.chart+xml"/>
  <Override PartName="/ppt/tags/tag235.xml" ContentType="application/vnd.openxmlformats-officedocument.presentationml.tags+xml"/>
  <Override PartName="/ppt/notesSlides/notesSlide72.xml" ContentType="application/vnd.openxmlformats-officedocument.presentationml.notesSlide+xml"/>
  <Override PartName="/ppt/charts/chart241.xml" ContentType="application/vnd.openxmlformats-officedocument.drawingml.chart+xml"/>
  <Override PartName="/ppt/tags/tag236.xml" ContentType="application/vnd.openxmlformats-officedocument.presentationml.tags+xml"/>
  <Override PartName="/ppt/notesSlides/notesSlide73.xml" ContentType="application/vnd.openxmlformats-officedocument.presentationml.notesSlide+xml"/>
  <Override PartName="/ppt/charts/chart242.xml" ContentType="application/vnd.openxmlformats-officedocument.drawingml.chart+xml"/>
  <Override PartName="/ppt/charts/style69.xml" ContentType="application/vnd.ms-office.chartstyle+xml"/>
  <Override PartName="/ppt/charts/colors69.xml" ContentType="application/vnd.ms-office.chartcolorstyle+xml"/>
  <Override PartName="/ppt/tags/tag237.xml" ContentType="application/vnd.openxmlformats-officedocument.presentationml.tags+xml"/>
  <Override PartName="/ppt/notesSlides/notesSlide74.xml" ContentType="application/vnd.openxmlformats-officedocument.presentationml.notesSlide+xml"/>
  <Override PartName="/ppt/charts/chart243.xml" ContentType="application/vnd.openxmlformats-officedocument.drawingml.chart+xml"/>
  <Override PartName="/ppt/charts/chart244.xml" ContentType="application/vnd.openxmlformats-officedocument.drawingml.chart+xml"/>
  <Override PartName="/ppt/tags/tag238.xml" ContentType="application/vnd.openxmlformats-officedocument.presentationml.tags+xml"/>
  <Override PartName="/ppt/notesSlides/notesSlide75.xml" ContentType="application/vnd.openxmlformats-officedocument.presentationml.notesSlide+xml"/>
  <Override PartName="/ppt/charts/chart245.xml" ContentType="application/vnd.openxmlformats-officedocument.drawingml.chart+xml"/>
  <Override PartName="/ppt/charts/chart246.xml" ContentType="application/vnd.openxmlformats-officedocument.drawingml.chart+xml"/>
  <Override PartName="/ppt/tags/tag239.xml" ContentType="application/vnd.openxmlformats-officedocument.presentationml.tags+xml"/>
  <Override PartName="/ppt/notesSlides/notesSlide76.xml" ContentType="application/vnd.openxmlformats-officedocument.presentationml.notesSlide+xml"/>
  <Override PartName="/ppt/charts/chart247.xml" ContentType="application/vnd.openxmlformats-officedocument.drawingml.chart+xml"/>
  <Override PartName="/ppt/charts/chart248.xml" ContentType="application/vnd.openxmlformats-officedocument.drawingml.chart+xml"/>
  <Override PartName="/ppt/tags/tag240.xml" ContentType="application/vnd.openxmlformats-officedocument.presentationml.tags+xml"/>
  <Override PartName="/ppt/notesSlides/notesSlide77.xml" ContentType="application/vnd.openxmlformats-officedocument.presentationml.notesSlide+xml"/>
  <Override PartName="/ppt/charts/chart249.xml" ContentType="application/vnd.openxmlformats-officedocument.drawingml.chart+xml"/>
  <Override PartName="/ppt/charts/chart250.xml" ContentType="application/vnd.openxmlformats-officedocument.drawingml.chart+xml"/>
  <Override PartName="/ppt/tags/tag241.xml" ContentType="application/vnd.openxmlformats-officedocument.presentationml.tags+xml"/>
  <Override PartName="/ppt/notesSlides/notesSlide78.xml" ContentType="application/vnd.openxmlformats-officedocument.presentationml.notesSlide+xml"/>
  <Override PartName="/ppt/charts/chart251.xml" ContentType="application/vnd.openxmlformats-officedocument.drawingml.chart+xml"/>
  <Override PartName="/ppt/charts/chart252.xml" ContentType="application/vnd.openxmlformats-officedocument.drawingml.chart+xml"/>
  <Override PartName="/ppt/tags/tag242.xml" ContentType="application/vnd.openxmlformats-officedocument.presentationml.tags+xml"/>
  <Override PartName="/ppt/notesSlides/notesSlide79.xml" ContentType="application/vnd.openxmlformats-officedocument.presentationml.notesSlide+xml"/>
  <Override PartName="/ppt/charts/chart253.xml" ContentType="application/vnd.openxmlformats-officedocument.drawingml.chart+xml"/>
  <Override PartName="/ppt/charts/chart254.xml" ContentType="application/vnd.openxmlformats-officedocument.drawingml.chart+xml"/>
  <Override PartName="/ppt/tags/tag243.xml" ContentType="application/vnd.openxmlformats-officedocument.presentationml.tags+xml"/>
  <Override PartName="/ppt/notesSlides/notesSlide80.xml" ContentType="application/vnd.openxmlformats-officedocument.presentationml.notesSlide+xml"/>
  <Override PartName="/ppt/charts/chart255.xml" ContentType="application/vnd.openxmlformats-officedocument.drawingml.chart+xml"/>
  <Override PartName="/ppt/charts/chart256.xml" ContentType="application/vnd.openxmlformats-officedocument.drawingml.chart+xml"/>
  <Override PartName="/ppt/tags/tag244.xml" ContentType="application/vnd.openxmlformats-officedocument.presentationml.tags+xml"/>
  <Override PartName="/ppt/notesSlides/notesSlide81.xml" ContentType="application/vnd.openxmlformats-officedocument.presentationml.notesSlide+xml"/>
  <Override PartName="/ppt/charts/chart257.xml" ContentType="application/vnd.openxmlformats-officedocument.drawingml.chart+xml"/>
  <Override PartName="/ppt/charts/chart258.xml" ContentType="application/vnd.openxmlformats-officedocument.drawingml.chart+xml"/>
  <Override PartName="/ppt/tags/tag245.xml" ContentType="application/vnd.openxmlformats-officedocument.presentationml.tags+xml"/>
  <Override PartName="/ppt/notesSlides/notesSlide82.xml" ContentType="application/vnd.openxmlformats-officedocument.presentationml.notesSlide+xml"/>
  <Override PartName="/ppt/charts/chart259.xml" ContentType="application/vnd.openxmlformats-officedocument.drawingml.chart+xml"/>
  <Override PartName="/ppt/charts/chart260.xml" ContentType="application/vnd.openxmlformats-officedocument.drawingml.chart+xml"/>
  <Override PartName="/ppt/tags/tag246.xml" ContentType="application/vnd.openxmlformats-officedocument.presentationml.tags+xml"/>
  <Override PartName="/ppt/notesSlides/notesSlide83.xml" ContentType="application/vnd.openxmlformats-officedocument.presentationml.notesSlide+xml"/>
  <Override PartName="/ppt/charts/chart261.xml" ContentType="application/vnd.openxmlformats-officedocument.drawingml.chart+xml"/>
  <Override PartName="/ppt/charts/chart262.xml" ContentType="application/vnd.openxmlformats-officedocument.drawingml.chart+xml"/>
  <Override PartName="/ppt/tags/tag247.xml" ContentType="application/vnd.openxmlformats-officedocument.presentationml.tags+xml"/>
  <Override PartName="/ppt/notesSlides/notesSlide84.xml" ContentType="application/vnd.openxmlformats-officedocument.presentationml.notesSlide+xml"/>
  <Override PartName="/ppt/charts/chart263.xml" ContentType="application/vnd.openxmlformats-officedocument.drawingml.chart+xml"/>
  <Override PartName="/ppt/charts/chart264.xml" ContentType="application/vnd.openxmlformats-officedocument.drawingml.chart+xml"/>
  <Override PartName="/ppt/tags/tag248.xml" ContentType="application/vnd.openxmlformats-officedocument.presentationml.tags+xml"/>
  <Override PartName="/ppt/notesSlides/notesSlide85.xml" ContentType="application/vnd.openxmlformats-officedocument.presentationml.notesSlide+xml"/>
  <Override PartName="/ppt/charts/chart265.xml" ContentType="application/vnd.openxmlformats-officedocument.drawingml.chart+xml"/>
  <Override PartName="/ppt/charts/chart266.xml" ContentType="application/vnd.openxmlformats-officedocument.drawingml.chart+xml"/>
  <Override PartName="/ppt/tags/tag249.xml" ContentType="application/vnd.openxmlformats-officedocument.presentationml.tags+xml"/>
  <Override PartName="/ppt/notesSlides/notesSlide86.xml" ContentType="application/vnd.openxmlformats-officedocument.presentationml.notesSlide+xml"/>
  <Override PartName="/ppt/tags/tag250.xml" ContentType="application/vnd.openxmlformats-officedocument.presentationml.tags+xml"/>
  <Override PartName="/ppt/notesSlides/notesSlide87.xml" ContentType="application/vnd.openxmlformats-officedocument.presentationml.notesSlide+xml"/>
  <Override PartName="/ppt/tags/tag251.xml" ContentType="application/vnd.openxmlformats-officedocument.presentationml.tags+xml"/>
  <Override PartName="/ppt/notesSlides/notesSlide88.xml" ContentType="application/vnd.openxmlformats-officedocument.presentationml.notesSlide+xml"/>
  <Override PartName="/ppt/tags/tag252.xml" ContentType="application/vnd.openxmlformats-officedocument.presentationml.tags+xml"/>
  <Override PartName="/ppt/notesSlides/notesSlide89.xml" ContentType="application/vnd.openxmlformats-officedocument.presentationml.notesSlide+xml"/>
  <Override PartName="/ppt/tags/tag253.xml" ContentType="application/vnd.openxmlformats-officedocument.presentationml.tags+xml"/>
  <Override PartName="/ppt/notesSlides/notesSlide90.xml" ContentType="application/vnd.openxmlformats-officedocument.presentationml.notesSlide+xml"/>
  <Override PartName="/ppt/charts/chart267.xml" ContentType="application/vnd.openxmlformats-officedocument.drawingml.chart+xml"/>
  <Override PartName="/ppt/charts/style70.xml" ContentType="application/vnd.ms-office.chartstyle+xml"/>
  <Override PartName="/ppt/charts/colors70.xml" ContentType="application/vnd.ms-office.chartcolorstyle+xml"/>
  <Override PartName="/ppt/tags/tag254.xml" ContentType="application/vnd.openxmlformats-officedocument.presentationml.tags+xml"/>
  <Override PartName="/ppt/notesSlides/notesSlide91.xml" ContentType="application/vnd.openxmlformats-officedocument.presentationml.notesSlide+xml"/>
  <Override PartName="/ppt/charts/chart268.xml" ContentType="application/vnd.openxmlformats-officedocument.drawingml.chart+xml"/>
  <Override PartName="/ppt/charts/style71.xml" ContentType="application/vnd.ms-office.chartstyle+xml"/>
  <Override PartName="/ppt/charts/colors71.xml" ContentType="application/vnd.ms-office.chartcolorstyle+xml"/>
  <Override PartName="/ppt/tags/tag255.xml" ContentType="application/vnd.openxmlformats-officedocument.presentationml.tags+xml"/>
  <Override PartName="/ppt/notesSlides/notesSlide92.xml" ContentType="application/vnd.openxmlformats-officedocument.presentationml.notesSlide+xml"/>
  <Override PartName="/ppt/charts/chart269.xml" ContentType="application/vnd.openxmlformats-officedocument.drawingml.chart+xml"/>
  <Override PartName="/ppt/charts/style72.xml" ContentType="application/vnd.ms-office.chartstyle+xml"/>
  <Override PartName="/ppt/charts/colors72.xml" ContentType="application/vnd.ms-office.chartcolorstyle+xml"/>
  <Override PartName="/ppt/tags/tag256.xml" ContentType="application/vnd.openxmlformats-officedocument.presentationml.tags+xml"/>
  <Override PartName="/ppt/notesSlides/notesSlide93.xml" ContentType="application/vnd.openxmlformats-officedocument.presentationml.notesSlide+xml"/>
  <Override PartName="/ppt/charts/chart270.xml" ContentType="application/vnd.openxmlformats-officedocument.drawingml.chart+xml"/>
  <Override PartName="/ppt/charts/style73.xml" ContentType="application/vnd.ms-office.chartstyle+xml"/>
  <Override PartName="/ppt/charts/colors73.xml" ContentType="application/vnd.ms-office.chartcolorstyle+xml"/>
  <Override PartName="/ppt/tags/tag257.xml" ContentType="application/vnd.openxmlformats-officedocument.presentationml.tags+xml"/>
  <Override PartName="/ppt/notesSlides/notesSlide94.xml" ContentType="application/vnd.openxmlformats-officedocument.presentationml.notesSlide+xml"/>
  <Override PartName="/ppt/charts/chart271.xml" ContentType="application/vnd.openxmlformats-officedocument.drawingml.chart+xml"/>
  <Override PartName="/ppt/charts/style74.xml" ContentType="application/vnd.ms-office.chartstyle+xml"/>
  <Override PartName="/ppt/charts/colors74.xml" ContentType="application/vnd.ms-office.chartcolorstyle+xml"/>
  <Override PartName="/ppt/tags/tag258.xml" ContentType="application/vnd.openxmlformats-officedocument.presentationml.tags+xml"/>
  <Override PartName="/ppt/notesSlides/notesSlide95.xml" ContentType="application/vnd.openxmlformats-officedocument.presentationml.notesSlide+xml"/>
  <Override PartName="/ppt/charts/chart272.xml" ContentType="application/vnd.openxmlformats-officedocument.drawingml.chart+xml"/>
  <Override PartName="/ppt/charts/style75.xml" ContentType="application/vnd.ms-office.chartstyle+xml"/>
  <Override PartName="/ppt/charts/colors75.xml" ContentType="application/vnd.ms-office.chartcolorstyle+xml"/>
  <Override PartName="/ppt/tags/tag259.xml" ContentType="application/vnd.openxmlformats-officedocument.presentationml.tags+xml"/>
  <Override PartName="/ppt/charts/chart273.xml" ContentType="application/vnd.openxmlformats-officedocument.drawingml.chart+xml"/>
  <Override PartName="/ppt/tags/tag260.xml" ContentType="application/vnd.openxmlformats-officedocument.presentationml.tags+xml"/>
  <Override PartName="/ppt/charts/chart274.xml" ContentType="application/vnd.openxmlformats-officedocument.drawingml.chart+xml"/>
  <Override PartName="/ppt/tags/tag261.xml" ContentType="application/vnd.openxmlformats-officedocument.presentationml.tags+xml"/>
  <Override PartName="/ppt/charts/chart275.xml" ContentType="application/vnd.openxmlformats-officedocument.drawingml.chart+xml"/>
  <Override PartName="/ppt/tags/tag262.xml" ContentType="application/vnd.openxmlformats-officedocument.presentationml.tags+xml"/>
  <Override PartName="/ppt/charts/chart276.xml" ContentType="application/vnd.openxmlformats-officedocument.drawingml.chart+xml"/>
  <Override PartName="/ppt/tags/tag263.xml" ContentType="application/vnd.openxmlformats-officedocument.presentationml.tags+xml"/>
  <Override PartName="/ppt/charts/chart277.xml" ContentType="application/vnd.openxmlformats-officedocument.drawingml.chart+xml"/>
  <Override PartName="/ppt/tags/tag264.xml" ContentType="application/vnd.openxmlformats-officedocument.presentationml.tags+xml"/>
  <Override PartName="/ppt/charts/chart278.xml" ContentType="application/vnd.openxmlformats-officedocument.drawingml.chart+xml"/>
  <Override PartName="/ppt/tags/tag265.xml" ContentType="application/vnd.openxmlformats-officedocument.presentationml.tags+xml"/>
  <Override PartName="/ppt/charts/chart279.xml" ContentType="application/vnd.openxmlformats-officedocument.drawingml.chart+xml"/>
  <Override PartName="/ppt/tags/tag266.xml" ContentType="application/vnd.openxmlformats-officedocument.presentationml.tags+xml"/>
  <Override PartName="/ppt/charts/chart280.xml" ContentType="application/vnd.openxmlformats-officedocument.drawingml.chart+xml"/>
  <Override PartName="/ppt/tags/tag267.xml" ContentType="application/vnd.openxmlformats-officedocument.presentationml.tags+xml"/>
  <Override PartName="/ppt/charts/chart281.xml" ContentType="application/vnd.openxmlformats-officedocument.drawingml.chart+xml"/>
  <Override PartName="/ppt/tags/tag268.xml" ContentType="application/vnd.openxmlformats-officedocument.presentationml.tags+xml"/>
  <Override PartName="/ppt/charts/chart282.xml" ContentType="application/vnd.openxmlformats-officedocument.drawingml.chart+xml"/>
  <Override PartName="/ppt/tags/tag269.xml" ContentType="application/vnd.openxmlformats-officedocument.presentationml.tags+xml"/>
  <Override PartName="/ppt/charts/chart283.xml" ContentType="application/vnd.openxmlformats-officedocument.drawingml.chart+xml"/>
  <Override PartName="/ppt/tags/tag270.xml" ContentType="application/vnd.openxmlformats-officedocument.presentationml.tags+xml"/>
  <Override PartName="/ppt/charts/chart284.xml" ContentType="application/vnd.openxmlformats-officedocument.drawingml.chart+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94" r:id="rId4"/>
  </p:sldMasterIdLst>
  <p:notesMasterIdLst>
    <p:notesMasterId r:id="rId248"/>
  </p:notesMasterIdLst>
  <p:sldIdLst>
    <p:sldId id="2147475194" r:id="rId5"/>
    <p:sldId id="2147475195" r:id="rId6"/>
    <p:sldId id="2147475196" r:id="rId7"/>
    <p:sldId id="2147475197" r:id="rId8"/>
    <p:sldId id="2147475198" r:id="rId9"/>
    <p:sldId id="2147475199" r:id="rId10"/>
    <p:sldId id="2147475200" r:id="rId11"/>
    <p:sldId id="2147475201" r:id="rId12"/>
    <p:sldId id="2147475202" r:id="rId13"/>
    <p:sldId id="2147475203" r:id="rId14"/>
    <p:sldId id="2147475204" r:id="rId15"/>
    <p:sldId id="2147475205" r:id="rId16"/>
    <p:sldId id="2147475206" r:id="rId17"/>
    <p:sldId id="2147475207" r:id="rId18"/>
    <p:sldId id="2147475208" r:id="rId19"/>
    <p:sldId id="2147475209" r:id="rId20"/>
    <p:sldId id="2147475210" r:id="rId21"/>
    <p:sldId id="2147475211" r:id="rId22"/>
    <p:sldId id="2147475212" r:id="rId23"/>
    <p:sldId id="2147475213" r:id="rId24"/>
    <p:sldId id="2147475214" r:id="rId25"/>
    <p:sldId id="2147475215" r:id="rId26"/>
    <p:sldId id="2147475216" r:id="rId27"/>
    <p:sldId id="2147475217" r:id="rId28"/>
    <p:sldId id="2147475218" r:id="rId29"/>
    <p:sldId id="2147475219" r:id="rId30"/>
    <p:sldId id="2147475220" r:id="rId31"/>
    <p:sldId id="2147475221" r:id="rId32"/>
    <p:sldId id="2147475222" r:id="rId33"/>
    <p:sldId id="2147475223" r:id="rId34"/>
    <p:sldId id="2147475224" r:id="rId35"/>
    <p:sldId id="2147475225" r:id="rId36"/>
    <p:sldId id="2147475226" r:id="rId37"/>
    <p:sldId id="2147475227" r:id="rId38"/>
    <p:sldId id="2147475228" r:id="rId39"/>
    <p:sldId id="2147475229" r:id="rId40"/>
    <p:sldId id="2147475230" r:id="rId41"/>
    <p:sldId id="2147475231" r:id="rId42"/>
    <p:sldId id="2147475232" r:id="rId43"/>
    <p:sldId id="2147475233" r:id="rId44"/>
    <p:sldId id="2147475234" r:id="rId45"/>
    <p:sldId id="2147475235" r:id="rId46"/>
    <p:sldId id="2147475236" r:id="rId47"/>
    <p:sldId id="2147475237" r:id="rId48"/>
    <p:sldId id="2147475238" r:id="rId49"/>
    <p:sldId id="2147475239" r:id="rId50"/>
    <p:sldId id="2147475240" r:id="rId51"/>
    <p:sldId id="2147475241" r:id="rId52"/>
    <p:sldId id="2147475242" r:id="rId53"/>
    <p:sldId id="2147475243" r:id="rId54"/>
    <p:sldId id="2147475244" r:id="rId55"/>
    <p:sldId id="2147475245" r:id="rId56"/>
    <p:sldId id="2147475246" r:id="rId57"/>
    <p:sldId id="2147475247" r:id="rId58"/>
    <p:sldId id="2147475248" r:id="rId59"/>
    <p:sldId id="2147475249" r:id="rId60"/>
    <p:sldId id="2147475250" r:id="rId61"/>
    <p:sldId id="2147475251" r:id="rId62"/>
    <p:sldId id="2147475252" r:id="rId63"/>
    <p:sldId id="2147475253" r:id="rId64"/>
    <p:sldId id="2147475254" r:id="rId65"/>
    <p:sldId id="2147475255" r:id="rId66"/>
    <p:sldId id="2147475256" r:id="rId67"/>
    <p:sldId id="2147475257" r:id="rId68"/>
    <p:sldId id="2147475258" r:id="rId69"/>
    <p:sldId id="2147475259" r:id="rId70"/>
    <p:sldId id="2147475260" r:id="rId71"/>
    <p:sldId id="2147475261" r:id="rId72"/>
    <p:sldId id="2147475262" r:id="rId73"/>
    <p:sldId id="2147475263" r:id="rId74"/>
    <p:sldId id="2147475264" r:id="rId75"/>
    <p:sldId id="2147475265" r:id="rId76"/>
    <p:sldId id="2147475266" r:id="rId77"/>
    <p:sldId id="2147475267" r:id="rId78"/>
    <p:sldId id="2147475268" r:id="rId79"/>
    <p:sldId id="2147475269" r:id="rId80"/>
    <p:sldId id="2147475270" r:id="rId81"/>
    <p:sldId id="2147475271" r:id="rId82"/>
    <p:sldId id="2147475272" r:id="rId83"/>
    <p:sldId id="2147475273" r:id="rId84"/>
    <p:sldId id="2147475274" r:id="rId85"/>
    <p:sldId id="2147475275" r:id="rId86"/>
    <p:sldId id="2147475276" r:id="rId87"/>
    <p:sldId id="2147475277" r:id="rId88"/>
    <p:sldId id="2147475278" r:id="rId89"/>
    <p:sldId id="2147475279" r:id="rId90"/>
    <p:sldId id="2147475280" r:id="rId91"/>
    <p:sldId id="2147475281" r:id="rId92"/>
    <p:sldId id="2147475282" r:id="rId93"/>
    <p:sldId id="2147475283" r:id="rId94"/>
    <p:sldId id="2147475284" r:id="rId95"/>
    <p:sldId id="2147475285" r:id="rId96"/>
    <p:sldId id="2147475286" r:id="rId97"/>
    <p:sldId id="2147475287" r:id="rId98"/>
    <p:sldId id="2147475288" r:id="rId99"/>
    <p:sldId id="2147475289" r:id="rId100"/>
    <p:sldId id="2147475290" r:id="rId101"/>
    <p:sldId id="2147475291" r:id="rId102"/>
    <p:sldId id="2147475292" r:id="rId103"/>
    <p:sldId id="2147475293" r:id="rId104"/>
    <p:sldId id="2147475294" r:id="rId105"/>
    <p:sldId id="2147475295" r:id="rId106"/>
    <p:sldId id="2147475296" r:id="rId107"/>
    <p:sldId id="2147475297" r:id="rId108"/>
    <p:sldId id="2147475298" r:id="rId109"/>
    <p:sldId id="2147475299" r:id="rId110"/>
    <p:sldId id="2147475300" r:id="rId111"/>
    <p:sldId id="2147475301" r:id="rId112"/>
    <p:sldId id="2147475302" r:id="rId113"/>
    <p:sldId id="2147475303" r:id="rId114"/>
    <p:sldId id="2147475304" r:id="rId115"/>
    <p:sldId id="2147475305" r:id="rId116"/>
    <p:sldId id="2147475306" r:id="rId117"/>
    <p:sldId id="2147475307" r:id="rId118"/>
    <p:sldId id="2147475308" r:id="rId119"/>
    <p:sldId id="2147475309" r:id="rId120"/>
    <p:sldId id="2147475310" r:id="rId121"/>
    <p:sldId id="2147475311" r:id="rId122"/>
    <p:sldId id="2147475312" r:id="rId123"/>
    <p:sldId id="2147475313" r:id="rId124"/>
    <p:sldId id="2147475314" r:id="rId125"/>
    <p:sldId id="2147475315" r:id="rId126"/>
    <p:sldId id="2147475316" r:id="rId127"/>
    <p:sldId id="2147475317" r:id="rId128"/>
    <p:sldId id="2147475318" r:id="rId129"/>
    <p:sldId id="2147475319" r:id="rId130"/>
    <p:sldId id="2147475320" r:id="rId131"/>
    <p:sldId id="2147475321" r:id="rId132"/>
    <p:sldId id="2147475322" r:id="rId133"/>
    <p:sldId id="2147475323" r:id="rId134"/>
    <p:sldId id="2147475324" r:id="rId135"/>
    <p:sldId id="2147475325" r:id="rId136"/>
    <p:sldId id="2147475326" r:id="rId137"/>
    <p:sldId id="2147475327" r:id="rId138"/>
    <p:sldId id="2147475328" r:id="rId139"/>
    <p:sldId id="2147475329" r:id="rId140"/>
    <p:sldId id="2147475330" r:id="rId141"/>
    <p:sldId id="2147475331" r:id="rId142"/>
    <p:sldId id="2147475332" r:id="rId143"/>
    <p:sldId id="2147475333" r:id="rId144"/>
    <p:sldId id="2147475334" r:id="rId145"/>
    <p:sldId id="2147475335" r:id="rId146"/>
    <p:sldId id="2147475336" r:id="rId147"/>
    <p:sldId id="2147475337" r:id="rId148"/>
    <p:sldId id="2147475338" r:id="rId149"/>
    <p:sldId id="2147475339" r:id="rId150"/>
    <p:sldId id="2147475340" r:id="rId151"/>
    <p:sldId id="2147475341" r:id="rId152"/>
    <p:sldId id="2147475342" r:id="rId153"/>
    <p:sldId id="2147475343" r:id="rId154"/>
    <p:sldId id="2147475344" r:id="rId155"/>
    <p:sldId id="2147475345" r:id="rId156"/>
    <p:sldId id="2147475346" r:id="rId157"/>
    <p:sldId id="2147475347" r:id="rId158"/>
    <p:sldId id="2147475348" r:id="rId159"/>
    <p:sldId id="2147475349" r:id="rId160"/>
    <p:sldId id="2147475350" r:id="rId161"/>
    <p:sldId id="2147475351" r:id="rId162"/>
    <p:sldId id="2147475352" r:id="rId163"/>
    <p:sldId id="2147475353" r:id="rId164"/>
    <p:sldId id="2147475354" r:id="rId165"/>
    <p:sldId id="2147475355" r:id="rId166"/>
    <p:sldId id="2147475356" r:id="rId167"/>
    <p:sldId id="2147475357" r:id="rId168"/>
    <p:sldId id="2147475358" r:id="rId169"/>
    <p:sldId id="2147475359" r:id="rId170"/>
    <p:sldId id="2147475360" r:id="rId171"/>
    <p:sldId id="2147475361" r:id="rId172"/>
    <p:sldId id="2147475362" r:id="rId173"/>
    <p:sldId id="2147475363" r:id="rId174"/>
    <p:sldId id="2147475364" r:id="rId175"/>
    <p:sldId id="2147475365" r:id="rId176"/>
    <p:sldId id="2147475366" r:id="rId177"/>
    <p:sldId id="2147475367" r:id="rId178"/>
    <p:sldId id="2147475368" r:id="rId179"/>
    <p:sldId id="2147475369" r:id="rId180"/>
    <p:sldId id="2147475370" r:id="rId181"/>
    <p:sldId id="2147475371" r:id="rId182"/>
    <p:sldId id="2147475372" r:id="rId183"/>
    <p:sldId id="2147475373" r:id="rId184"/>
    <p:sldId id="2147475374" r:id="rId185"/>
    <p:sldId id="2147475375" r:id="rId186"/>
    <p:sldId id="2147475376" r:id="rId187"/>
    <p:sldId id="2147475377" r:id="rId188"/>
    <p:sldId id="2147475378" r:id="rId189"/>
    <p:sldId id="2147475379" r:id="rId190"/>
    <p:sldId id="2147475380" r:id="rId191"/>
    <p:sldId id="2147475381" r:id="rId192"/>
    <p:sldId id="2147475382" r:id="rId193"/>
    <p:sldId id="2147475383" r:id="rId194"/>
    <p:sldId id="2147475384" r:id="rId195"/>
    <p:sldId id="2147475385" r:id="rId196"/>
    <p:sldId id="2147475386" r:id="rId197"/>
    <p:sldId id="2147475387" r:id="rId198"/>
    <p:sldId id="2147475388" r:id="rId199"/>
    <p:sldId id="2147475389" r:id="rId200"/>
    <p:sldId id="2147475390" r:id="rId201"/>
    <p:sldId id="2147475391" r:id="rId202"/>
    <p:sldId id="2147475392" r:id="rId203"/>
    <p:sldId id="2147475393" r:id="rId204"/>
    <p:sldId id="2147475394" r:id="rId205"/>
    <p:sldId id="2147475395" r:id="rId206"/>
    <p:sldId id="2147475396" r:id="rId207"/>
    <p:sldId id="2147475397" r:id="rId208"/>
    <p:sldId id="2147475398" r:id="rId209"/>
    <p:sldId id="2147475399" r:id="rId210"/>
    <p:sldId id="2147475400" r:id="rId211"/>
    <p:sldId id="2147475401" r:id="rId212"/>
    <p:sldId id="2147475402" r:id="rId213"/>
    <p:sldId id="2147475403" r:id="rId214"/>
    <p:sldId id="2147475404" r:id="rId215"/>
    <p:sldId id="2147475405" r:id="rId216"/>
    <p:sldId id="2147475406" r:id="rId217"/>
    <p:sldId id="2147475407" r:id="rId218"/>
    <p:sldId id="2147475408" r:id="rId219"/>
    <p:sldId id="2147475409" r:id="rId220"/>
    <p:sldId id="2147475410" r:id="rId221"/>
    <p:sldId id="2147475411" r:id="rId222"/>
    <p:sldId id="2147475412" r:id="rId223"/>
    <p:sldId id="2147475413" r:id="rId224"/>
    <p:sldId id="2147475414" r:id="rId225"/>
    <p:sldId id="2147475415" r:id="rId226"/>
    <p:sldId id="2147475416" r:id="rId227"/>
    <p:sldId id="2147475417" r:id="rId228"/>
    <p:sldId id="2147475418" r:id="rId229"/>
    <p:sldId id="2147475419" r:id="rId230"/>
    <p:sldId id="2147475420" r:id="rId231"/>
    <p:sldId id="2147475421" r:id="rId232"/>
    <p:sldId id="2147475422" r:id="rId233"/>
    <p:sldId id="2147475423" r:id="rId234"/>
    <p:sldId id="2147475424" r:id="rId235"/>
    <p:sldId id="2147475425" r:id="rId236"/>
    <p:sldId id="2147475426" r:id="rId237"/>
    <p:sldId id="2147475427" r:id="rId238"/>
    <p:sldId id="2147475428" r:id="rId239"/>
    <p:sldId id="2147475429" r:id="rId240"/>
    <p:sldId id="2147475430" r:id="rId241"/>
    <p:sldId id="2147475431" r:id="rId242"/>
    <p:sldId id="2147475432" r:id="rId243"/>
    <p:sldId id="2147475433" r:id="rId244"/>
    <p:sldId id="2147475434" r:id="rId245"/>
    <p:sldId id="2147475435" r:id="rId246"/>
    <p:sldId id="2147475436" r:id="rId247"/>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Promo Evolution Category" id="{0A706FDA-FC0B-41BD-823E-BD83D8ED5DE8}">
          <p14:sldIdLst>
            <p14:sldId id="2147475194"/>
            <p14:sldId id="2147475195"/>
          </p14:sldIdLst>
        </p14:section>
        <p14:section name="Promo Evolution Sector" id="{EE4E3DA1-8423-4B19-AA2B-6144582336C4}">
          <p14:sldIdLst>
            <p14:sldId id="2147475196"/>
            <p14:sldId id="2147475197"/>
            <p14:sldId id="2147475198"/>
            <p14:sldId id="2147475199"/>
          </p14:sldIdLst>
        </p14:section>
        <p14:section name="Promo Evolution Segment" id="{A587FEF1-8EC1-4CF1-9ECB-F71E7A7F91FE}">
          <p14:sldIdLst>
            <p14:sldId id="2147475200"/>
            <p14:sldId id="2147475201"/>
            <p14:sldId id="2147475202"/>
            <p14:sldId id="2147475203"/>
            <p14:sldId id="2147475204"/>
            <p14:sldId id="2147475205"/>
          </p14:sldIdLst>
        </p14:section>
        <p14:section name="VSOD Summary by Sector Sector" id="{ED2BAE50-A004-4506-B7EC-96930F57EAFD}">
          <p14:sldIdLst>
            <p14:sldId id="2147475206"/>
            <p14:sldId id="2147475207"/>
          </p14:sldIdLst>
        </p14:section>
        <p14:section name="VSOD Summary by Sector Segment" id="{98B1795C-8B8C-4BC0-A65D-8DF6F7C2A001}">
          <p14:sldIdLst>
            <p14:sldId id="2147475208"/>
            <p14:sldId id="2147475209"/>
          </p14:sldIdLst>
        </p14:section>
        <p14:section name="Value uplift by retailer by brand Category" id="{90928D2F-9753-4754-B0FE-075FAADDE738}">
          <p14:sldIdLst>
            <p14:sldId id="2147475210"/>
          </p14:sldIdLst>
        </p14:section>
        <p14:section name="Value uplift by retailer by brand Sector" id="{F14B1A40-BD2C-4DA3-8480-4EAA17C3731B}">
          <p14:sldIdLst>
            <p14:sldId id="2147475211"/>
            <p14:sldId id="2147475212"/>
          </p14:sldIdLst>
        </p14:section>
        <p14:section name="Value uplift by retailer by brand Segment" id="{7BA43782-2668-4E3F-8612-330835AB4E18}">
          <p14:sldIdLst>
            <p14:sldId id="2147475213"/>
            <p14:sldId id="2147475214"/>
            <p14:sldId id="2147475215"/>
          </p14:sldIdLst>
        </p14:section>
        <p14:section name="Volume Uplift vs discount depth Category" id="{2B602691-82D9-4C32-86E5-6E3CEA582B6F}">
          <p14:sldIdLst>
            <p14:sldId id="2147475216"/>
            <p14:sldId id="2147475217"/>
          </p14:sldIdLst>
        </p14:section>
        <p14:section name="Volume Uplift vs discount depth Sector" id="{BE579713-7117-47AC-9048-3A1544DB4A5F}">
          <p14:sldIdLst>
            <p14:sldId id="2147475218"/>
            <p14:sldId id="2147475219"/>
            <p14:sldId id="2147475220"/>
            <p14:sldId id="2147475221"/>
          </p14:sldIdLst>
        </p14:section>
        <p14:section name="Volume Uplift vs discount depth Segment" id="{BD1D8664-BF7E-4B0D-A4DA-2557FE5AB322}">
          <p14:sldIdLst>
            <p14:sldId id="2147475222"/>
            <p14:sldId id="2147475223"/>
            <p14:sldId id="2147475224"/>
            <p14:sldId id="2147475225"/>
            <p14:sldId id="2147475226"/>
            <p14:sldId id="2147475227"/>
          </p14:sldIdLst>
        </p14:section>
        <p14:section name="Value Uplift vs Promo Efficiency Quadrant Category" id="{C87F4D9F-EA49-476B-AFDF-EFBA7E31AE83}">
          <p14:sldIdLst>
            <p14:sldId id="2147475228"/>
            <p14:sldId id="2147475229"/>
          </p14:sldIdLst>
        </p14:section>
        <p14:section name="Value Uplift vs Promo Efficiency Quadrant Sector" id="{1A5BCC21-7E8D-4303-B8C5-1B25FCBE6C25}">
          <p14:sldIdLst>
            <p14:sldId id="2147475230"/>
            <p14:sldId id="2147475231"/>
            <p14:sldId id="2147475232"/>
            <p14:sldId id="2147475233"/>
          </p14:sldIdLst>
        </p14:section>
        <p14:section name="Value Uplift vs Promo Efficiency Quadrant Segment" id="{03C37D91-7787-43A0-9AB0-E8F088C5EBD9}">
          <p14:sldIdLst>
            <p14:sldId id="2147475234"/>
            <p14:sldId id="2147475235"/>
            <p14:sldId id="2147475236"/>
            <p14:sldId id="2147475237"/>
            <p14:sldId id="2147475238"/>
            <p14:sldId id="2147475239"/>
          </p14:sldIdLst>
        </p14:section>
        <p14:section name="Top 20 promotions Category" id="{3876B818-875F-4F65-BD00-B53F0B8897EC}">
          <p14:sldIdLst>
            <p14:sldId id="2147475240"/>
            <p14:sldId id="2147475241"/>
          </p14:sldIdLst>
        </p14:section>
        <p14:section name="Top 20 promotions Sector" id="{9E3627B8-6382-44FD-9EE8-0683529F17DC}">
          <p14:sldIdLst>
            <p14:sldId id="2147475242"/>
            <p14:sldId id="2147475243"/>
            <p14:sldId id="2147475244"/>
            <p14:sldId id="2147475245"/>
          </p14:sldIdLst>
        </p14:section>
        <p14:section name="Top 20 promotions Segment" id="{87EB1D3F-33A8-4992-B444-009E3EF711FD}">
          <p14:sldIdLst>
            <p14:sldId id="2147475246"/>
            <p14:sldId id="2147475247"/>
            <p14:sldId id="2147475248"/>
            <p14:sldId id="2147475249"/>
            <p14:sldId id="2147475250"/>
            <p14:sldId id="2147475251"/>
          </p14:sldIdLst>
        </p14:section>
        <p14:section name="Top 20 promotions CLIENT ONLY Category" id="{20090037-F402-4532-BEC6-0CD4B35A913D}">
          <p14:sldIdLst>
            <p14:sldId id="2147475252"/>
            <p14:sldId id="2147475253"/>
          </p14:sldIdLst>
        </p14:section>
        <p14:section name="Top 20 promotions CLIENT ONLY Sector" id="{39D79B37-F39C-4795-BFCE-EF5197680BC2}">
          <p14:sldIdLst>
            <p14:sldId id="2147475254"/>
            <p14:sldId id="2147475255"/>
            <p14:sldId id="2147475256"/>
            <p14:sldId id="2147475257"/>
          </p14:sldIdLst>
        </p14:section>
        <p14:section name="Top 20 promotions CLIENT ONLY Segment" id="{8E9DD8F8-AFB2-4CC7-92AC-54A5DAD5BB0D}">
          <p14:sldIdLst>
            <p14:sldId id="2147475258"/>
            <p14:sldId id="2147475259"/>
            <p14:sldId id="2147475260"/>
            <p14:sldId id="2147475261"/>
            <p14:sldId id="2147475262"/>
          </p14:sldIdLst>
        </p14:section>
        <p14:section name="Bottom 20 promotions CLIENT ONLY Category" id="{2E9BDE0F-E061-47B1-8F24-C57D42F53FE4}">
          <p14:sldIdLst>
            <p14:sldId id="2147475263"/>
            <p14:sldId id="2147475264"/>
          </p14:sldIdLst>
        </p14:section>
        <p14:section name="Bottom 20 promotions CLIENT ONLY Sector" id="{6CDDE13B-DE38-42FF-9997-2A60B7AE7DA9}">
          <p14:sldIdLst>
            <p14:sldId id="2147475265"/>
            <p14:sldId id="2147475266"/>
            <p14:sldId id="2147475267"/>
            <p14:sldId id="2147475268"/>
          </p14:sldIdLst>
        </p14:section>
        <p14:section name="Bottom 20 promotions CLIENT ONLY Segment" id="{4A69CC1C-01EC-4992-A383-F8078519F257}">
          <p14:sldIdLst>
            <p14:sldId id="2147475269"/>
            <p14:sldId id="2147475270"/>
            <p14:sldId id="2147475271"/>
            <p14:sldId id="2147475272"/>
            <p14:sldId id="2147475273"/>
          </p14:sldIdLst>
        </p14:section>
        <p14:section name="Volume Sold on Deal Sector" id="{FA3BA2BC-390E-4631-B0E3-9105007B0CA5}">
          <p14:sldIdLst>
            <p14:sldId id="2147475274"/>
            <p14:sldId id="2147475275"/>
            <p14:sldId id="2147475276"/>
            <p14:sldId id="2147475277"/>
            <p14:sldId id="2147475278"/>
            <p14:sldId id="2147475279"/>
            <p14:sldId id="2147475280"/>
          </p14:sldIdLst>
        </p14:section>
        <p14:section name="Volume Sold on Deal Segment" id="{F8F5428D-887B-46F1-AE43-CB34F8A8E24B}">
          <p14:sldIdLst>
            <p14:sldId id="2147475281"/>
            <p14:sldId id="2147475282"/>
            <p14:sldId id="2147475283"/>
            <p14:sldId id="2147475284"/>
            <p14:sldId id="2147475285"/>
            <p14:sldId id="2147475286"/>
            <p14:sldId id="2147475287"/>
            <p14:sldId id="2147475288"/>
            <p14:sldId id="2147475289"/>
            <p14:sldId id="2147475290"/>
            <p14:sldId id="2147475291"/>
            <p14:sldId id="2147475292"/>
            <p14:sldId id="2147475293"/>
            <p14:sldId id="2147475294"/>
          </p14:sldIdLst>
        </p14:section>
        <p14:section name="Volume Sold on Deal SubSegment" id="{DB516192-8D22-41DA-A26B-4F55E04F6A59}">
          <p14:sldIdLst>
            <p14:sldId id="2147475295"/>
          </p14:sldIdLst>
        </p14:section>
        <p14:section name="Volume Sold on Deal SubCategory" id="{6EDAE60F-4DBC-4100-A45A-240E6AE3DFC6}">
          <p14:sldIdLst>
            <p14:sldId id="2147475296"/>
          </p14:sldIdLst>
        </p14:section>
        <p14:section name="Promo share vs Value Share Category" id="{D84C202D-4083-49AD-B342-CDF3621BC210}">
          <p14:sldIdLst>
            <p14:sldId id="2147475297"/>
            <p14:sldId id="2147475298"/>
          </p14:sldIdLst>
        </p14:section>
        <p14:section name="Promo share vs Value Share Sector" id="{C2E099AA-6A24-45E9-B421-A54376E84FF7}">
          <p14:sldIdLst>
            <p14:sldId id="2147475299"/>
            <p14:sldId id="2147475300"/>
            <p14:sldId id="2147475301"/>
            <p14:sldId id="2147475302"/>
          </p14:sldIdLst>
        </p14:section>
        <p14:section name="Promo share vs Value Share Segment" id="{254DC35A-429C-496C-A13E-11A93C24C13F}">
          <p14:sldIdLst>
            <p14:sldId id="2147475303"/>
            <p14:sldId id="2147475304"/>
            <p14:sldId id="2147475305"/>
            <p14:sldId id="2147475306"/>
            <p14:sldId id="2147475307"/>
            <p14:sldId id="2147475308"/>
          </p14:sldIdLst>
        </p14:section>
        <p14:section name="Promo Frequency learnings Category" id="{3A223A7A-A9E8-440E-99BC-5E9732F834F4}">
          <p14:sldIdLst>
            <p14:sldId id="2147475309"/>
            <p14:sldId id="2147475310"/>
            <p14:sldId id="2147475311"/>
            <p14:sldId id="2147475312"/>
            <p14:sldId id="2147475313"/>
            <p14:sldId id="2147475314"/>
            <p14:sldId id="2147475315"/>
          </p14:sldIdLst>
        </p14:section>
        <p14:section name="Promo Frequency learnings Sector" id="{58077600-E904-4B30-9252-BD2D4CD8B750}">
          <p14:sldIdLst>
            <p14:sldId id="2147475316"/>
            <p14:sldId id="2147475317"/>
            <p14:sldId id="2147475318"/>
            <p14:sldId id="2147475319"/>
            <p14:sldId id="2147475320"/>
            <p14:sldId id="2147475321"/>
            <p14:sldId id="2147475322"/>
            <p14:sldId id="2147475323"/>
            <p14:sldId id="2147475324"/>
            <p14:sldId id="2147475325"/>
            <p14:sldId id="2147475326"/>
          </p14:sldIdLst>
        </p14:section>
        <p14:section name="Promo Frequency learnings Segment" id="{BD7FD7B2-6066-40F2-9C97-D1E8FC92B60C}">
          <p14:sldIdLst>
            <p14:sldId id="2147475327"/>
            <p14:sldId id="2147475328"/>
            <p14:sldId id="2147475329"/>
            <p14:sldId id="2147475330"/>
            <p14:sldId id="2147475331"/>
            <p14:sldId id="2147475332"/>
            <p14:sldId id="2147475333"/>
            <p14:sldId id="2147475334"/>
            <p14:sldId id="2147475335"/>
            <p14:sldId id="2147475336"/>
            <p14:sldId id="2147475337"/>
            <p14:sldId id="2147475338"/>
            <p14:sldId id="2147475339"/>
            <p14:sldId id="2147475340"/>
            <p14:sldId id="2147475341"/>
          </p14:sldIdLst>
        </p14:section>
        <p14:section name="Promo sales per retailer Category" id="{D81A25E3-B735-4279-AB57-B7EC81225090}">
          <p14:sldIdLst>
            <p14:sldId id="2147475342"/>
            <p14:sldId id="2147475343"/>
            <p14:sldId id="2147475344"/>
            <p14:sldId id="2147475345"/>
          </p14:sldIdLst>
        </p14:section>
        <p14:section name="Promo sales per retailer Sector" id="{FCEEC66E-B06A-4440-B408-2FCB7DAF1066}">
          <p14:sldIdLst>
            <p14:sldId id="2147475346"/>
            <p14:sldId id="2147475347"/>
            <p14:sldId id="2147475348"/>
            <p14:sldId id="2147475349"/>
            <p14:sldId id="2147475350"/>
            <p14:sldId id="2147475351"/>
            <p14:sldId id="2147475352"/>
          </p14:sldIdLst>
        </p14:section>
        <p14:section name="Promo sales per retailer Segment" id="{A0780690-57F8-4AA2-B039-FB7FCE4E4BE7}">
          <p14:sldIdLst>
            <p14:sldId id="2147475353"/>
            <p14:sldId id="2147475354"/>
            <p14:sldId id="2147475355"/>
            <p14:sldId id="2147475356"/>
            <p14:sldId id="2147475357"/>
            <p14:sldId id="2147475358"/>
            <p14:sldId id="2147475359"/>
            <p14:sldId id="2147475360"/>
            <p14:sldId id="2147475361"/>
            <p14:sldId id="2147475362"/>
            <p14:sldId id="2147475363"/>
          </p14:sldIdLst>
        </p14:section>
        <p14:section name="Promo sales per retailer SubSegment" id="{26A9A8D4-C1B7-4A68-B7A4-48EB07864CA7}">
          <p14:sldIdLst/>
        </p14:section>
        <p14:section name="Value Uplift vs discount depth Category" id="{6880C8A3-2E77-473E-9DED-74C427E67418}">
          <p14:sldIdLst>
            <p14:sldId id="2147475364"/>
            <p14:sldId id="2147475365"/>
            <p14:sldId id="2147475366"/>
          </p14:sldIdLst>
        </p14:section>
        <p14:section name="Value Uplift vs discount depth Sector" id="{2038620E-E937-4ADC-B953-25A73896401B}">
          <p14:sldIdLst>
            <p14:sldId id="2147475367"/>
            <p14:sldId id="2147475368"/>
            <p14:sldId id="2147475369"/>
            <p14:sldId id="2147475370"/>
            <p14:sldId id="2147475371"/>
          </p14:sldIdLst>
        </p14:section>
        <p14:section name="Value Uplift vs discount depth Segment" id="{0AFC0042-0B1A-4F86-99A5-D180CC6CF2AA}">
          <p14:sldIdLst>
            <p14:sldId id="2147475372"/>
            <p14:sldId id="2147475373"/>
            <p14:sldId id="2147475374"/>
            <p14:sldId id="2147475375"/>
            <p14:sldId id="2147475376"/>
            <p14:sldId id="2147475377"/>
            <p14:sldId id="2147475378"/>
          </p14:sldIdLst>
        </p14:section>
        <p14:section name="Seasonality Index Category" id="{7B0CEBB3-9C58-4DBB-869E-A9535E50B065}">
          <p14:sldIdLst>
            <p14:sldId id="2147475379"/>
            <p14:sldId id="2147475380"/>
          </p14:sldIdLst>
        </p14:section>
        <p14:section name="Seasonality Index Sector" id="{4A878377-CB1E-492C-91A5-941AFAD9D508}">
          <p14:sldIdLst>
            <p14:sldId id="2147475381"/>
            <p14:sldId id="2147475382"/>
          </p14:sldIdLst>
        </p14:section>
        <p14:section name="Seasonality Index Segment" id="{91C5119D-242E-4800-B1E5-DBE9FEE97208}">
          <p14:sldIdLst>
            <p14:sldId id="2147475383"/>
            <p14:sldId id="2147475384"/>
            <p14:sldId id="2147475385"/>
            <p14:sldId id="2147475386"/>
          </p14:sldIdLst>
        </p14:section>
        <p14:section name="Seasonality Index Subsegment" id="{1E69CC09-A036-43CD-9D65-6AB1648EA324}">
          <p14:sldIdLst/>
        </p14:section>
        <p14:section name="Seasonality Index Subcategory" id="{EEEEE614-4736-4B23-BB7A-30C89C798035}">
          <p14:sldIdLst/>
        </p14:section>
        <p14:section name="Promotional Frequency Analysis Category" id="{17756F6A-2EE1-4F68-9B34-49978F949A8C}">
          <p14:sldIdLst>
            <p14:sldId id="2147475387"/>
            <p14:sldId id="2147475388"/>
          </p14:sldIdLst>
        </p14:section>
        <p14:section name="Promotional Frequency Analysis Sector" id="{264F90F6-0745-43B0-B447-E5779FD77106}">
          <p14:sldIdLst>
            <p14:sldId id="2147475389"/>
            <p14:sldId id="2147475390"/>
            <p14:sldId id="2147475391"/>
            <p14:sldId id="2147475392"/>
            <p14:sldId id="2147475393"/>
            <p14:sldId id="2147475394"/>
          </p14:sldIdLst>
        </p14:section>
        <p14:section name="Promotional Frequency Analysis Segment" id="{F8A5D0F5-AB59-4257-B1B7-B444B93B0AB3}">
          <p14:sldIdLst>
            <p14:sldId id="2147475395"/>
            <p14:sldId id="2147475396"/>
            <p14:sldId id="2147475397"/>
            <p14:sldId id="2147475398"/>
            <p14:sldId id="2147475399"/>
            <p14:sldId id="2147475400"/>
            <p14:sldId id="2147475401"/>
            <p14:sldId id="2147475402"/>
          </p14:sldIdLst>
        </p14:section>
        <p14:section name="Promotional Frequency Analysis Subsegment" id="{11B7111D-8D3E-4A22-9F87-E2F27260356F}">
          <p14:sldIdLst/>
        </p14:section>
        <p14:section name="Promotional Frequency Analysis Subcategory" id="{C2F98B30-7169-4A6B-AA28-8F74BDA501CE}">
          <p14:sldIdLst/>
        </p14:section>
        <p14:section name="Promo Evolution no client prio Category" id="{951F4768-0A58-4F39-8910-72269BD640E8}">
          <p14:sldIdLst>
            <p14:sldId id="2147475403"/>
            <p14:sldId id="2147475404"/>
          </p14:sldIdLst>
        </p14:section>
        <p14:section name="Promo Evolution no client prio Sector" id="{154ABF6F-BE4B-444E-A61E-57E617E15CCF}">
          <p14:sldIdLst>
            <p14:sldId id="2147475405"/>
            <p14:sldId id="2147475406"/>
            <p14:sldId id="2147475407"/>
            <p14:sldId id="2147475408"/>
          </p14:sldIdLst>
        </p14:section>
        <p14:section name="Promo Evolution no client prio Segment" id="{A974F67D-57E3-491C-8B00-5910C0D8DFCE}">
          <p14:sldIdLst>
            <p14:sldId id="2147475409"/>
            <p14:sldId id="2147475410"/>
            <p14:sldId id="2147475411"/>
            <p14:sldId id="2147475412"/>
            <p14:sldId id="2147475413"/>
            <p14:sldId id="2147475414"/>
          </p14:sldIdLst>
        </p14:section>
        <p14:section name="VSOD Summary by Sector no client prio Sector" id="{6889D542-882A-48C3-BEEC-A1C64A191E61}">
          <p14:sldIdLst>
            <p14:sldId id="2147475415"/>
            <p14:sldId id="2147475416"/>
          </p14:sldIdLst>
        </p14:section>
        <p14:section name="VSOD Summary by Sector no client prio Segment" id="{15187BC6-1241-4CA4-8C39-0F24C941B59F}">
          <p14:sldIdLst>
            <p14:sldId id="2147475417"/>
            <p14:sldId id="2147475418"/>
          </p14:sldIdLst>
        </p14:section>
        <p14:section name="Value uplift by retailer by brand no client prio Category" id="{2754D381-E500-4CB4-BD83-64E78368695B}">
          <p14:sldIdLst>
            <p14:sldId id="2147475419"/>
          </p14:sldIdLst>
        </p14:section>
        <p14:section name="Value uplift by retailer by brand no client prio Sector" id="{69E91EC1-4CDE-487D-B003-404F37949975}">
          <p14:sldIdLst>
            <p14:sldId id="2147475420"/>
            <p14:sldId id="2147475421"/>
          </p14:sldIdLst>
        </p14:section>
        <p14:section name="Value uplift by retailer by brand no client prio Segment" id="{608F475C-275C-4CDB-A633-180EE91A3C93}">
          <p14:sldIdLst>
            <p14:sldId id="2147475422"/>
            <p14:sldId id="2147475423"/>
            <p14:sldId id="2147475424"/>
          </p14:sldIdLst>
        </p14:section>
        <p14:section name="Promo share vs Value Share no client prio Category" id="{AABE964C-BB6F-4D27-8D61-93A581F8592C}">
          <p14:sldIdLst>
            <p14:sldId id="2147475425"/>
            <p14:sldId id="2147475426"/>
          </p14:sldIdLst>
        </p14:section>
        <p14:section name="Promo share vs Value Share no client prio Sector" id="{2F33F0B1-DF66-4B2A-98FC-278DB0DF9FA5}">
          <p14:sldIdLst>
            <p14:sldId id="2147475427"/>
            <p14:sldId id="2147475428"/>
            <p14:sldId id="2147475429"/>
            <p14:sldId id="2147475430"/>
          </p14:sldIdLst>
        </p14:section>
        <p14:section name="Promo share vs Value Share no client prio Segment" id="{381EBF23-0254-47AB-B9AB-0D4E866E1DDD}">
          <p14:sldIdLst>
            <p14:sldId id="2147475431"/>
            <p14:sldId id="2147475432"/>
            <p14:sldId id="2147475433"/>
            <p14:sldId id="2147475434"/>
            <p14:sldId id="2147475435"/>
            <p14:sldId id="2147475436"/>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219F46E-3B23-D09F-47AD-C779851D2CA1}" name="Sophie  ZIMMERMANN" initials="SZ" userId="S::zimmermann.s@pricing.one::a3ccab47-c860-43ce-9c7d-ef7907b0df29" providerId="AD"/>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BC2B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EC2644B-FBB3-4E70-8177-D39ED5E85D5B}" v="17" dt="2024-11-01T09:06:09.73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660"/>
  </p:normalViewPr>
  <p:slideViewPr>
    <p:cSldViewPr snapToGrid="0" showGuides="1">
      <p:cViewPr varScale="1">
        <p:scale>
          <a:sx n="91" d="100"/>
          <a:sy n="91" d="100"/>
        </p:scale>
        <p:origin x="810" y="66"/>
      </p:cViewPr>
      <p:guideLst>
        <p:guide orient="horz" pos="940"/>
        <p:guide pos="2880"/>
        <p:guide orient="horz" pos="172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63" Type="http://schemas.openxmlformats.org/officeDocument/2006/relationships/slide" Target="slides/slide59.xml"/><Relationship Id="rId84" Type="http://schemas.openxmlformats.org/officeDocument/2006/relationships/slide" Target="slides/slide80.xml"/><Relationship Id="rId138" Type="http://schemas.openxmlformats.org/officeDocument/2006/relationships/slide" Target="slides/slide134.xml"/><Relationship Id="rId159" Type="http://schemas.openxmlformats.org/officeDocument/2006/relationships/slide" Target="slides/slide155.xml"/><Relationship Id="rId170" Type="http://schemas.openxmlformats.org/officeDocument/2006/relationships/slide" Target="slides/slide166.xml"/><Relationship Id="rId191" Type="http://schemas.openxmlformats.org/officeDocument/2006/relationships/slide" Target="slides/slide187.xml"/><Relationship Id="rId205" Type="http://schemas.openxmlformats.org/officeDocument/2006/relationships/slide" Target="slides/slide201.xml"/><Relationship Id="rId226" Type="http://schemas.openxmlformats.org/officeDocument/2006/relationships/slide" Target="slides/slide222.xml"/><Relationship Id="rId247" Type="http://schemas.openxmlformats.org/officeDocument/2006/relationships/slide" Target="slides/slide243.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53" Type="http://schemas.openxmlformats.org/officeDocument/2006/relationships/slide" Target="slides/slide49.xml"/><Relationship Id="rId74" Type="http://schemas.openxmlformats.org/officeDocument/2006/relationships/slide" Target="slides/slide70.xml"/><Relationship Id="rId128" Type="http://schemas.openxmlformats.org/officeDocument/2006/relationships/slide" Target="slides/slide124.xml"/><Relationship Id="rId149" Type="http://schemas.openxmlformats.org/officeDocument/2006/relationships/slide" Target="slides/slide145.xml"/><Relationship Id="rId5" Type="http://schemas.openxmlformats.org/officeDocument/2006/relationships/slide" Target="slides/slide1.xml"/><Relationship Id="rId95" Type="http://schemas.openxmlformats.org/officeDocument/2006/relationships/slide" Target="slides/slide91.xml"/><Relationship Id="rId160" Type="http://schemas.openxmlformats.org/officeDocument/2006/relationships/slide" Target="slides/slide156.xml"/><Relationship Id="rId181" Type="http://schemas.openxmlformats.org/officeDocument/2006/relationships/slide" Target="slides/slide177.xml"/><Relationship Id="rId216" Type="http://schemas.openxmlformats.org/officeDocument/2006/relationships/slide" Target="slides/slide212.xml"/><Relationship Id="rId237" Type="http://schemas.openxmlformats.org/officeDocument/2006/relationships/slide" Target="slides/slide233.xml"/><Relationship Id="rId22" Type="http://schemas.openxmlformats.org/officeDocument/2006/relationships/slide" Target="slides/slide18.xml"/><Relationship Id="rId43" Type="http://schemas.openxmlformats.org/officeDocument/2006/relationships/slide" Target="slides/slide39.xml"/><Relationship Id="rId64" Type="http://schemas.openxmlformats.org/officeDocument/2006/relationships/slide" Target="slides/slide60.xml"/><Relationship Id="rId118" Type="http://schemas.openxmlformats.org/officeDocument/2006/relationships/slide" Target="slides/slide114.xml"/><Relationship Id="rId139" Type="http://schemas.openxmlformats.org/officeDocument/2006/relationships/slide" Target="slides/slide135.xml"/><Relationship Id="rId85" Type="http://schemas.openxmlformats.org/officeDocument/2006/relationships/slide" Target="slides/slide81.xml"/><Relationship Id="rId150" Type="http://schemas.openxmlformats.org/officeDocument/2006/relationships/slide" Target="slides/slide146.xml"/><Relationship Id="rId171" Type="http://schemas.openxmlformats.org/officeDocument/2006/relationships/slide" Target="slides/slide167.xml"/><Relationship Id="rId192" Type="http://schemas.openxmlformats.org/officeDocument/2006/relationships/slide" Target="slides/slide188.xml"/><Relationship Id="rId206" Type="http://schemas.openxmlformats.org/officeDocument/2006/relationships/slide" Target="slides/slide202.xml"/><Relationship Id="rId227" Type="http://schemas.openxmlformats.org/officeDocument/2006/relationships/slide" Target="slides/slide223.xml"/><Relationship Id="rId248" Type="http://schemas.openxmlformats.org/officeDocument/2006/relationships/notesMaster" Target="notesMasters/notesMaster1.xml"/><Relationship Id="rId12" Type="http://schemas.openxmlformats.org/officeDocument/2006/relationships/slide" Target="slides/slide8.xml"/><Relationship Id="rId33" Type="http://schemas.openxmlformats.org/officeDocument/2006/relationships/slide" Target="slides/slide29.xml"/><Relationship Id="rId108" Type="http://schemas.openxmlformats.org/officeDocument/2006/relationships/slide" Target="slides/slide104.xml"/><Relationship Id="rId129" Type="http://schemas.openxmlformats.org/officeDocument/2006/relationships/slide" Target="slides/slide125.xml"/><Relationship Id="rId54" Type="http://schemas.openxmlformats.org/officeDocument/2006/relationships/slide" Target="slides/slide50.xml"/><Relationship Id="rId75" Type="http://schemas.openxmlformats.org/officeDocument/2006/relationships/slide" Target="slides/slide71.xml"/><Relationship Id="rId96" Type="http://schemas.openxmlformats.org/officeDocument/2006/relationships/slide" Target="slides/slide92.xml"/><Relationship Id="rId140" Type="http://schemas.openxmlformats.org/officeDocument/2006/relationships/slide" Target="slides/slide136.xml"/><Relationship Id="rId161" Type="http://schemas.openxmlformats.org/officeDocument/2006/relationships/slide" Target="slides/slide157.xml"/><Relationship Id="rId182" Type="http://schemas.openxmlformats.org/officeDocument/2006/relationships/slide" Target="slides/slide178.xml"/><Relationship Id="rId217" Type="http://schemas.openxmlformats.org/officeDocument/2006/relationships/slide" Target="slides/slide213.xml"/><Relationship Id="rId6" Type="http://schemas.openxmlformats.org/officeDocument/2006/relationships/slide" Target="slides/slide2.xml"/><Relationship Id="rId238" Type="http://schemas.openxmlformats.org/officeDocument/2006/relationships/slide" Target="slides/slide234.xml"/><Relationship Id="rId23" Type="http://schemas.openxmlformats.org/officeDocument/2006/relationships/slide" Target="slides/slide19.xml"/><Relationship Id="rId119" Type="http://schemas.openxmlformats.org/officeDocument/2006/relationships/slide" Target="slides/slide115.xml"/><Relationship Id="rId44" Type="http://schemas.openxmlformats.org/officeDocument/2006/relationships/slide" Target="slides/slide40.xml"/><Relationship Id="rId65" Type="http://schemas.openxmlformats.org/officeDocument/2006/relationships/slide" Target="slides/slide61.xml"/><Relationship Id="rId86" Type="http://schemas.openxmlformats.org/officeDocument/2006/relationships/slide" Target="slides/slide82.xml"/><Relationship Id="rId130" Type="http://schemas.openxmlformats.org/officeDocument/2006/relationships/slide" Target="slides/slide126.xml"/><Relationship Id="rId151" Type="http://schemas.openxmlformats.org/officeDocument/2006/relationships/slide" Target="slides/slide147.xml"/><Relationship Id="rId172" Type="http://schemas.openxmlformats.org/officeDocument/2006/relationships/slide" Target="slides/slide168.xml"/><Relationship Id="rId193" Type="http://schemas.openxmlformats.org/officeDocument/2006/relationships/slide" Target="slides/slide189.xml"/><Relationship Id="rId207" Type="http://schemas.openxmlformats.org/officeDocument/2006/relationships/slide" Target="slides/slide203.xml"/><Relationship Id="rId228" Type="http://schemas.openxmlformats.org/officeDocument/2006/relationships/slide" Target="slides/slide224.xml"/><Relationship Id="rId249" Type="http://schemas.openxmlformats.org/officeDocument/2006/relationships/presProps" Target="presProps.xml"/><Relationship Id="rId13" Type="http://schemas.openxmlformats.org/officeDocument/2006/relationships/slide" Target="slides/slide9.xml"/><Relationship Id="rId109" Type="http://schemas.openxmlformats.org/officeDocument/2006/relationships/slide" Target="slides/slide105.xml"/><Relationship Id="rId34" Type="http://schemas.openxmlformats.org/officeDocument/2006/relationships/slide" Target="slides/slide30.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20" Type="http://schemas.openxmlformats.org/officeDocument/2006/relationships/slide" Target="slides/slide116.xml"/><Relationship Id="rId141" Type="http://schemas.openxmlformats.org/officeDocument/2006/relationships/slide" Target="slides/slide137.xml"/><Relationship Id="rId7" Type="http://schemas.openxmlformats.org/officeDocument/2006/relationships/slide" Target="slides/slide3.xml"/><Relationship Id="rId162" Type="http://schemas.openxmlformats.org/officeDocument/2006/relationships/slide" Target="slides/slide158.xml"/><Relationship Id="rId183" Type="http://schemas.openxmlformats.org/officeDocument/2006/relationships/slide" Target="slides/slide179.xml"/><Relationship Id="rId218" Type="http://schemas.openxmlformats.org/officeDocument/2006/relationships/slide" Target="slides/slide214.xml"/><Relationship Id="rId239" Type="http://schemas.openxmlformats.org/officeDocument/2006/relationships/slide" Target="slides/slide235.xml"/><Relationship Id="rId250" Type="http://schemas.openxmlformats.org/officeDocument/2006/relationships/viewProps" Target="viewProps.xml"/><Relationship Id="rId24" Type="http://schemas.openxmlformats.org/officeDocument/2006/relationships/slide" Target="slides/slide20.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31" Type="http://schemas.openxmlformats.org/officeDocument/2006/relationships/slide" Target="slides/slide127.xml"/><Relationship Id="rId152" Type="http://schemas.openxmlformats.org/officeDocument/2006/relationships/slide" Target="slides/slide148.xml"/><Relationship Id="rId173" Type="http://schemas.openxmlformats.org/officeDocument/2006/relationships/slide" Target="slides/slide169.xml"/><Relationship Id="rId194" Type="http://schemas.openxmlformats.org/officeDocument/2006/relationships/slide" Target="slides/slide190.xml"/><Relationship Id="rId208" Type="http://schemas.openxmlformats.org/officeDocument/2006/relationships/slide" Target="slides/slide204.xml"/><Relationship Id="rId229" Type="http://schemas.openxmlformats.org/officeDocument/2006/relationships/slide" Target="slides/slide225.xml"/><Relationship Id="rId240" Type="http://schemas.openxmlformats.org/officeDocument/2006/relationships/slide" Target="slides/slide236.xml"/><Relationship Id="rId14" Type="http://schemas.openxmlformats.org/officeDocument/2006/relationships/slide" Target="slides/slide10.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8" Type="http://schemas.openxmlformats.org/officeDocument/2006/relationships/slide" Target="slides/slide4.xml"/><Relationship Id="rId98" Type="http://schemas.openxmlformats.org/officeDocument/2006/relationships/slide" Target="slides/slide94.xml"/><Relationship Id="rId121" Type="http://schemas.openxmlformats.org/officeDocument/2006/relationships/slide" Target="slides/slide117.xml"/><Relationship Id="rId142" Type="http://schemas.openxmlformats.org/officeDocument/2006/relationships/slide" Target="slides/slide138.xml"/><Relationship Id="rId163" Type="http://schemas.openxmlformats.org/officeDocument/2006/relationships/slide" Target="slides/slide159.xml"/><Relationship Id="rId184" Type="http://schemas.openxmlformats.org/officeDocument/2006/relationships/slide" Target="slides/slide180.xml"/><Relationship Id="rId219" Type="http://schemas.openxmlformats.org/officeDocument/2006/relationships/slide" Target="slides/slide215.xml"/><Relationship Id="rId230" Type="http://schemas.openxmlformats.org/officeDocument/2006/relationships/slide" Target="slides/slide226.xml"/><Relationship Id="rId251" Type="http://schemas.openxmlformats.org/officeDocument/2006/relationships/theme" Target="theme/theme1.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88" Type="http://schemas.openxmlformats.org/officeDocument/2006/relationships/slide" Target="slides/slide84.xml"/><Relationship Id="rId111" Type="http://schemas.openxmlformats.org/officeDocument/2006/relationships/slide" Target="slides/slide107.xml"/><Relationship Id="rId132" Type="http://schemas.openxmlformats.org/officeDocument/2006/relationships/slide" Target="slides/slide128.xml"/><Relationship Id="rId153" Type="http://schemas.openxmlformats.org/officeDocument/2006/relationships/slide" Target="slides/slide149.xml"/><Relationship Id="rId174" Type="http://schemas.openxmlformats.org/officeDocument/2006/relationships/slide" Target="slides/slide170.xml"/><Relationship Id="rId195" Type="http://schemas.openxmlformats.org/officeDocument/2006/relationships/slide" Target="slides/slide191.xml"/><Relationship Id="rId209" Type="http://schemas.openxmlformats.org/officeDocument/2006/relationships/slide" Target="slides/slide205.xml"/><Relationship Id="rId220" Type="http://schemas.openxmlformats.org/officeDocument/2006/relationships/slide" Target="slides/slide216.xml"/><Relationship Id="rId241" Type="http://schemas.openxmlformats.org/officeDocument/2006/relationships/slide" Target="slides/slide237.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78" Type="http://schemas.openxmlformats.org/officeDocument/2006/relationships/slide" Target="slides/slide74.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43" Type="http://schemas.openxmlformats.org/officeDocument/2006/relationships/slide" Target="slides/slide139.xml"/><Relationship Id="rId164" Type="http://schemas.openxmlformats.org/officeDocument/2006/relationships/slide" Target="slides/slide160.xml"/><Relationship Id="rId185" Type="http://schemas.openxmlformats.org/officeDocument/2006/relationships/slide" Target="slides/slide181.xml"/><Relationship Id="rId9" Type="http://schemas.openxmlformats.org/officeDocument/2006/relationships/slide" Target="slides/slide5.xml"/><Relationship Id="rId210" Type="http://schemas.openxmlformats.org/officeDocument/2006/relationships/slide" Target="slides/slide206.xml"/><Relationship Id="rId26" Type="http://schemas.openxmlformats.org/officeDocument/2006/relationships/slide" Target="slides/slide22.xml"/><Relationship Id="rId231" Type="http://schemas.openxmlformats.org/officeDocument/2006/relationships/slide" Target="slides/slide227.xml"/><Relationship Id="rId252" Type="http://schemas.openxmlformats.org/officeDocument/2006/relationships/tableStyles" Target="tableStyles.xml"/><Relationship Id="rId47" Type="http://schemas.openxmlformats.org/officeDocument/2006/relationships/slide" Target="slides/slide43.xml"/><Relationship Id="rId68" Type="http://schemas.openxmlformats.org/officeDocument/2006/relationships/slide" Target="slides/slide64.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slide" Target="slides/slide129.xml"/><Relationship Id="rId154" Type="http://schemas.openxmlformats.org/officeDocument/2006/relationships/slide" Target="slides/slide150.xml"/><Relationship Id="rId175" Type="http://schemas.openxmlformats.org/officeDocument/2006/relationships/slide" Target="slides/slide171.xml"/><Relationship Id="rId196" Type="http://schemas.openxmlformats.org/officeDocument/2006/relationships/slide" Target="slides/slide192.xml"/><Relationship Id="rId200" Type="http://schemas.openxmlformats.org/officeDocument/2006/relationships/slide" Target="slides/slide196.xml"/><Relationship Id="rId16" Type="http://schemas.openxmlformats.org/officeDocument/2006/relationships/slide" Target="slides/slide12.xml"/><Relationship Id="rId221" Type="http://schemas.openxmlformats.org/officeDocument/2006/relationships/slide" Target="slides/slide217.xml"/><Relationship Id="rId242" Type="http://schemas.openxmlformats.org/officeDocument/2006/relationships/slide" Target="slides/slide238.xml"/><Relationship Id="rId37" Type="http://schemas.openxmlformats.org/officeDocument/2006/relationships/slide" Target="slides/slide33.xml"/><Relationship Id="rId58" Type="http://schemas.openxmlformats.org/officeDocument/2006/relationships/slide" Target="slides/slide54.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44" Type="http://schemas.openxmlformats.org/officeDocument/2006/relationships/slide" Target="slides/slide140.xml"/><Relationship Id="rId90" Type="http://schemas.openxmlformats.org/officeDocument/2006/relationships/slide" Target="slides/slide86.xml"/><Relationship Id="rId165" Type="http://schemas.openxmlformats.org/officeDocument/2006/relationships/slide" Target="slides/slide161.xml"/><Relationship Id="rId186" Type="http://schemas.openxmlformats.org/officeDocument/2006/relationships/slide" Target="slides/slide182.xml"/><Relationship Id="rId211" Type="http://schemas.openxmlformats.org/officeDocument/2006/relationships/slide" Target="slides/slide207.xml"/><Relationship Id="rId232" Type="http://schemas.openxmlformats.org/officeDocument/2006/relationships/slide" Target="slides/slide228.xml"/><Relationship Id="rId253" Type="http://schemas.microsoft.com/office/2015/10/relationships/revisionInfo" Target="revisionInfo.xml"/><Relationship Id="rId27" Type="http://schemas.openxmlformats.org/officeDocument/2006/relationships/slide" Target="slides/slide23.xml"/><Relationship Id="rId48" Type="http://schemas.openxmlformats.org/officeDocument/2006/relationships/slide" Target="slides/slide44.xml"/><Relationship Id="rId69" Type="http://schemas.openxmlformats.org/officeDocument/2006/relationships/slide" Target="slides/slide65.xml"/><Relationship Id="rId113" Type="http://schemas.openxmlformats.org/officeDocument/2006/relationships/slide" Target="slides/slide109.xml"/><Relationship Id="rId134" Type="http://schemas.openxmlformats.org/officeDocument/2006/relationships/slide" Target="slides/slide130.xml"/><Relationship Id="rId80" Type="http://schemas.openxmlformats.org/officeDocument/2006/relationships/slide" Target="slides/slide76.xml"/><Relationship Id="rId155" Type="http://schemas.openxmlformats.org/officeDocument/2006/relationships/slide" Target="slides/slide151.xml"/><Relationship Id="rId176" Type="http://schemas.openxmlformats.org/officeDocument/2006/relationships/slide" Target="slides/slide172.xml"/><Relationship Id="rId197" Type="http://schemas.openxmlformats.org/officeDocument/2006/relationships/slide" Target="slides/slide193.xml"/><Relationship Id="rId201" Type="http://schemas.openxmlformats.org/officeDocument/2006/relationships/slide" Target="slides/slide197.xml"/><Relationship Id="rId222" Type="http://schemas.openxmlformats.org/officeDocument/2006/relationships/slide" Target="slides/slide218.xml"/><Relationship Id="rId243" Type="http://schemas.openxmlformats.org/officeDocument/2006/relationships/slide" Target="slides/slide239.xml"/><Relationship Id="rId17" Type="http://schemas.openxmlformats.org/officeDocument/2006/relationships/slide" Target="slides/slide13.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24" Type="http://schemas.openxmlformats.org/officeDocument/2006/relationships/slide" Target="slides/slide120.xml"/><Relationship Id="rId70" Type="http://schemas.openxmlformats.org/officeDocument/2006/relationships/slide" Target="slides/slide66.xml"/><Relationship Id="rId91" Type="http://schemas.openxmlformats.org/officeDocument/2006/relationships/slide" Target="slides/slide87.xml"/><Relationship Id="rId145" Type="http://schemas.openxmlformats.org/officeDocument/2006/relationships/slide" Target="slides/slide141.xml"/><Relationship Id="rId166" Type="http://schemas.openxmlformats.org/officeDocument/2006/relationships/slide" Target="slides/slide162.xml"/><Relationship Id="rId187" Type="http://schemas.openxmlformats.org/officeDocument/2006/relationships/slide" Target="slides/slide183.xml"/><Relationship Id="rId1" Type="http://schemas.openxmlformats.org/officeDocument/2006/relationships/customXml" Target="../customXml/item1.xml"/><Relationship Id="rId212" Type="http://schemas.openxmlformats.org/officeDocument/2006/relationships/slide" Target="slides/slide208.xml"/><Relationship Id="rId233" Type="http://schemas.openxmlformats.org/officeDocument/2006/relationships/slide" Target="slides/slide229.xml"/><Relationship Id="rId254" Type="http://schemas.microsoft.com/office/2018/10/relationships/authors" Target="authors.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60" Type="http://schemas.openxmlformats.org/officeDocument/2006/relationships/slide" Target="slides/slide56.xml"/><Relationship Id="rId81" Type="http://schemas.openxmlformats.org/officeDocument/2006/relationships/slide" Target="slides/slide77.xml"/><Relationship Id="rId135" Type="http://schemas.openxmlformats.org/officeDocument/2006/relationships/slide" Target="slides/slide131.xml"/><Relationship Id="rId156" Type="http://schemas.openxmlformats.org/officeDocument/2006/relationships/slide" Target="slides/slide152.xml"/><Relationship Id="rId177" Type="http://schemas.openxmlformats.org/officeDocument/2006/relationships/slide" Target="slides/slide173.xml"/><Relationship Id="rId198" Type="http://schemas.openxmlformats.org/officeDocument/2006/relationships/slide" Target="slides/slide194.xml"/><Relationship Id="rId202" Type="http://schemas.openxmlformats.org/officeDocument/2006/relationships/slide" Target="slides/slide198.xml"/><Relationship Id="rId223" Type="http://schemas.openxmlformats.org/officeDocument/2006/relationships/slide" Target="slides/slide219.xml"/><Relationship Id="rId244" Type="http://schemas.openxmlformats.org/officeDocument/2006/relationships/slide" Target="slides/slide240.xml"/><Relationship Id="rId18" Type="http://schemas.openxmlformats.org/officeDocument/2006/relationships/slide" Target="slides/slide14.xml"/><Relationship Id="rId39" Type="http://schemas.openxmlformats.org/officeDocument/2006/relationships/slide" Target="slides/slide35.xml"/><Relationship Id="rId50" Type="http://schemas.openxmlformats.org/officeDocument/2006/relationships/slide" Target="slides/slide46.xml"/><Relationship Id="rId104" Type="http://schemas.openxmlformats.org/officeDocument/2006/relationships/slide" Target="slides/slide100.xml"/><Relationship Id="rId125" Type="http://schemas.openxmlformats.org/officeDocument/2006/relationships/slide" Target="slides/slide121.xml"/><Relationship Id="rId146" Type="http://schemas.openxmlformats.org/officeDocument/2006/relationships/slide" Target="slides/slide142.xml"/><Relationship Id="rId167" Type="http://schemas.openxmlformats.org/officeDocument/2006/relationships/slide" Target="slides/slide163.xml"/><Relationship Id="rId188" Type="http://schemas.openxmlformats.org/officeDocument/2006/relationships/slide" Target="slides/slide184.xml"/><Relationship Id="rId71" Type="http://schemas.openxmlformats.org/officeDocument/2006/relationships/slide" Target="slides/slide67.xml"/><Relationship Id="rId92" Type="http://schemas.openxmlformats.org/officeDocument/2006/relationships/slide" Target="slides/slide88.xml"/><Relationship Id="rId213" Type="http://schemas.openxmlformats.org/officeDocument/2006/relationships/slide" Target="slides/slide209.xml"/><Relationship Id="rId234" Type="http://schemas.openxmlformats.org/officeDocument/2006/relationships/slide" Target="slides/slide230.xml"/><Relationship Id="rId2" Type="http://schemas.openxmlformats.org/officeDocument/2006/relationships/customXml" Target="../customXml/item2.xml"/><Relationship Id="rId29" Type="http://schemas.openxmlformats.org/officeDocument/2006/relationships/slide" Target="slides/slide25.xml"/><Relationship Id="rId40" Type="http://schemas.openxmlformats.org/officeDocument/2006/relationships/slide" Target="slides/slide36.xml"/><Relationship Id="rId115" Type="http://schemas.openxmlformats.org/officeDocument/2006/relationships/slide" Target="slides/slide111.xml"/><Relationship Id="rId136" Type="http://schemas.openxmlformats.org/officeDocument/2006/relationships/slide" Target="slides/slide132.xml"/><Relationship Id="rId157" Type="http://schemas.openxmlformats.org/officeDocument/2006/relationships/slide" Target="slides/slide153.xml"/><Relationship Id="rId178" Type="http://schemas.openxmlformats.org/officeDocument/2006/relationships/slide" Target="slides/slide174.xml"/><Relationship Id="rId61" Type="http://schemas.openxmlformats.org/officeDocument/2006/relationships/slide" Target="slides/slide57.xml"/><Relationship Id="rId82" Type="http://schemas.openxmlformats.org/officeDocument/2006/relationships/slide" Target="slides/slide78.xml"/><Relationship Id="rId199" Type="http://schemas.openxmlformats.org/officeDocument/2006/relationships/slide" Target="slides/slide195.xml"/><Relationship Id="rId203" Type="http://schemas.openxmlformats.org/officeDocument/2006/relationships/slide" Target="slides/slide199.xml"/><Relationship Id="rId19" Type="http://schemas.openxmlformats.org/officeDocument/2006/relationships/slide" Target="slides/slide15.xml"/><Relationship Id="rId224" Type="http://schemas.openxmlformats.org/officeDocument/2006/relationships/slide" Target="slides/slide220.xml"/><Relationship Id="rId245" Type="http://schemas.openxmlformats.org/officeDocument/2006/relationships/slide" Target="slides/slide241.xml"/><Relationship Id="rId30" Type="http://schemas.openxmlformats.org/officeDocument/2006/relationships/slide" Target="slides/slide26.xml"/><Relationship Id="rId105" Type="http://schemas.openxmlformats.org/officeDocument/2006/relationships/slide" Target="slides/slide101.xml"/><Relationship Id="rId126" Type="http://schemas.openxmlformats.org/officeDocument/2006/relationships/slide" Target="slides/slide122.xml"/><Relationship Id="rId147" Type="http://schemas.openxmlformats.org/officeDocument/2006/relationships/slide" Target="slides/slide143.xml"/><Relationship Id="rId168" Type="http://schemas.openxmlformats.org/officeDocument/2006/relationships/slide" Target="slides/slide16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189" Type="http://schemas.openxmlformats.org/officeDocument/2006/relationships/slide" Target="slides/slide185.xml"/><Relationship Id="rId3" Type="http://schemas.openxmlformats.org/officeDocument/2006/relationships/customXml" Target="../customXml/item3.xml"/><Relationship Id="rId214" Type="http://schemas.openxmlformats.org/officeDocument/2006/relationships/slide" Target="slides/slide210.xml"/><Relationship Id="rId235" Type="http://schemas.openxmlformats.org/officeDocument/2006/relationships/slide" Target="slides/slide231.xml"/><Relationship Id="rId116" Type="http://schemas.openxmlformats.org/officeDocument/2006/relationships/slide" Target="slides/slide112.xml"/><Relationship Id="rId137" Type="http://schemas.openxmlformats.org/officeDocument/2006/relationships/slide" Target="slides/slide133.xml"/><Relationship Id="rId158" Type="http://schemas.openxmlformats.org/officeDocument/2006/relationships/slide" Target="slides/slide154.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179" Type="http://schemas.openxmlformats.org/officeDocument/2006/relationships/slide" Target="slides/slide175.xml"/><Relationship Id="rId190" Type="http://schemas.openxmlformats.org/officeDocument/2006/relationships/slide" Target="slides/slide186.xml"/><Relationship Id="rId204" Type="http://schemas.openxmlformats.org/officeDocument/2006/relationships/slide" Target="slides/slide200.xml"/><Relationship Id="rId225" Type="http://schemas.openxmlformats.org/officeDocument/2006/relationships/slide" Target="slides/slide221.xml"/><Relationship Id="rId246" Type="http://schemas.openxmlformats.org/officeDocument/2006/relationships/slide" Target="slides/slide242.xml"/><Relationship Id="rId106" Type="http://schemas.openxmlformats.org/officeDocument/2006/relationships/slide" Target="slides/slide102.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94" Type="http://schemas.openxmlformats.org/officeDocument/2006/relationships/slide" Target="slides/slide90.xml"/><Relationship Id="rId148" Type="http://schemas.openxmlformats.org/officeDocument/2006/relationships/slide" Target="slides/slide144.xml"/><Relationship Id="rId169" Type="http://schemas.openxmlformats.org/officeDocument/2006/relationships/slide" Target="slides/slide165.xml"/><Relationship Id="rId4" Type="http://schemas.openxmlformats.org/officeDocument/2006/relationships/slideMaster" Target="slideMasters/slideMaster1.xml"/><Relationship Id="rId180" Type="http://schemas.openxmlformats.org/officeDocument/2006/relationships/slide" Target="slides/slide176.xml"/><Relationship Id="rId215" Type="http://schemas.openxmlformats.org/officeDocument/2006/relationships/slide" Target="slides/slide211.xml"/><Relationship Id="rId236" Type="http://schemas.openxmlformats.org/officeDocument/2006/relationships/slide" Target="slides/slide232.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3" Type="http://schemas.openxmlformats.org/officeDocument/2006/relationships/package" Target="../embeddings/Microsoft_Excel_Worksheet145.xlsx"/><Relationship Id="rId2" Type="http://schemas.microsoft.com/office/2011/relationships/chartColorStyle" Target="colors19.xml"/><Relationship Id="rId1" Type="http://schemas.microsoft.com/office/2011/relationships/chartStyle" Target="style19.xml"/></Relationships>
</file>

<file path=ppt/charts/_rels/chart147.xml.rels><?xml version="1.0" encoding="UTF-8" standalone="yes"?>
<Relationships xmlns="http://schemas.openxmlformats.org/package/2006/relationships"><Relationship Id="rId3" Type="http://schemas.openxmlformats.org/officeDocument/2006/relationships/package" Target="../embeddings/Microsoft_Excel_Worksheet146.xlsx"/><Relationship Id="rId2" Type="http://schemas.microsoft.com/office/2011/relationships/chartColorStyle" Target="colors20.xml"/><Relationship Id="rId1" Type="http://schemas.microsoft.com/office/2011/relationships/chartStyle" Target="style20.xml"/></Relationships>
</file>

<file path=ppt/charts/_rels/chart148.xml.rels><?xml version="1.0" encoding="UTF-8" standalone="yes"?>
<Relationships xmlns="http://schemas.openxmlformats.org/package/2006/relationships"><Relationship Id="rId3" Type="http://schemas.openxmlformats.org/officeDocument/2006/relationships/package" Target="../embeddings/Microsoft_Excel_Worksheet147.xlsx"/><Relationship Id="rId2" Type="http://schemas.microsoft.com/office/2011/relationships/chartColorStyle" Target="colors21.xml"/><Relationship Id="rId1" Type="http://schemas.microsoft.com/office/2011/relationships/chartStyle" Target="style21.xml"/></Relationships>
</file>

<file path=ppt/charts/_rels/chart149.xml.rels><?xml version="1.0" encoding="UTF-8" standalone="yes"?>
<Relationships xmlns="http://schemas.openxmlformats.org/package/2006/relationships"><Relationship Id="rId3" Type="http://schemas.openxmlformats.org/officeDocument/2006/relationships/package" Target="../embeddings/Microsoft_Excel_Worksheet148.xlsx"/><Relationship Id="rId2" Type="http://schemas.microsoft.com/office/2011/relationships/chartColorStyle" Target="colors22.xml"/><Relationship Id="rId1" Type="http://schemas.microsoft.com/office/2011/relationships/chartStyle" Target="style22.xml"/></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3" Type="http://schemas.openxmlformats.org/officeDocument/2006/relationships/package" Target="../embeddings/Microsoft_Excel_Worksheet150.xlsx"/><Relationship Id="rId2" Type="http://schemas.microsoft.com/office/2011/relationships/chartColorStyle" Target="colors23.xml"/><Relationship Id="rId1" Type="http://schemas.microsoft.com/office/2011/relationships/chartStyle" Target="style23.xml"/></Relationships>
</file>

<file path=ppt/charts/_rels/chart152.xml.rels><?xml version="1.0" encoding="UTF-8" standalone="yes"?>
<Relationships xmlns="http://schemas.openxmlformats.org/package/2006/relationships"><Relationship Id="rId3" Type="http://schemas.openxmlformats.org/officeDocument/2006/relationships/package" Target="../embeddings/Microsoft_Excel_Worksheet151.xlsx"/><Relationship Id="rId2" Type="http://schemas.microsoft.com/office/2011/relationships/chartColorStyle" Target="colors24.xml"/><Relationship Id="rId1" Type="http://schemas.microsoft.com/office/2011/relationships/chartStyle" Target="style24.xml"/></Relationships>
</file>

<file path=ppt/charts/_rels/chart153.xml.rels><?xml version="1.0" encoding="UTF-8" standalone="yes"?>
<Relationships xmlns="http://schemas.openxmlformats.org/package/2006/relationships"><Relationship Id="rId3" Type="http://schemas.openxmlformats.org/officeDocument/2006/relationships/package" Target="../embeddings/Microsoft_Excel_Worksheet152.xlsx"/><Relationship Id="rId2" Type="http://schemas.microsoft.com/office/2011/relationships/chartColorStyle" Target="colors25.xml"/><Relationship Id="rId1" Type="http://schemas.microsoft.com/office/2011/relationships/chartStyle" Target="style25.xml"/></Relationships>
</file>

<file path=ppt/charts/_rels/chart154.xml.rels><?xml version="1.0" encoding="UTF-8" standalone="yes"?>
<Relationships xmlns="http://schemas.openxmlformats.org/package/2006/relationships"><Relationship Id="rId3" Type="http://schemas.openxmlformats.org/officeDocument/2006/relationships/package" Target="../embeddings/Microsoft_Excel_Worksheet153.xlsx"/><Relationship Id="rId2" Type="http://schemas.microsoft.com/office/2011/relationships/chartColorStyle" Target="colors26.xml"/><Relationship Id="rId1" Type="http://schemas.microsoft.com/office/2011/relationships/chartStyle" Target="style26.xml"/></Relationships>
</file>

<file path=ppt/charts/_rels/chart155.xml.rels><?xml version="1.0" encoding="UTF-8" standalone="yes"?>
<Relationships xmlns="http://schemas.openxmlformats.org/package/2006/relationships"><Relationship Id="rId3" Type="http://schemas.openxmlformats.org/officeDocument/2006/relationships/package" Target="../embeddings/Microsoft_Excel_Worksheet154.xlsx"/><Relationship Id="rId2" Type="http://schemas.microsoft.com/office/2011/relationships/chartColorStyle" Target="colors27.xml"/><Relationship Id="rId1" Type="http://schemas.microsoft.com/office/2011/relationships/chartStyle" Target="style27.xml"/></Relationships>
</file>

<file path=ppt/charts/_rels/chart156.xml.rels><?xml version="1.0" encoding="UTF-8" standalone="yes"?>
<Relationships xmlns="http://schemas.openxmlformats.org/package/2006/relationships"><Relationship Id="rId3" Type="http://schemas.openxmlformats.org/officeDocument/2006/relationships/package" Target="../embeddings/Microsoft_Excel_Worksheet155.xlsx"/><Relationship Id="rId2" Type="http://schemas.microsoft.com/office/2011/relationships/chartColorStyle" Target="colors28.xml"/><Relationship Id="rId1" Type="http://schemas.microsoft.com/office/2011/relationships/chartStyle" Target="style28.xml"/></Relationships>
</file>

<file path=ppt/charts/_rels/chart157.xml.rels><?xml version="1.0" encoding="UTF-8" standalone="yes"?>
<Relationships xmlns="http://schemas.openxmlformats.org/package/2006/relationships"><Relationship Id="rId3" Type="http://schemas.openxmlformats.org/officeDocument/2006/relationships/package" Target="../embeddings/Microsoft_Excel_Worksheet156.xlsx"/><Relationship Id="rId2" Type="http://schemas.microsoft.com/office/2011/relationships/chartColorStyle" Target="colors29.xml"/><Relationship Id="rId1" Type="http://schemas.microsoft.com/office/2011/relationships/chartStyle" Target="style29.xml"/></Relationships>
</file>

<file path=ppt/charts/_rels/chart158.xml.rels><?xml version="1.0" encoding="UTF-8" standalone="yes"?>
<Relationships xmlns="http://schemas.openxmlformats.org/package/2006/relationships"><Relationship Id="rId3" Type="http://schemas.openxmlformats.org/officeDocument/2006/relationships/package" Target="../embeddings/Microsoft_Excel_Worksheet157.xlsx"/><Relationship Id="rId2" Type="http://schemas.microsoft.com/office/2011/relationships/chartColorStyle" Target="colors30.xml"/><Relationship Id="rId1" Type="http://schemas.microsoft.com/office/2011/relationships/chartStyle" Target="style30.xml"/></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3" Type="http://schemas.openxmlformats.org/officeDocument/2006/relationships/package" Target="../embeddings/Microsoft_Excel_Worksheet160.xlsx"/><Relationship Id="rId2" Type="http://schemas.microsoft.com/office/2011/relationships/chartColorStyle" Target="colors31.xml"/><Relationship Id="rId1" Type="http://schemas.microsoft.com/office/2011/relationships/chartStyle" Target="style31.xml"/></Relationships>
</file>

<file path=ppt/charts/_rels/chart162.xml.rels><?xml version="1.0" encoding="UTF-8" standalone="yes"?>
<Relationships xmlns="http://schemas.openxmlformats.org/package/2006/relationships"><Relationship Id="rId3" Type="http://schemas.openxmlformats.org/officeDocument/2006/relationships/package" Target="../embeddings/Microsoft_Excel_Worksheet161.xlsx"/><Relationship Id="rId2" Type="http://schemas.microsoft.com/office/2011/relationships/chartColorStyle" Target="colors32.xml"/><Relationship Id="rId1" Type="http://schemas.microsoft.com/office/2011/relationships/chartStyle" Target="style32.xml"/></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3" Type="http://schemas.openxmlformats.org/officeDocument/2006/relationships/package" Target="../embeddings/Microsoft_Excel_Worksheet163.xlsx"/><Relationship Id="rId2" Type="http://schemas.microsoft.com/office/2011/relationships/chartColorStyle" Target="colors33.xml"/><Relationship Id="rId1" Type="http://schemas.microsoft.com/office/2011/relationships/chartStyle" Target="style33.xml"/></Relationships>
</file>

<file path=ppt/charts/_rels/chart165.xml.rels><?xml version="1.0" encoding="UTF-8" standalone="yes"?>
<Relationships xmlns="http://schemas.openxmlformats.org/package/2006/relationships"><Relationship Id="rId3" Type="http://schemas.openxmlformats.org/officeDocument/2006/relationships/package" Target="../embeddings/Microsoft_Excel_Worksheet164.xlsx"/><Relationship Id="rId2" Type="http://schemas.microsoft.com/office/2011/relationships/chartColorStyle" Target="colors34.xml"/><Relationship Id="rId1" Type="http://schemas.microsoft.com/office/2011/relationships/chartStyle" Target="style34.xml"/></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3" Type="http://schemas.openxmlformats.org/officeDocument/2006/relationships/package" Target="../embeddings/Microsoft_Excel_Worksheet166.xlsx"/><Relationship Id="rId2" Type="http://schemas.microsoft.com/office/2011/relationships/chartColorStyle" Target="colors35.xml"/><Relationship Id="rId1" Type="http://schemas.microsoft.com/office/2011/relationships/chartStyle" Target="style35.xml"/></Relationships>
</file>

<file path=ppt/charts/_rels/chart168.xml.rels><?xml version="1.0" encoding="UTF-8" standalone="yes"?>
<Relationships xmlns="http://schemas.openxmlformats.org/package/2006/relationships"><Relationship Id="rId3" Type="http://schemas.openxmlformats.org/officeDocument/2006/relationships/package" Target="../embeddings/Microsoft_Excel_Worksheet167.xlsx"/><Relationship Id="rId2" Type="http://schemas.microsoft.com/office/2011/relationships/chartColorStyle" Target="colors36.xml"/><Relationship Id="rId1" Type="http://schemas.microsoft.com/office/2011/relationships/chartStyle" Target="style36.xml"/></Relationships>
</file>

<file path=ppt/charts/_rels/chart169.xml.rels><?xml version="1.0" encoding="UTF-8" standalone="yes"?>
<Relationships xmlns="http://schemas.openxmlformats.org/package/2006/relationships"><Relationship Id="rId3" Type="http://schemas.openxmlformats.org/officeDocument/2006/relationships/package" Target="../embeddings/Microsoft_Excel_Worksheet168.xlsx"/><Relationship Id="rId2" Type="http://schemas.microsoft.com/office/2011/relationships/chartColorStyle" Target="colors37.xml"/><Relationship Id="rId1" Type="http://schemas.microsoft.com/office/2011/relationships/chartStyle" Target="style37.xml"/></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3" Type="http://schemas.openxmlformats.org/officeDocument/2006/relationships/package" Target="../embeddings/Microsoft_Excel_Worksheet169.xlsx"/><Relationship Id="rId2" Type="http://schemas.microsoft.com/office/2011/relationships/chartColorStyle" Target="colors38.xml"/><Relationship Id="rId1" Type="http://schemas.microsoft.com/office/2011/relationships/chartStyle" Target="style38.xml"/></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3" Type="http://schemas.openxmlformats.org/officeDocument/2006/relationships/package" Target="../embeddings/Microsoft_Excel_Worksheet174.xlsx"/><Relationship Id="rId2" Type="http://schemas.microsoft.com/office/2011/relationships/chartColorStyle" Target="colors39.xml"/><Relationship Id="rId1" Type="http://schemas.microsoft.com/office/2011/relationships/chartStyle" Target="style39.xml"/></Relationships>
</file>

<file path=ppt/charts/_rels/chart176.xml.rels><?xml version="1.0" encoding="UTF-8" standalone="yes"?>
<Relationships xmlns="http://schemas.openxmlformats.org/package/2006/relationships"><Relationship Id="rId3" Type="http://schemas.openxmlformats.org/officeDocument/2006/relationships/package" Target="../embeddings/Microsoft_Excel_Worksheet175.xlsx"/><Relationship Id="rId2" Type="http://schemas.microsoft.com/office/2011/relationships/chartColorStyle" Target="colors40.xml"/><Relationship Id="rId1" Type="http://schemas.microsoft.com/office/2011/relationships/chartStyle" Target="style40.xml"/></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3" Type="http://schemas.openxmlformats.org/officeDocument/2006/relationships/package" Target="../embeddings/Microsoft_Excel_Worksheet178.xlsx"/><Relationship Id="rId2" Type="http://schemas.microsoft.com/office/2011/relationships/chartColorStyle" Target="colors41.xml"/><Relationship Id="rId1" Type="http://schemas.microsoft.com/office/2011/relationships/chartStyle" Target="style41.xml"/></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3" Type="http://schemas.openxmlformats.org/officeDocument/2006/relationships/package" Target="../embeddings/Microsoft_Excel_Worksheet180.xlsx"/><Relationship Id="rId2" Type="http://schemas.microsoft.com/office/2011/relationships/chartColorStyle" Target="colors42.xml"/><Relationship Id="rId1" Type="http://schemas.microsoft.com/office/2011/relationships/chartStyle" Target="style42.xml"/></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3" Type="http://schemas.openxmlformats.org/officeDocument/2006/relationships/package" Target="../embeddings/Microsoft_Excel_Worksheet182.xlsx"/><Relationship Id="rId2" Type="http://schemas.microsoft.com/office/2011/relationships/chartColorStyle" Target="colors43.xml"/><Relationship Id="rId1" Type="http://schemas.microsoft.com/office/2011/relationships/chartStyle" Target="style43.xml"/></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3" Type="http://schemas.openxmlformats.org/officeDocument/2006/relationships/package" Target="../embeddings/Microsoft_Excel_Worksheet184.xlsx"/><Relationship Id="rId2" Type="http://schemas.microsoft.com/office/2011/relationships/chartColorStyle" Target="colors44.xml"/><Relationship Id="rId1" Type="http://schemas.microsoft.com/office/2011/relationships/chartStyle" Target="style44.xml"/></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3" Type="http://schemas.openxmlformats.org/officeDocument/2006/relationships/package" Target="../embeddings/Microsoft_Excel_Worksheet186.xlsx"/><Relationship Id="rId2" Type="http://schemas.microsoft.com/office/2011/relationships/chartColorStyle" Target="colors45.xml"/><Relationship Id="rId1" Type="http://schemas.microsoft.com/office/2011/relationships/chartStyle" Target="style45.xml"/></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3" Type="http://schemas.openxmlformats.org/officeDocument/2006/relationships/package" Target="../embeddings/Microsoft_Excel_Worksheet188.xlsx"/><Relationship Id="rId2" Type="http://schemas.microsoft.com/office/2011/relationships/chartColorStyle" Target="colors46.xml"/><Relationship Id="rId1" Type="http://schemas.microsoft.com/office/2011/relationships/chartStyle" Target="style46.xml"/></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3" Type="http://schemas.openxmlformats.org/officeDocument/2006/relationships/package" Target="../embeddings/Microsoft_Excel_Worksheet190.xlsx"/><Relationship Id="rId2" Type="http://schemas.microsoft.com/office/2011/relationships/chartColorStyle" Target="colors47.xml"/><Relationship Id="rId1" Type="http://schemas.microsoft.com/office/2011/relationships/chartStyle" Target="style47.xml"/></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3" Type="http://schemas.openxmlformats.org/officeDocument/2006/relationships/package" Target="../embeddings/Microsoft_Excel_Worksheet192.xlsx"/><Relationship Id="rId2" Type="http://schemas.microsoft.com/office/2011/relationships/chartColorStyle" Target="colors48.xml"/><Relationship Id="rId1" Type="http://schemas.microsoft.com/office/2011/relationships/chartStyle" Target="style48.xml"/></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3" Type="http://schemas.openxmlformats.org/officeDocument/2006/relationships/package" Target="../embeddings/Microsoft_Excel_Worksheet194.xlsx"/><Relationship Id="rId2" Type="http://schemas.microsoft.com/office/2011/relationships/chartColorStyle" Target="colors49.xml"/><Relationship Id="rId1" Type="http://schemas.microsoft.com/office/2011/relationships/chartStyle" Target="style49.xml"/></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3" Type="http://schemas.openxmlformats.org/officeDocument/2006/relationships/package" Target="../embeddings/Microsoft_Excel_Worksheet196.xlsx"/><Relationship Id="rId2" Type="http://schemas.microsoft.com/office/2011/relationships/chartColorStyle" Target="colors50.xml"/><Relationship Id="rId1" Type="http://schemas.microsoft.com/office/2011/relationships/chartStyle" Target="style50.xml"/></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3" Type="http://schemas.openxmlformats.org/officeDocument/2006/relationships/package" Target="../embeddings/Microsoft_Excel_Worksheet198.xlsx"/><Relationship Id="rId2" Type="http://schemas.microsoft.com/office/2011/relationships/chartColorStyle" Target="colors51.xml"/><Relationship Id="rId1" Type="http://schemas.microsoft.com/office/2011/relationships/chartStyle" Target="style51.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3" Type="http://schemas.openxmlformats.org/officeDocument/2006/relationships/package" Target="../embeddings/Microsoft_Excel_Worksheet200.xlsx"/><Relationship Id="rId2" Type="http://schemas.microsoft.com/office/2011/relationships/chartColorStyle" Target="colors52.xml"/><Relationship Id="rId1" Type="http://schemas.microsoft.com/office/2011/relationships/chartStyle" Target="style52.xml"/></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3" Type="http://schemas.openxmlformats.org/officeDocument/2006/relationships/package" Target="../embeddings/Microsoft_Excel_Worksheet202.xlsx"/><Relationship Id="rId2" Type="http://schemas.microsoft.com/office/2011/relationships/chartColorStyle" Target="colors53.xml"/><Relationship Id="rId1" Type="http://schemas.microsoft.com/office/2011/relationships/chartStyle" Target="style53.xml"/></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3" Type="http://schemas.openxmlformats.org/officeDocument/2006/relationships/package" Target="../embeddings/Microsoft_Excel_Worksheet204.xlsx"/><Relationship Id="rId2" Type="http://schemas.microsoft.com/office/2011/relationships/chartColorStyle" Target="colors54.xml"/><Relationship Id="rId1" Type="http://schemas.microsoft.com/office/2011/relationships/chartStyle" Target="style54.xml"/></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3" Type="http://schemas.openxmlformats.org/officeDocument/2006/relationships/package" Target="../embeddings/Microsoft_Excel_Worksheet206.xlsx"/><Relationship Id="rId2" Type="http://schemas.microsoft.com/office/2011/relationships/chartColorStyle" Target="colors55.xml"/><Relationship Id="rId1" Type="http://schemas.microsoft.com/office/2011/relationships/chartStyle" Target="style55.xml"/></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3" Type="http://schemas.openxmlformats.org/officeDocument/2006/relationships/package" Target="../embeddings/Microsoft_Excel_Worksheet220.xlsx"/><Relationship Id="rId2" Type="http://schemas.microsoft.com/office/2011/relationships/chartColorStyle" Target="colors56.xml"/><Relationship Id="rId1" Type="http://schemas.microsoft.com/office/2011/relationships/chartStyle" Target="style56.xml"/></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3" Type="http://schemas.openxmlformats.org/officeDocument/2006/relationships/package" Target="../embeddings/Microsoft_Excel_Worksheet222.xlsx"/><Relationship Id="rId2" Type="http://schemas.microsoft.com/office/2011/relationships/chartColorStyle" Target="colors57.xml"/><Relationship Id="rId1" Type="http://schemas.microsoft.com/office/2011/relationships/chartStyle" Target="style57.xml"/></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3" Type="http://schemas.openxmlformats.org/officeDocument/2006/relationships/package" Target="../embeddings/Microsoft_Excel_Worksheet224.xlsx"/><Relationship Id="rId2" Type="http://schemas.microsoft.com/office/2011/relationships/chartColorStyle" Target="colors58.xml"/><Relationship Id="rId1" Type="http://schemas.microsoft.com/office/2011/relationships/chartStyle" Target="style58.xml"/></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3" Type="http://schemas.openxmlformats.org/officeDocument/2006/relationships/package" Target="../embeddings/Microsoft_Excel_Worksheet226.xlsx"/><Relationship Id="rId2" Type="http://schemas.microsoft.com/office/2011/relationships/chartColorStyle" Target="colors59.xml"/><Relationship Id="rId1" Type="http://schemas.microsoft.com/office/2011/relationships/chartStyle" Target="style59.xml"/></Relationships>
</file>

<file path=ppt/charts/_rels/chart228.xml.rels><?xml version="1.0" encoding="UTF-8" standalone="yes"?>
<Relationships xmlns="http://schemas.openxmlformats.org/package/2006/relationships"><Relationship Id="rId3" Type="http://schemas.openxmlformats.org/officeDocument/2006/relationships/package" Target="../embeddings/Microsoft_Excel_Worksheet227.xlsx"/><Relationship Id="rId2" Type="http://schemas.microsoft.com/office/2011/relationships/chartColorStyle" Target="colors60.xml"/><Relationship Id="rId1" Type="http://schemas.microsoft.com/office/2011/relationships/chartStyle" Target="style60.xml"/></Relationships>
</file>

<file path=ppt/charts/_rels/chart229.xml.rels><?xml version="1.0" encoding="UTF-8" standalone="yes"?>
<Relationships xmlns="http://schemas.openxmlformats.org/package/2006/relationships"><Relationship Id="rId3" Type="http://schemas.openxmlformats.org/officeDocument/2006/relationships/package" Target="../embeddings/Microsoft_Excel_Worksheet228.xlsx"/><Relationship Id="rId2" Type="http://schemas.microsoft.com/office/2011/relationships/chartColorStyle" Target="colors61.xml"/><Relationship Id="rId1" Type="http://schemas.microsoft.com/office/2011/relationships/chartStyle" Target="style61.xml"/></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3" Type="http://schemas.openxmlformats.org/officeDocument/2006/relationships/package" Target="../embeddings/Microsoft_Excel_Worksheet229.xlsx"/><Relationship Id="rId2" Type="http://schemas.microsoft.com/office/2011/relationships/chartColorStyle" Target="colors62.xml"/><Relationship Id="rId1" Type="http://schemas.microsoft.com/office/2011/relationships/chartStyle" Target="style62.xml"/></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3" Type="http://schemas.openxmlformats.org/officeDocument/2006/relationships/package" Target="../embeddings/Microsoft_Excel_Worksheet231.xlsx"/><Relationship Id="rId2" Type="http://schemas.microsoft.com/office/2011/relationships/chartColorStyle" Target="colors63.xml"/><Relationship Id="rId1" Type="http://schemas.microsoft.com/office/2011/relationships/chartStyle" Target="style63.xml"/></Relationships>
</file>

<file path=ppt/charts/_rels/chart233.xml.rels><?xml version="1.0" encoding="UTF-8" standalone="yes"?>
<Relationships xmlns="http://schemas.openxmlformats.org/package/2006/relationships"><Relationship Id="rId3" Type="http://schemas.openxmlformats.org/officeDocument/2006/relationships/package" Target="../embeddings/Microsoft_Excel_Worksheet232.xlsx"/><Relationship Id="rId2" Type="http://schemas.microsoft.com/office/2011/relationships/chartColorStyle" Target="colors64.xml"/><Relationship Id="rId1" Type="http://schemas.microsoft.com/office/2011/relationships/chartStyle" Target="style64.xml"/></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3" Type="http://schemas.openxmlformats.org/officeDocument/2006/relationships/package" Target="../embeddings/Microsoft_Excel_Worksheet235.xlsx"/><Relationship Id="rId2" Type="http://schemas.microsoft.com/office/2011/relationships/chartColorStyle" Target="colors65.xml"/><Relationship Id="rId1" Type="http://schemas.microsoft.com/office/2011/relationships/chartStyle" Target="style65.xml"/></Relationships>
</file>

<file path=ppt/charts/_rels/chart237.xml.rels><?xml version="1.0" encoding="UTF-8" standalone="yes"?>
<Relationships xmlns="http://schemas.openxmlformats.org/package/2006/relationships"><Relationship Id="rId3" Type="http://schemas.openxmlformats.org/officeDocument/2006/relationships/package" Target="../embeddings/Microsoft_Excel_Worksheet236.xlsx"/><Relationship Id="rId2" Type="http://schemas.microsoft.com/office/2011/relationships/chartColorStyle" Target="colors66.xml"/><Relationship Id="rId1" Type="http://schemas.microsoft.com/office/2011/relationships/chartStyle" Target="style66.xml"/></Relationships>
</file>

<file path=ppt/charts/_rels/chart238.xml.rels><?xml version="1.0" encoding="UTF-8" standalone="yes"?>
<Relationships xmlns="http://schemas.openxmlformats.org/package/2006/relationships"><Relationship Id="rId3" Type="http://schemas.openxmlformats.org/officeDocument/2006/relationships/package" Target="../embeddings/Microsoft_Excel_Worksheet237.xlsx"/><Relationship Id="rId2" Type="http://schemas.microsoft.com/office/2011/relationships/chartColorStyle" Target="colors67.xml"/><Relationship Id="rId1" Type="http://schemas.microsoft.com/office/2011/relationships/chartStyle" Target="style67.xml"/></Relationships>
</file>

<file path=ppt/charts/_rels/chart239.xml.rels><?xml version="1.0" encoding="UTF-8" standalone="yes"?>
<Relationships xmlns="http://schemas.openxmlformats.org/package/2006/relationships"><Relationship Id="rId3" Type="http://schemas.openxmlformats.org/officeDocument/2006/relationships/package" Target="../embeddings/Microsoft_Excel_Worksheet238.xlsx"/><Relationship Id="rId2" Type="http://schemas.microsoft.com/office/2011/relationships/chartColorStyle" Target="colors68.xml"/><Relationship Id="rId1" Type="http://schemas.microsoft.com/office/2011/relationships/chartStyle" Target="style68.xml"/></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3" Type="http://schemas.openxmlformats.org/officeDocument/2006/relationships/package" Target="../embeddings/Microsoft_Excel_Worksheet241.xlsx"/><Relationship Id="rId2" Type="http://schemas.microsoft.com/office/2011/relationships/chartColorStyle" Target="colors69.xml"/><Relationship Id="rId1" Type="http://schemas.microsoft.com/office/2011/relationships/chartStyle" Target="style69.xml"/></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1.xml"/><Relationship Id="rId1" Type="http://schemas.microsoft.com/office/2011/relationships/chartStyle" Target="style1.xml"/></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xml"/><Relationship Id="rId1" Type="http://schemas.microsoft.com/office/2011/relationships/chartStyle" Target="style2.xml"/></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3" Type="http://schemas.openxmlformats.org/officeDocument/2006/relationships/package" Target="../embeddings/Microsoft_Excel_Worksheet266.xlsx"/><Relationship Id="rId2" Type="http://schemas.microsoft.com/office/2011/relationships/chartColorStyle" Target="colors70.xml"/><Relationship Id="rId1" Type="http://schemas.microsoft.com/office/2011/relationships/chartStyle" Target="style70.xml"/></Relationships>
</file>

<file path=ppt/charts/_rels/chart268.xml.rels><?xml version="1.0" encoding="UTF-8" standalone="yes"?>
<Relationships xmlns="http://schemas.openxmlformats.org/package/2006/relationships"><Relationship Id="rId3" Type="http://schemas.openxmlformats.org/officeDocument/2006/relationships/package" Target="../embeddings/Microsoft_Excel_Worksheet267.xlsx"/><Relationship Id="rId2" Type="http://schemas.microsoft.com/office/2011/relationships/chartColorStyle" Target="colors71.xml"/><Relationship Id="rId1" Type="http://schemas.microsoft.com/office/2011/relationships/chartStyle" Target="style71.xml"/></Relationships>
</file>

<file path=ppt/charts/_rels/chart269.xml.rels><?xml version="1.0" encoding="UTF-8" standalone="yes"?>
<Relationships xmlns="http://schemas.openxmlformats.org/package/2006/relationships"><Relationship Id="rId3" Type="http://schemas.openxmlformats.org/officeDocument/2006/relationships/package" Target="../embeddings/Microsoft_Excel_Worksheet268.xlsx"/><Relationship Id="rId2" Type="http://schemas.microsoft.com/office/2011/relationships/chartColorStyle" Target="colors72.xml"/><Relationship Id="rId1" Type="http://schemas.microsoft.com/office/2011/relationships/chartStyle" Target="style72.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3.xml"/><Relationship Id="rId1" Type="http://schemas.microsoft.com/office/2011/relationships/chartStyle" Target="style3.xml"/></Relationships>
</file>

<file path=ppt/charts/_rels/chart270.xml.rels><?xml version="1.0" encoding="UTF-8" standalone="yes"?>
<Relationships xmlns="http://schemas.openxmlformats.org/package/2006/relationships"><Relationship Id="rId3" Type="http://schemas.openxmlformats.org/officeDocument/2006/relationships/package" Target="../embeddings/Microsoft_Excel_Worksheet269.xlsx"/><Relationship Id="rId2" Type="http://schemas.microsoft.com/office/2011/relationships/chartColorStyle" Target="colors73.xml"/><Relationship Id="rId1" Type="http://schemas.microsoft.com/office/2011/relationships/chartStyle" Target="style73.xml"/></Relationships>
</file>

<file path=ppt/charts/_rels/chart271.xml.rels><?xml version="1.0" encoding="UTF-8" standalone="yes"?>
<Relationships xmlns="http://schemas.openxmlformats.org/package/2006/relationships"><Relationship Id="rId3" Type="http://schemas.openxmlformats.org/officeDocument/2006/relationships/package" Target="../embeddings/Microsoft_Excel_Worksheet270.xlsx"/><Relationship Id="rId2" Type="http://schemas.microsoft.com/office/2011/relationships/chartColorStyle" Target="colors74.xml"/><Relationship Id="rId1" Type="http://schemas.microsoft.com/office/2011/relationships/chartStyle" Target="style74.xml"/></Relationships>
</file>

<file path=ppt/charts/_rels/chart272.xml.rels><?xml version="1.0" encoding="UTF-8" standalone="yes"?>
<Relationships xmlns="http://schemas.openxmlformats.org/package/2006/relationships"><Relationship Id="rId3" Type="http://schemas.openxmlformats.org/officeDocument/2006/relationships/package" Target="../embeddings/Microsoft_Excel_Worksheet271.xlsx"/><Relationship Id="rId2" Type="http://schemas.microsoft.com/office/2011/relationships/chartColorStyle" Target="colors75.xml"/><Relationship Id="rId1" Type="http://schemas.microsoft.com/office/2011/relationships/chartStyle" Target="style75.xml"/></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4.xml"/><Relationship Id="rId1" Type="http://schemas.microsoft.com/office/2011/relationships/chartStyle" Target="style4.xml"/></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5.xml"/><Relationship Id="rId1" Type="http://schemas.microsoft.com/office/2011/relationships/chartStyle" Target="style5.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6.xml"/><Relationship Id="rId1" Type="http://schemas.microsoft.com/office/2011/relationships/chartStyle" Target="style6.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7.xml"/><Relationship Id="rId1" Type="http://schemas.microsoft.com/office/2011/relationships/chartStyle" Target="style7.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8.xml"/><Relationship Id="rId1" Type="http://schemas.microsoft.com/office/2011/relationships/chartStyle" Target="style8.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9.xml"/><Relationship Id="rId1" Type="http://schemas.microsoft.com/office/2011/relationships/chartStyle" Target="style9.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10.xml"/><Relationship Id="rId1" Type="http://schemas.microsoft.com/office/2011/relationships/chartStyle" Target="style10.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11.xml"/><Relationship Id="rId1" Type="http://schemas.microsoft.com/office/2011/relationships/chartStyle" Target="style11.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12.xml"/><Relationship Id="rId1" Type="http://schemas.microsoft.com/office/2011/relationships/chartStyle" Target="style12.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13.xml"/><Relationship Id="rId1" Type="http://schemas.microsoft.com/office/2011/relationships/chartStyle" Target="style13.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14.xml"/><Relationship Id="rId1" Type="http://schemas.microsoft.com/office/2011/relationships/chartStyle" Target="style14.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15.xml"/><Relationship Id="rId1" Type="http://schemas.microsoft.com/office/2011/relationships/chartStyle" Target="style15.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16.xml"/><Relationship Id="rId1" Type="http://schemas.microsoft.com/office/2011/relationships/chartStyle" Target="style16.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17.xml"/><Relationship Id="rId1" Type="http://schemas.microsoft.com/office/2011/relationships/chartStyle" Target="style17.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18.xml"/><Relationship Id="rId1" Type="http://schemas.microsoft.com/office/2011/relationships/chartStyle" Target="style18.xml"/></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3-3C16-4125-B97A-D0EBA9D0B1CF}"/>
              </c:ext>
            </c:extLst>
          </c:dPt>
          <c:dPt>
            <c:idx val="1"/>
            <c:invertIfNegative val="0"/>
            <c:bubble3D val="0"/>
            <c:extLst>
              <c:ext xmlns:c16="http://schemas.microsoft.com/office/drawing/2014/chart" uri="{C3380CC4-5D6E-409C-BE32-E72D297353CC}">
                <c16:uniqueId val="{00000001-615A-458F-B49B-C3992C8CBC6B}"/>
              </c:ext>
            </c:extLst>
          </c:dPt>
          <c:dPt>
            <c:idx val="2"/>
            <c:invertIfNegative val="0"/>
            <c:bubble3D val="0"/>
            <c:spPr>
              <a:solidFill>
                <a:srgbClr val="FF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c:v>
                </c:pt>
                <c:pt idx="1">
                  <c:v>Schick</c:v>
                </c:pt>
                <c:pt idx="2">
                  <c:v>Harry's</c:v>
                </c:pt>
              </c:strCache>
            </c:strRef>
          </c:cat>
          <c:val>
            <c:numRef>
              <c:f>Sheet1!$B$2:$B$4</c:f>
              <c:numCache>
                <c:formatCode>General</c:formatCode>
                <c:ptCount val="3"/>
                <c:pt idx="0">
                  <c:v>3.8000000000000034E-2</c:v>
                </c:pt>
                <c:pt idx="1">
                  <c:v>0.38100000000000001</c:v>
                </c:pt>
                <c:pt idx="2">
                  <c:v>-0.48899999999999999</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2-B1F3-4B1C-B6BD-D7555A955EE3}"/>
              </c:ext>
            </c:extLst>
          </c:dPt>
          <c:dPt>
            <c:idx val="1"/>
            <c:invertIfNegative val="0"/>
            <c:bubble3D val="0"/>
            <c:extLst>
              <c:ext xmlns:c16="http://schemas.microsoft.com/office/drawing/2014/chart" uri="{C3380CC4-5D6E-409C-BE32-E72D297353CC}">
                <c16:uniqueId val="{00000000-1D88-4E66-AA3A-770CA96ED1E8}"/>
              </c:ext>
            </c:extLst>
          </c:dPt>
          <c:dPt>
            <c:idx val="2"/>
            <c:invertIfNegative val="0"/>
            <c:bubble3D val="0"/>
            <c:extLst>
              <c:ext xmlns:c16="http://schemas.microsoft.com/office/drawing/2014/chart" uri="{C3380CC4-5D6E-409C-BE32-E72D297353CC}">
                <c16:uniqueId val="{00000003-B1F3-4B1C-B6BD-D7555A955EE3}"/>
              </c:ext>
            </c:extLst>
          </c:dPt>
          <c:dPt>
            <c:idx val="3"/>
            <c:invertIfNegative val="0"/>
            <c:bubble3D val="0"/>
            <c:spPr>
              <a:solidFill>
                <a:srgbClr val="FFBFBF"/>
              </a:solidFill>
            </c:spPr>
            <c:extLst>
              <c:ext xmlns:c16="http://schemas.microsoft.com/office/drawing/2014/chart" uri="{C3380CC4-5D6E-409C-BE32-E72D297353CC}">
                <c16:uniqueId val="{00000001-1D88-4E66-AA3A-770CA96ED1E8}"/>
              </c:ext>
            </c:extLst>
          </c:dPt>
          <c:dPt>
            <c:idx val="4"/>
            <c:invertIfNegative val="0"/>
            <c:bubble3D val="0"/>
            <c:extLst>
              <c:ext xmlns:c16="http://schemas.microsoft.com/office/drawing/2014/chart" uri="{C3380CC4-5D6E-409C-BE32-E72D297353CC}">
                <c16:uniqueId val="{00000004-B1F3-4B1C-B6BD-D7555A955EE3}"/>
              </c:ext>
            </c:extLst>
          </c:dPt>
          <c:dPt>
            <c:idx val="5"/>
            <c:invertIfNegative val="0"/>
            <c:bubble3D val="0"/>
            <c:spPr>
              <a:solidFill>
                <a:srgbClr val="FF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dLbl>
              <c:idx val="4"/>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B1F3-4B1C-B6BD-D7555A955EE3}"/>
                </c:ext>
              </c:extLst>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c:v>
                </c:pt>
                <c:pt idx="1">
                  <c:v>Schick</c:v>
                </c:pt>
                <c:pt idx="2">
                  <c:v>Bic</c:v>
                </c:pt>
                <c:pt idx="3">
                  <c:v>Dollar Shave Club</c:v>
                </c:pt>
                <c:pt idx="4">
                  <c:v>Comfort 3</c:v>
                </c:pt>
                <c:pt idx="5">
                  <c:v>Equate</c:v>
                </c:pt>
              </c:strCache>
            </c:strRef>
          </c:cat>
          <c:val>
            <c:numRef>
              <c:f>Sheet1!$B$2:$B$7</c:f>
              <c:numCache>
                <c:formatCode>General</c:formatCode>
                <c:ptCount val="6"/>
                <c:pt idx="0">
                  <c:v>2.908856202382113</c:v>
                </c:pt>
                <c:pt idx="1">
                  <c:v>7.0937213362147808</c:v>
                </c:pt>
                <c:pt idx="2">
                  <c:v>1.0176006173480499</c:v>
                </c:pt>
                <c:pt idx="3">
                  <c:v>-0.56487203090736471</c:v>
                </c:pt>
                <c:pt idx="4">
                  <c:v>0</c:v>
                </c:pt>
                <c:pt idx="5">
                  <c:v>-0.85207333376905714</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3-E36D-45CD-A288-8E90CF32B35D}"/>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Harry's</c:v>
                </c:pt>
              </c:strCache>
            </c:strRef>
          </c:cat>
          <c:val>
            <c:numRef>
              <c:f>Sheet1!$B$2:$B$4</c:f>
              <c:numCache>
                <c:formatCode>General</c:formatCode>
                <c:ptCount val="3"/>
                <c:pt idx="0">
                  <c:v>0.87832491684954983</c:v>
                </c:pt>
                <c:pt idx="1">
                  <c:v>9.7413913940889302E-2</c:v>
                </c:pt>
                <c:pt idx="2">
                  <c:v>1.674083389820883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Harry's</c:v>
                </c:pt>
              </c:strCache>
            </c:strRef>
          </c:cat>
          <c:val>
            <c:numRef>
              <c:f>Sheet1!$C$2:$C$4</c:f>
              <c:numCache>
                <c:formatCode>General</c:formatCode>
                <c:ptCount val="3"/>
                <c:pt idx="0">
                  <c:v>0.88200018478198738</c:v>
                </c:pt>
                <c:pt idx="1">
                  <c:v>9.7983218686598719E-2</c:v>
                </c:pt>
                <c:pt idx="2">
                  <c:v>1.3986579863426806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Harry's</c:v>
                </c:pt>
              </c:strCache>
            </c:strRef>
          </c:cat>
          <c:val>
            <c:numRef>
              <c:f>Sheet1!$D$2:$D$4</c:f>
              <c:numCache>
                <c:formatCode>General</c:formatCode>
                <c:ptCount val="3"/>
                <c:pt idx="0">
                  <c:v>0.55000000000000004</c:v>
                </c:pt>
                <c:pt idx="1">
                  <c:v>0.57999999999999996</c:v>
                </c:pt>
                <c:pt idx="2">
                  <c:v>0.48</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Bic</c:v>
                </c:pt>
                <c:pt idx="3">
                  <c:v>Equate</c:v>
                </c:pt>
                <c:pt idx="4">
                  <c:v>Schick</c:v>
                </c:pt>
                <c:pt idx="5">
                  <c:v>Dollar Shave Club</c:v>
                </c:pt>
                <c:pt idx="6">
                  <c:v>Van Der Hagen</c:v>
                </c:pt>
                <c:pt idx="7">
                  <c:v>Comfort 3</c:v>
                </c:pt>
              </c:strCache>
            </c:strRef>
          </c:cat>
          <c:val>
            <c:numRef>
              <c:f>Sheet1!$B$2:$B$9</c:f>
              <c:numCache>
                <c:formatCode>General</c:formatCode>
                <c:ptCount val="8"/>
                <c:pt idx="0">
                  <c:v>0.56483715371964871</c:v>
                </c:pt>
                <c:pt idx="1">
                  <c:v>0.1416278236977879</c:v>
                </c:pt>
                <c:pt idx="2">
                  <c:v>0.10553634108316133</c:v>
                </c:pt>
                <c:pt idx="3">
                  <c:v>7.0658383772867053E-2</c:v>
                </c:pt>
                <c:pt idx="4">
                  <c:v>6.8500003472781137E-2</c:v>
                </c:pt>
                <c:pt idx="5">
                  <c:v>2.5977300664784764E-2</c:v>
                </c:pt>
                <c:pt idx="6">
                  <c:v>1.198161606558552E-2</c:v>
                </c:pt>
                <c:pt idx="7">
                  <c:v>1.0605108215972398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Bic</c:v>
                </c:pt>
                <c:pt idx="3">
                  <c:v>Equate</c:v>
                </c:pt>
                <c:pt idx="4">
                  <c:v>Schick</c:v>
                </c:pt>
                <c:pt idx="5">
                  <c:v>Dollar Shave Club</c:v>
                </c:pt>
                <c:pt idx="6">
                  <c:v>Van Der Hagen</c:v>
                </c:pt>
                <c:pt idx="7">
                  <c:v>Comfort 3</c:v>
                </c:pt>
              </c:strCache>
            </c:strRef>
          </c:cat>
          <c:val>
            <c:numRef>
              <c:f>Sheet1!$C$2:$C$9</c:f>
              <c:numCache>
                <c:formatCode>General</c:formatCode>
                <c:ptCount val="8"/>
                <c:pt idx="0">
                  <c:v>0.40765098188056009</c:v>
                </c:pt>
                <c:pt idx="1">
                  <c:v>1.6206463030456225E-2</c:v>
                </c:pt>
                <c:pt idx="2">
                  <c:v>0.17610978021632487</c:v>
                </c:pt>
                <c:pt idx="3">
                  <c:v>5.629218263438214E-2</c:v>
                </c:pt>
                <c:pt idx="4">
                  <c:v>0.23988376089980643</c:v>
                </c:pt>
                <c:pt idx="5">
                  <c:v>7.3793689215100711E-2</c:v>
                </c:pt>
                <c:pt idx="6">
                  <c:v>3.650833154247165E-4</c:v>
                </c:pt>
                <c:pt idx="7">
                  <c:v>2.960640545256369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Bic</c:v>
                </c:pt>
                <c:pt idx="3">
                  <c:v>Equate</c:v>
                </c:pt>
                <c:pt idx="4">
                  <c:v>Schick</c:v>
                </c:pt>
                <c:pt idx="5">
                  <c:v>Dollar Shave Club</c:v>
                </c:pt>
                <c:pt idx="6">
                  <c:v>Van Der Hagen</c:v>
                </c:pt>
                <c:pt idx="7">
                  <c:v>Comfort 3</c:v>
                </c:pt>
              </c:strCache>
            </c:strRef>
          </c:cat>
          <c:val>
            <c:numRef>
              <c:f>Sheet1!$D$2:$D$9</c:f>
              <c:numCache>
                <c:formatCode>General</c:formatCode>
                <c:ptCount val="8"/>
                <c:pt idx="0">
                  <c:v>0.02</c:v>
                </c:pt>
                <c:pt idx="1">
                  <c:v>0.01</c:v>
                </c:pt>
                <c:pt idx="2">
                  <c:v>0.09</c:v>
                </c:pt>
                <c:pt idx="3">
                  <c:v>0.06</c:v>
                </c:pt>
                <c:pt idx="4">
                  <c:v>0.16</c:v>
                </c:pt>
                <c:pt idx="5">
                  <c:v>0.14000000000000001</c:v>
                </c:pt>
                <c:pt idx="6">
                  <c:v>0</c:v>
                </c:pt>
                <c:pt idx="7">
                  <c:v>0.15</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illette</c:v>
                </c:pt>
                <c:pt idx="1">
                  <c:v>Harry's</c:v>
                </c:pt>
              </c:strCache>
            </c:strRef>
          </c:cat>
          <c:val>
            <c:numRef>
              <c:f>Sheet1!$B$2:$B$3</c:f>
              <c:numCache>
                <c:formatCode>General</c:formatCode>
                <c:ptCount val="2"/>
                <c:pt idx="0">
                  <c:v>0.97700099026865961</c:v>
                </c:pt>
                <c:pt idx="1">
                  <c:v>2.2633781684865389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illette</c:v>
                </c:pt>
                <c:pt idx="1">
                  <c:v>Harry's</c:v>
                </c:pt>
              </c:strCache>
            </c:strRef>
          </c:cat>
          <c:val>
            <c:numRef>
              <c:f>Sheet1!$C$2:$C$3</c:f>
              <c:numCache>
                <c:formatCode>General</c:formatCode>
                <c:ptCount val="2"/>
                <c:pt idx="0">
                  <c:v>0.98112054302241758</c:v>
                </c:pt>
                <c:pt idx="1">
                  <c:v>1.886616177885278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illette</c:v>
                </c:pt>
                <c:pt idx="1">
                  <c:v>Harry's</c:v>
                </c:pt>
              </c:strCache>
            </c:strRef>
          </c:cat>
          <c:val>
            <c:numRef>
              <c:f>Sheet1!$D$2:$D$3</c:f>
              <c:numCache>
                <c:formatCode>General</c:formatCode>
                <c:ptCount val="2"/>
                <c:pt idx="0">
                  <c:v>0.56000000000000005</c:v>
                </c:pt>
                <c:pt idx="1">
                  <c:v>0.48</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Bic</c:v>
                </c:pt>
              </c:strCache>
            </c:strRef>
          </c:cat>
          <c:val>
            <c:numRef>
              <c:f>Sheet1!$B$2:$B$4</c:f>
              <c:numCache>
                <c:formatCode>General</c:formatCode>
                <c:ptCount val="3"/>
                <c:pt idx="0">
                  <c:v>0.59800345216981332</c:v>
                </c:pt>
                <c:pt idx="1">
                  <c:v>0.37414980431335232</c:v>
                </c:pt>
                <c:pt idx="2">
                  <c:v>2.5763393123248785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Bic</c:v>
                </c:pt>
              </c:strCache>
            </c:strRef>
          </c:cat>
          <c:val>
            <c:numRef>
              <c:f>Sheet1!$C$2:$C$4</c:f>
              <c:numCache>
                <c:formatCode>General</c:formatCode>
                <c:ptCount val="3"/>
                <c:pt idx="0">
                  <c:v>0.5978867441942749</c:v>
                </c:pt>
                <c:pt idx="1">
                  <c:v>0.37883722158862609</c:v>
                </c:pt>
                <c:pt idx="2">
                  <c:v>2.3171462582742459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Bic</c:v>
                </c:pt>
              </c:strCache>
            </c:strRef>
          </c:cat>
          <c:val>
            <c:numRef>
              <c:f>Sheet1!$D$2:$D$4</c:f>
              <c:numCache>
                <c:formatCode>General</c:formatCode>
                <c:ptCount val="3"/>
                <c:pt idx="0">
                  <c:v>0.54</c:v>
                </c:pt>
                <c:pt idx="1">
                  <c:v>0.57999999999999996</c:v>
                </c:pt>
                <c:pt idx="2">
                  <c:v>0.53</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Bic</c:v>
                </c:pt>
                <c:pt idx="3">
                  <c:v>Schick</c:v>
                </c:pt>
                <c:pt idx="4">
                  <c:v>Dollar Shave Club</c:v>
                </c:pt>
                <c:pt idx="5">
                  <c:v>Equate</c:v>
                </c:pt>
                <c:pt idx="6">
                  <c:v>Van Der Hagen</c:v>
                </c:pt>
                <c:pt idx="7">
                  <c:v>Comfort 3</c:v>
                </c:pt>
              </c:strCache>
            </c:strRef>
          </c:cat>
          <c:val>
            <c:numRef>
              <c:f>Sheet1!$B$2:$B$9</c:f>
              <c:numCache>
                <c:formatCode>General</c:formatCode>
                <c:ptCount val="8"/>
                <c:pt idx="0">
                  <c:v>0.57662833002313973</c:v>
                </c:pt>
                <c:pt idx="1">
                  <c:v>0.20956447897778954</c:v>
                </c:pt>
                <c:pt idx="2">
                  <c:v>6.6744369606912921E-2</c:v>
                </c:pt>
                <c:pt idx="3">
                  <c:v>4.4152894114313078E-2</c:v>
                </c:pt>
                <c:pt idx="4">
                  <c:v>3.8732858470295811E-2</c:v>
                </c:pt>
                <c:pt idx="5">
                  <c:v>3.0087847895468579E-2</c:v>
                </c:pt>
                <c:pt idx="6">
                  <c:v>1.786491388394575E-2</c:v>
                </c:pt>
                <c:pt idx="7">
                  <c:v>1.5812503419505446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Bic</c:v>
                </c:pt>
                <c:pt idx="3">
                  <c:v>Schick</c:v>
                </c:pt>
                <c:pt idx="4">
                  <c:v>Dollar Shave Club</c:v>
                </c:pt>
                <c:pt idx="5">
                  <c:v>Equate</c:v>
                </c:pt>
                <c:pt idx="6">
                  <c:v>Van Der Hagen</c:v>
                </c:pt>
                <c:pt idx="7">
                  <c:v>Comfort 3</c:v>
                </c:pt>
              </c:strCache>
            </c:strRef>
          </c:cat>
          <c:val>
            <c:numRef>
              <c:f>Sheet1!$C$2:$C$9</c:f>
              <c:numCache>
                <c:formatCode>General</c:formatCode>
                <c:ptCount val="8"/>
                <c:pt idx="0">
                  <c:v>0.49788122895873504</c:v>
                </c:pt>
                <c:pt idx="1">
                  <c:v>2.0448426644065411E-2</c:v>
                </c:pt>
                <c:pt idx="2">
                  <c:v>0.13957026037713524</c:v>
                </c:pt>
                <c:pt idx="3">
                  <c:v>0.19490866636224055</c:v>
                </c:pt>
                <c:pt idx="4">
                  <c:v>9.3237573788214539E-2</c:v>
                </c:pt>
                <c:pt idx="5">
                  <c:v>1.5969418707204575E-2</c:v>
                </c:pt>
                <c:pt idx="6">
                  <c:v>4.612790459836824E-4</c:v>
                </c:pt>
                <c:pt idx="7">
                  <c:v>3.7407391368398019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Bic</c:v>
                </c:pt>
                <c:pt idx="3">
                  <c:v>Schick</c:v>
                </c:pt>
                <c:pt idx="4">
                  <c:v>Dollar Shave Club</c:v>
                </c:pt>
                <c:pt idx="5">
                  <c:v>Equate</c:v>
                </c:pt>
                <c:pt idx="6">
                  <c:v>Van Der Hagen</c:v>
                </c:pt>
                <c:pt idx="7">
                  <c:v>Comfort 3</c:v>
                </c:pt>
              </c:strCache>
            </c:strRef>
          </c:cat>
          <c:val>
            <c:numRef>
              <c:f>Sheet1!$D$2:$D$9</c:f>
              <c:numCache>
                <c:formatCode>General</c:formatCode>
                <c:ptCount val="8"/>
                <c:pt idx="0">
                  <c:v>0.06</c:v>
                </c:pt>
                <c:pt idx="1">
                  <c:v>0.01</c:v>
                </c:pt>
                <c:pt idx="2">
                  <c:v>0.25</c:v>
                </c:pt>
                <c:pt idx="3">
                  <c:v>0.3</c:v>
                </c:pt>
                <c:pt idx="4">
                  <c:v>0.14000000000000001</c:v>
                </c:pt>
                <c:pt idx="5">
                  <c:v>0.05</c:v>
                </c:pt>
                <c:pt idx="6">
                  <c:v>0</c:v>
                </c:pt>
                <c:pt idx="7">
                  <c:v>0.15</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Bic</c:v>
                </c:pt>
                <c:pt idx="2">
                  <c:v>Equate</c:v>
                </c:pt>
                <c:pt idx="3">
                  <c:v>Schick</c:v>
                </c:pt>
              </c:strCache>
            </c:strRef>
          </c:cat>
          <c:val>
            <c:numRef>
              <c:f>Sheet1!$B$2:$B$5</c:f>
              <c:numCache>
                <c:formatCode>General</c:formatCode>
                <c:ptCount val="4"/>
                <c:pt idx="0">
                  <c:v>0.54082386189050302</c:v>
                </c:pt>
                <c:pt idx="1">
                  <c:v>0.18453803758152043</c:v>
                </c:pt>
                <c:pt idx="2">
                  <c:v>0.15328221133792058</c:v>
                </c:pt>
                <c:pt idx="3">
                  <c:v>0.11808405065965208</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Bic</c:v>
                </c:pt>
                <c:pt idx="2">
                  <c:v>Equate</c:v>
                </c:pt>
                <c:pt idx="3">
                  <c:v>Schick</c:v>
                </c:pt>
              </c:strCache>
            </c:strRef>
          </c:cat>
          <c:val>
            <c:numRef>
              <c:f>Sheet1!$C$2:$C$5</c:f>
              <c:numCache>
                <c:formatCode>General</c:formatCode>
                <c:ptCount val="4"/>
                <c:pt idx="0">
                  <c:v>6.5207948666118093E-2</c:v>
                </c:pt>
                <c:pt idx="1">
                  <c:v>0.31478505165928605</c:v>
                </c:pt>
                <c:pt idx="2">
                  <c:v>0.20932567233378616</c:v>
                </c:pt>
                <c:pt idx="3">
                  <c:v>0.41057383757893434</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Bic</c:v>
                </c:pt>
                <c:pt idx="2">
                  <c:v>Equate</c:v>
                </c:pt>
                <c:pt idx="3">
                  <c:v>Schick</c:v>
                </c:pt>
              </c:strCache>
            </c:strRef>
          </c:cat>
          <c:val>
            <c:numRef>
              <c:f>Sheet1!$D$2:$D$5</c:f>
              <c:numCache>
                <c:formatCode>General</c:formatCode>
                <c:ptCount val="4"/>
                <c:pt idx="0">
                  <c:v>0</c:v>
                </c:pt>
                <c:pt idx="1">
                  <c:v>0.03</c:v>
                </c:pt>
                <c:pt idx="2">
                  <c:v>0.06</c:v>
                </c:pt>
                <c:pt idx="3">
                  <c:v>0.11</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Bic</c:v>
                </c:pt>
              </c:strCache>
            </c:strRef>
          </c:cat>
          <c:val>
            <c:numRef>
              <c:f>Sheet1!$B$2:$B$4</c:f>
              <c:numCache>
                <c:formatCode>General</c:formatCode>
                <c:ptCount val="3"/>
                <c:pt idx="0">
                  <c:v>0.59800345216981332</c:v>
                </c:pt>
                <c:pt idx="1">
                  <c:v>0.37414980431335232</c:v>
                </c:pt>
                <c:pt idx="2">
                  <c:v>2.5763393123248785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Bic</c:v>
                </c:pt>
              </c:strCache>
            </c:strRef>
          </c:cat>
          <c:val>
            <c:numRef>
              <c:f>Sheet1!$C$2:$C$4</c:f>
              <c:numCache>
                <c:formatCode>General</c:formatCode>
                <c:ptCount val="3"/>
                <c:pt idx="0">
                  <c:v>0.5978867441942749</c:v>
                </c:pt>
                <c:pt idx="1">
                  <c:v>0.37883722158862609</c:v>
                </c:pt>
                <c:pt idx="2">
                  <c:v>2.3171462582742459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Bic</c:v>
                </c:pt>
              </c:strCache>
            </c:strRef>
          </c:cat>
          <c:val>
            <c:numRef>
              <c:f>Sheet1!$D$2:$D$4</c:f>
              <c:numCache>
                <c:formatCode>General</c:formatCode>
                <c:ptCount val="3"/>
                <c:pt idx="0">
                  <c:v>0.54</c:v>
                </c:pt>
                <c:pt idx="1">
                  <c:v>0.57999999999999996</c:v>
                </c:pt>
                <c:pt idx="2">
                  <c:v>0.53</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Bic</c:v>
                </c:pt>
                <c:pt idx="2">
                  <c:v>Equate</c:v>
                </c:pt>
                <c:pt idx="3">
                  <c:v>Schick</c:v>
                </c:pt>
              </c:strCache>
            </c:strRef>
          </c:cat>
          <c:val>
            <c:numRef>
              <c:f>Sheet1!$B$2:$B$5</c:f>
              <c:numCache>
                <c:formatCode>General</c:formatCode>
                <c:ptCount val="4"/>
                <c:pt idx="0">
                  <c:v>0.54082386189050302</c:v>
                </c:pt>
                <c:pt idx="1">
                  <c:v>0.18453803758152043</c:v>
                </c:pt>
                <c:pt idx="2">
                  <c:v>0.15328221133792058</c:v>
                </c:pt>
                <c:pt idx="3">
                  <c:v>0.11808405065965208</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Bic</c:v>
                </c:pt>
                <c:pt idx="2">
                  <c:v>Equate</c:v>
                </c:pt>
                <c:pt idx="3">
                  <c:v>Schick</c:v>
                </c:pt>
              </c:strCache>
            </c:strRef>
          </c:cat>
          <c:val>
            <c:numRef>
              <c:f>Sheet1!$C$2:$C$5</c:f>
              <c:numCache>
                <c:formatCode>General</c:formatCode>
                <c:ptCount val="4"/>
                <c:pt idx="0">
                  <c:v>6.5207948666118093E-2</c:v>
                </c:pt>
                <c:pt idx="1">
                  <c:v>0.31478505165928605</c:v>
                </c:pt>
                <c:pt idx="2">
                  <c:v>0.20932567233378616</c:v>
                </c:pt>
                <c:pt idx="3">
                  <c:v>0.41057383757893434</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Bic</c:v>
                </c:pt>
                <c:pt idx="2">
                  <c:v>Equate</c:v>
                </c:pt>
                <c:pt idx="3">
                  <c:v>Schick</c:v>
                </c:pt>
              </c:strCache>
            </c:strRef>
          </c:cat>
          <c:val>
            <c:numRef>
              <c:f>Sheet1!$D$2:$D$5</c:f>
              <c:numCache>
                <c:formatCode>General</c:formatCode>
                <c:ptCount val="4"/>
                <c:pt idx="0">
                  <c:v>0</c:v>
                </c:pt>
                <c:pt idx="1">
                  <c:v>0.03</c:v>
                </c:pt>
                <c:pt idx="2">
                  <c:v>0.06</c:v>
                </c:pt>
                <c:pt idx="3">
                  <c:v>0.11</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illette</c:v>
                </c:pt>
                <c:pt idx="1">
                  <c:v>Harry's</c:v>
                </c:pt>
              </c:strCache>
            </c:strRef>
          </c:cat>
          <c:val>
            <c:numRef>
              <c:f>Sheet1!$B$2:$B$3</c:f>
              <c:numCache>
                <c:formatCode>General</c:formatCode>
                <c:ptCount val="2"/>
                <c:pt idx="0">
                  <c:v>0.88643053255285409</c:v>
                </c:pt>
                <c:pt idx="1">
                  <c:v>0.11177345894376205</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illette</c:v>
                </c:pt>
                <c:pt idx="1">
                  <c:v>Harry's</c:v>
                </c:pt>
              </c:strCache>
            </c:strRef>
          </c:cat>
          <c:val>
            <c:numRef>
              <c:f>Sheet1!$C$2:$C$3</c:f>
              <c:numCache>
                <c:formatCode>General</c:formatCode>
                <c:ptCount val="2"/>
                <c:pt idx="0">
                  <c:v>0.90400906096224687</c:v>
                </c:pt>
                <c:pt idx="1">
                  <c:v>9.5923340768784685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illette</c:v>
                </c:pt>
                <c:pt idx="1">
                  <c:v>Harry's</c:v>
                </c:pt>
              </c:strCache>
            </c:strRef>
          </c:cat>
          <c:val>
            <c:numRef>
              <c:f>Sheet1!$D$2:$D$3</c:f>
              <c:numCache>
                <c:formatCode>General</c:formatCode>
                <c:ptCount val="2"/>
                <c:pt idx="0">
                  <c:v>0.55000000000000004</c:v>
                </c:pt>
                <c:pt idx="1">
                  <c:v>0.48</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3-3C16-4125-B97A-D0EBA9D0B1CF}"/>
              </c:ext>
            </c:extLst>
          </c:dPt>
          <c:dPt>
            <c:idx val="1"/>
            <c:invertIfNegative val="0"/>
            <c:bubble3D val="0"/>
            <c:spPr>
              <a:solidFill>
                <a:srgbClr val="FFBFBF"/>
              </a:solidFill>
            </c:spPr>
            <c:extLst>
              <c:ext xmlns:c16="http://schemas.microsoft.com/office/drawing/2014/chart" uri="{C3380CC4-5D6E-409C-BE32-E72D297353CC}">
                <c16:uniqueId val="{00000001-615A-458F-B49B-C3992C8CBC6B}"/>
              </c:ext>
            </c:extLst>
          </c:dPt>
          <c:dPt>
            <c:idx val="2"/>
            <c:invertIfNegative val="0"/>
            <c:bubble3D val="0"/>
            <c:extLst>
              <c:ext xmlns:c16="http://schemas.microsoft.com/office/drawing/2014/chart" uri="{C3380CC4-5D6E-409C-BE32-E72D297353CC}">
                <c16:uniqueId val="{00000004-3C16-4125-B97A-D0EBA9D0B1CF}"/>
              </c:ext>
            </c:extLst>
          </c:dPt>
          <c:dPt>
            <c:idx val="3"/>
            <c:invertIfNegative val="0"/>
            <c:bubble3D val="0"/>
            <c:spPr>
              <a:solidFill>
                <a:srgbClr val="FF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Schick</c:v>
                </c:pt>
                <c:pt idx="1">
                  <c:v>Bic</c:v>
                </c:pt>
                <c:pt idx="2">
                  <c:v>Equate</c:v>
                </c:pt>
                <c:pt idx="3">
                  <c:v>Gillette</c:v>
                </c:pt>
              </c:strCache>
            </c:strRef>
          </c:cat>
          <c:val>
            <c:numRef>
              <c:f>Sheet1!$B$2:$B$5</c:f>
              <c:numCache>
                <c:formatCode>General</c:formatCode>
                <c:ptCount val="4"/>
                <c:pt idx="0">
                  <c:v>-0.621</c:v>
                </c:pt>
                <c:pt idx="1">
                  <c:v>-0.25</c:v>
                </c:pt>
                <c:pt idx="2">
                  <c:v>5</c:v>
                </c:pt>
                <c:pt idx="3">
                  <c:v>-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Gillette</c:v>
                </c:pt>
              </c:strCache>
            </c:strRef>
          </c:cat>
          <c:val>
            <c:numRef>
              <c:f>Sheet1!$B$2:$B$2</c:f>
              <c:numCache>
                <c:formatCode>General</c:formatCode>
                <c:ptCount val="1"/>
                <c:pt idx="0">
                  <c:v>0.9999998458925705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Gillette</c:v>
                </c:pt>
              </c:strCache>
            </c:strRef>
          </c:cat>
          <c:val>
            <c:numRef>
              <c:f>Sheet1!$C$2:$C$2</c:f>
              <c:numCache>
                <c:formatCode>General</c:formatCode>
                <c:ptCount val="1"/>
                <c:pt idx="0">
                  <c:v>1</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Gillette</c:v>
                </c:pt>
              </c:strCache>
            </c:strRef>
          </c:cat>
          <c:val>
            <c:numRef>
              <c:f>Sheet1!$D$2:$D$2</c:f>
              <c:numCache>
                <c:formatCode>General</c:formatCode>
                <c:ptCount val="1"/>
                <c:pt idx="0">
                  <c:v>0.56000000000000005</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Schick</c:v>
                </c:pt>
                <c:pt idx="3">
                  <c:v>Dollar Shave Club</c:v>
                </c:pt>
                <c:pt idx="4">
                  <c:v>Van Der Hagen</c:v>
                </c:pt>
                <c:pt idx="5">
                  <c:v>Equate</c:v>
                </c:pt>
              </c:strCache>
            </c:strRef>
          </c:cat>
          <c:val>
            <c:numRef>
              <c:f>Sheet1!$B$2:$B$7</c:f>
              <c:numCache>
                <c:formatCode>General</c:formatCode>
                <c:ptCount val="6"/>
                <c:pt idx="0">
                  <c:v>0.64845903530310278</c:v>
                </c:pt>
                <c:pt idx="1">
                  <c:v>0.20224109939179227</c:v>
                </c:pt>
                <c:pt idx="2">
                  <c:v>5.1430100632834493E-2</c:v>
                </c:pt>
                <c:pt idx="3">
                  <c:v>4.5583978383688155E-2</c:v>
                </c:pt>
                <c:pt idx="4">
                  <c:v>2.9879671567027418E-2</c:v>
                </c:pt>
                <c:pt idx="5">
                  <c:v>2.1574179939746557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Schick</c:v>
                </c:pt>
                <c:pt idx="3">
                  <c:v>Dollar Shave Club</c:v>
                </c:pt>
                <c:pt idx="4">
                  <c:v>Van Der Hagen</c:v>
                </c:pt>
                <c:pt idx="5">
                  <c:v>Equate</c:v>
                </c:pt>
              </c:strCache>
            </c:strRef>
          </c:cat>
          <c:val>
            <c:numRef>
              <c:f>Sheet1!$C$2:$C$7</c:f>
              <c:numCache>
                <c:formatCode>General</c:formatCode>
                <c:ptCount val="6"/>
                <c:pt idx="0">
                  <c:v>0.69091853690544414</c:v>
                </c:pt>
                <c:pt idx="1">
                  <c:v>1.6877553702241331E-2</c:v>
                </c:pt>
                <c:pt idx="2">
                  <c:v>0.18552967879239812</c:v>
                </c:pt>
                <c:pt idx="3">
                  <c:v>9.9918899143347908E-2</c:v>
                </c:pt>
                <c:pt idx="4">
                  <c:v>9.3008830673608101E-4</c:v>
                </c:pt>
                <c:pt idx="5">
                  <c:v>5.6691731544945218E-3</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Schick</c:v>
                </c:pt>
                <c:pt idx="3">
                  <c:v>Dollar Shave Club</c:v>
                </c:pt>
                <c:pt idx="4">
                  <c:v>Van Der Hagen</c:v>
                </c:pt>
                <c:pt idx="5">
                  <c:v>Equate</c:v>
                </c:pt>
              </c:strCache>
            </c:strRef>
          </c:cat>
          <c:val>
            <c:numRef>
              <c:f>Sheet1!$D$2:$D$7</c:f>
              <c:numCache>
                <c:formatCode>General</c:formatCode>
                <c:ptCount val="6"/>
                <c:pt idx="0">
                  <c:v>0.1</c:v>
                </c:pt>
                <c:pt idx="1">
                  <c:v>0.01</c:v>
                </c:pt>
                <c:pt idx="2">
                  <c:v>0.33</c:v>
                </c:pt>
                <c:pt idx="3">
                  <c:v>0.18</c:v>
                </c:pt>
                <c:pt idx="4">
                  <c:v>0</c:v>
                </c:pt>
                <c:pt idx="5">
                  <c:v>0.02</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Schick</c:v>
                </c:pt>
                <c:pt idx="3">
                  <c:v>Dollar Shave Club</c:v>
                </c:pt>
                <c:pt idx="4">
                  <c:v>Equate</c:v>
                </c:pt>
                <c:pt idx="5">
                  <c:v>Van Der Hagen</c:v>
                </c:pt>
              </c:strCache>
            </c:strRef>
          </c:cat>
          <c:val>
            <c:numRef>
              <c:f>Sheet1!$B$2:$B$7</c:f>
              <c:numCache>
                <c:formatCode>General</c:formatCode>
                <c:ptCount val="6"/>
                <c:pt idx="0">
                  <c:v>0.61709939318599438</c:v>
                </c:pt>
                <c:pt idx="1">
                  <c:v>0.24341488493153948</c:v>
                </c:pt>
                <c:pt idx="2">
                  <c:v>4.6230713935869937E-2</c:v>
                </c:pt>
                <c:pt idx="3">
                  <c:v>4.0291297693214836E-2</c:v>
                </c:pt>
                <c:pt idx="4">
                  <c:v>3.9220718455250554E-2</c:v>
                </c:pt>
                <c:pt idx="5">
                  <c:v>1.3513482367956495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Schick</c:v>
                </c:pt>
                <c:pt idx="3">
                  <c:v>Dollar Shave Club</c:v>
                </c:pt>
                <c:pt idx="4">
                  <c:v>Equate</c:v>
                </c:pt>
                <c:pt idx="5">
                  <c:v>Van Der Hagen</c:v>
                </c:pt>
              </c:strCache>
            </c:strRef>
          </c:cat>
          <c:val>
            <c:numRef>
              <c:f>Sheet1!$C$2:$C$7</c:f>
              <c:numCache>
                <c:formatCode>General</c:formatCode>
                <c:ptCount val="6"/>
                <c:pt idx="0">
                  <c:v>0.50851565835797896</c:v>
                </c:pt>
                <c:pt idx="1">
                  <c:v>3.378304548275457E-2</c:v>
                </c:pt>
                <c:pt idx="2">
                  <c:v>0.29434132181557238</c:v>
                </c:pt>
                <c:pt idx="3">
                  <c:v>0.1282822771765654</c:v>
                </c:pt>
                <c:pt idx="4">
                  <c:v>3.4808450483466619E-2</c:v>
                </c:pt>
                <c:pt idx="5">
                  <c:v>1.4589905903205505E-4</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Schick</c:v>
                </c:pt>
                <c:pt idx="3">
                  <c:v>Dollar Shave Club</c:v>
                </c:pt>
                <c:pt idx="4">
                  <c:v>Equate</c:v>
                </c:pt>
                <c:pt idx="5">
                  <c:v>Van Der Hagen</c:v>
                </c:pt>
              </c:strCache>
            </c:strRef>
          </c:cat>
          <c:val>
            <c:numRef>
              <c:f>Sheet1!$D$2:$D$7</c:f>
              <c:numCache>
                <c:formatCode>General</c:formatCode>
                <c:ptCount val="6"/>
                <c:pt idx="0">
                  <c:v>0.04</c:v>
                </c:pt>
                <c:pt idx="1">
                  <c:v>0.01</c:v>
                </c:pt>
                <c:pt idx="2">
                  <c:v>0.28999999999999998</c:v>
                </c:pt>
                <c:pt idx="3">
                  <c:v>0.13</c:v>
                </c:pt>
                <c:pt idx="4">
                  <c:v>0.06</c:v>
                </c:pt>
                <c:pt idx="5">
                  <c:v>0</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93</c:f>
              <c:numCache>
                <c:formatCode>yyyy\-mm\-dd</c:formatCode>
                <c:ptCount val="92"/>
                <c:pt idx="0">
                  <c:v>44934</c:v>
                </c:pt>
                <c:pt idx="1">
                  <c:v>44941</c:v>
                </c:pt>
                <c:pt idx="2">
                  <c:v>44948</c:v>
                </c:pt>
                <c:pt idx="3">
                  <c:v>44955</c:v>
                </c:pt>
                <c:pt idx="4">
                  <c:v>44997</c:v>
                </c:pt>
                <c:pt idx="5">
                  <c:v>45004</c:v>
                </c:pt>
                <c:pt idx="6">
                  <c:v>45011</c:v>
                </c:pt>
                <c:pt idx="7">
                  <c:v>45018</c:v>
                </c:pt>
                <c:pt idx="8">
                  <c:v>45025</c:v>
                </c:pt>
                <c:pt idx="9">
                  <c:v>45032</c:v>
                </c:pt>
                <c:pt idx="10">
                  <c:v>45039</c:v>
                </c:pt>
                <c:pt idx="11">
                  <c:v>45046</c:v>
                </c:pt>
                <c:pt idx="12">
                  <c:v>45067</c:v>
                </c:pt>
                <c:pt idx="13">
                  <c:v>45074</c:v>
                </c:pt>
                <c:pt idx="14">
                  <c:v>45081</c:v>
                </c:pt>
                <c:pt idx="15">
                  <c:v>45088</c:v>
                </c:pt>
                <c:pt idx="16">
                  <c:v>45095</c:v>
                </c:pt>
                <c:pt idx="17">
                  <c:v>45102</c:v>
                </c:pt>
                <c:pt idx="18">
                  <c:v>45109</c:v>
                </c:pt>
                <c:pt idx="19">
                  <c:v>45116</c:v>
                </c:pt>
                <c:pt idx="20">
                  <c:v>45123</c:v>
                </c:pt>
                <c:pt idx="21">
                  <c:v>45165</c:v>
                </c:pt>
                <c:pt idx="22">
                  <c:v>45172</c:v>
                </c:pt>
                <c:pt idx="23">
                  <c:v>45179</c:v>
                </c:pt>
                <c:pt idx="24">
                  <c:v>45186</c:v>
                </c:pt>
                <c:pt idx="25">
                  <c:v>45200</c:v>
                </c:pt>
                <c:pt idx="26">
                  <c:v>45207</c:v>
                </c:pt>
                <c:pt idx="27">
                  <c:v>45214</c:v>
                </c:pt>
                <c:pt idx="28">
                  <c:v>45221</c:v>
                </c:pt>
                <c:pt idx="29">
                  <c:v>45228</c:v>
                </c:pt>
                <c:pt idx="30">
                  <c:v>45235</c:v>
                </c:pt>
                <c:pt idx="31">
                  <c:v>45242</c:v>
                </c:pt>
                <c:pt idx="32">
                  <c:v>45249</c:v>
                </c:pt>
                <c:pt idx="33">
                  <c:v>45256</c:v>
                </c:pt>
                <c:pt idx="34">
                  <c:v>45263</c:v>
                </c:pt>
                <c:pt idx="35">
                  <c:v>45270</c:v>
                </c:pt>
                <c:pt idx="36">
                  <c:v>45277</c:v>
                </c:pt>
                <c:pt idx="37">
                  <c:v>45284</c:v>
                </c:pt>
                <c:pt idx="38">
                  <c:v>45291</c:v>
                </c:pt>
                <c:pt idx="39">
                  <c:v>45298</c:v>
                </c:pt>
                <c:pt idx="40">
                  <c:v>45305</c:v>
                </c:pt>
                <c:pt idx="41">
                  <c:v>45312</c:v>
                </c:pt>
                <c:pt idx="42">
                  <c:v>45319</c:v>
                </c:pt>
                <c:pt idx="43">
                  <c:v>45326</c:v>
                </c:pt>
                <c:pt idx="44">
                  <c:v>45333</c:v>
                </c:pt>
                <c:pt idx="45">
                  <c:v>45340</c:v>
                </c:pt>
                <c:pt idx="46">
                  <c:v>45347</c:v>
                </c:pt>
                <c:pt idx="47">
                  <c:v>45354</c:v>
                </c:pt>
                <c:pt idx="48">
                  <c:v>45361</c:v>
                </c:pt>
                <c:pt idx="49">
                  <c:v>45368</c:v>
                </c:pt>
                <c:pt idx="50">
                  <c:v>45375</c:v>
                </c:pt>
                <c:pt idx="51">
                  <c:v>45382</c:v>
                </c:pt>
                <c:pt idx="52">
                  <c:v>45389</c:v>
                </c:pt>
                <c:pt idx="53">
                  <c:v>45396</c:v>
                </c:pt>
                <c:pt idx="54">
                  <c:v>45403</c:v>
                </c:pt>
                <c:pt idx="55">
                  <c:v>45410</c:v>
                </c:pt>
                <c:pt idx="56">
                  <c:v>45417</c:v>
                </c:pt>
                <c:pt idx="57">
                  <c:v>45424</c:v>
                </c:pt>
                <c:pt idx="58">
                  <c:v>45431</c:v>
                </c:pt>
                <c:pt idx="59">
                  <c:v>45438</c:v>
                </c:pt>
                <c:pt idx="60">
                  <c:v>45445</c:v>
                </c:pt>
                <c:pt idx="61">
                  <c:v>45452</c:v>
                </c:pt>
                <c:pt idx="62">
                  <c:v>45459</c:v>
                </c:pt>
                <c:pt idx="63">
                  <c:v>45466</c:v>
                </c:pt>
                <c:pt idx="64">
                  <c:v>45473</c:v>
                </c:pt>
                <c:pt idx="65">
                  <c:v>45480</c:v>
                </c:pt>
                <c:pt idx="66">
                  <c:v>45487</c:v>
                </c:pt>
                <c:pt idx="67">
                  <c:v>45508</c:v>
                </c:pt>
                <c:pt idx="68">
                  <c:v>45515</c:v>
                </c:pt>
                <c:pt idx="69">
                  <c:v>45522</c:v>
                </c:pt>
                <c:pt idx="70">
                  <c:v>45529</c:v>
                </c:pt>
                <c:pt idx="71">
                  <c:v>45536</c:v>
                </c:pt>
                <c:pt idx="72">
                  <c:v>45543</c:v>
                </c:pt>
                <c:pt idx="73">
                  <c:v>45550</c:v>
                </c:pt>
                <c:pt idx="74">
                  <c:v>45557</c:v>
                </c:pt>
                <c:pt idx="75">
                  <c:v>45564</c:v>
                </c:pt>
                <c:pt idx="76">
                  <c:v>45578</c:v>
                </c:pt>
                <c:pt idx="77">
                  <c:v>45585</c:v>
                </c:pt>
                <c:pt idx="78">
                  <c:v>45592</c:v>
                </c:pt>
                <c:pt idx="79">
                  <c:v>45599</c:v>
                </c:pt>
                <c:pt idx="80">
                  <c:v>45606</c:v>
                </c:pt>
                <c:pt idx="81">
                  <c:v>45613</c:v>
                </c:pt>
                <c:pt idx="82">
                  <c:v>45620</c:v>
                </c:pt>
                <c:pt idx="83">
                  <c:v>45627</c:v>
                </c:pt>
                <c:pt idx="84">
                  <c:v>45634</c:v>
                </c:pt>
                <c:pt idx="85">
                  <c:v>45641</c:v>
                </c:pt>
                <c:pt idx="86">
                  <c:v>45648</c:v>
                </c:pt>
                <c:pt idx="87">
                  <c:v>45655</c:v>
                </c:pt>
                <c:pt idx="88">
                  <c:v>45662</c:v>
                </c:pt>
                <c:pt idx="89">
                  <c:v>45669</c:v>
                </c:pt>
                <c:pt idx="90">
                  <c:v>45676</c:v>
                </c:pt>
                <c:pt idx="91">
                  <c:v>45683</c:v>
                </c:pt>
              </c:numCache>
            </c:numRef>
          </c:cat>
          <c:val>
            <c:numRef>
              <c:f>Sheet1!$B$2:$B$93</c:f>
              <c:numCache>
                <c:formatCode>General</c:formatCode>
                <c:ptCount val="92"/>
                <c:pt idx="0">
                  <c:v>73775</c:v>
                </c:pt>
                <c:pt idx="1">
                  <c:v>31097</c:v>
                </c:pt>
                <c:pt idx="2">
                  <c:v>27142</c:v>
                </c:pt>
                <c:pt idx="3">
                  <c:v>70632</c:v>
                </c:pt>
                <c:pt idx="4">
                  <c:v>79241</c:v>
                </c:pt>
                <c:pt idx="5">
                  <c:v>113982</c:v>
                </c:pt>
                <c:pt idx="6">
                  <c:v>89719</c:v>
                </c:pt>
                <c:pt idx="7">
                  <c:v>87998</c:v>
                </c:pt>
                <c:pt idx="8">
                  <c:v>77629</c:v>
                </c:pt>
                <c:pt idx="9">
                  <c:v>83787</c:v>
                </c:pt>
                <c:pt idx="10">
                  <c:v>99665</c:v>
                </c:pt>
                <c:pt idx="11">
                  <c:v>2798</c:v>
                </c:pt>
                <c:pt idx="12">
                  <c:v>70056</c:v>
                </c:pt>
                <c:pt idx="13">
                  <c:v>80589</c:v>
                </c:pt>
                <c:pt idx="14">
                  <c:v>282388</c:v>
                </c:pt>
                <c:pt idx="15">
                  <c:v>338683</c:v>
                </c:pt>
                <c:pt idx="16">
                  <c:v>341952</c:v>
                </c:pt>
                <c:pt idx="17">
                  <c:v>339879</c:v>
                </c:pt>
                <c:pt idx="18">
                  <c:v>340173</c:v>
                </c:pt>
                <c:pt idx="19">
                  <c:v>77321</c:v>
                </c:pt>
                <c:pt idx="20">
                  <c:v>65370</c:v>
                </c:pt>
                <c:pt idx="21">
                  <c:v>97781</c:v>
                </c:pt>
                <c:pt idx="22">
                  <c:v>73785</c:v>
                </c:pt>
                <c:pt idx="23">
                  <c:v>96929</c:v>
                </c:pt>
                <c:pt idx="24">
                  <c:v>63263</c:v>
                </c:pt>
                <c:pt idx="25">
                  <c:v>17135</c:v>
                </c:pt>
                <c:pt idx="26">
                  <c:v>18098</c:v>
                </c:pt>
                <c:pt idx="27">
                  <c:v>13315</c:v>
                </c:pt>
                <c:pt idx="28">
                  <c:v>99040</c:v>
                </c:pt>
                <c:pt idx="29">
                  <c:v>106006</c:v>
                </c:pt>
                <c:pt idx="30">
                  <c:v>92756</c:v>
                </c:pt>
                <c:pt idx="31">
                  <c:v>367107</c:v>
                </c:pt>
                <c:pt idx="32">
                  <c:v>345022</c:v>
                </c:pt>
                <c:pt idx="33">
                  <c:v>311875</c:v>
                </c:pt>
                <c:pt idx="34">
                  <c:v>101117</c:v>
                </c:pt>
                <c:pt idx="35">
                  <c:v>90338</c:v>
                </c:pt>
                <c:pt idx="36">
                  <c:v>107079</c:v>
                </c:pt>
                <c:pt idx="37">
                  <c:v>222973</c:v>
                </c:pt>
                <c:pt idx="38">
                  <c:v>317742</c:v>
                </c:pt>
                <c:pt idx="39">
                  <c:v>355345</c:v>
                </c:pt>
                <c:pt idx="40">
                  <c:v>408148</c:v>
                </c:pt>
                <c:pt idx="41">
                  <c:v>359559</c:v>
                </c:pt>
                <c:pt idx="42">
                  <c:v>314110</c:v>
                </c:pt>
                <c:pt idx="43">
                  <c:v>26478</c:v>
                </c:pt>
                <c:pt idx="44">
                  <c:v>26597</c:v>
                </c:pt>
                <c:pt idx="45">
                  <c:v>21766</c:v>
                </c:pt>
                <c:pt idx="46">
                  <c:v>25659</c:v>
                </c:pt>
                <c:pt idx="47">
                  <c:v>77392</c:v>
                </c:pt>
                <c:pt idx="48">
                  <c:v>99384</c:v>
                </c:pt>
                <c:pt idx="49">
                  <c:v>72037</c:v>
                </c:pt>
                <c:pt idx="50">
                  <c:v>24860</c:v>
                </c:pt>
                <c:pt idx="51">
                  <c:v>10502</c:v>
                </c:pt>
                <c:pt idx="52">
                  <c:v>84125</c:v>
                </c:pt>
                <c:pt idx="53">
                  <c:v>183097</c:v>
                </c:pt>
                <c:pt idx="54">
                  <c:v>171577</c:v>
                </c:pt>
                <c:pt idx="55">
                  <c:v>103577</c:v>
                </c:pt>
                <c:pt idx="56">
                  <c:v>53987</c:v>
                </c:pt>
                <c:pt idx="57">
                  <c:v>36053</c:v>
                </c:pt>
                <c:pt idx="58">
                  <c:v>61765</c:v>
                </c:pt>
                <c:pt idx="59">
                  <c:v>51959</c:v>
                </c:pt>
                <c:pt idx="60">
                  <c:v>193830</c:v>
                </c:pt>
                <c:pt idx="61">
                  <c:v>238159</c:v>
                </c:pt>
                <c:pt idx="62">
                  <c:v>236593</c:v>
                </c:pt>
                <c:pt idx="63">
                  <c:v>230309</c:v>
                </c:pt>
                <c:pt idx="64">
                  <c:v>228007</c:v>
                </c:pt>
                <c:pt idx="65">
                  <c:v>227491</c:v>
                </c:pt>
                <c:pt idx="66">
                  <c:v>26241</c:v>
                </c:pt>
                <c:pt idx="67">
                  <c:v>49312</c:v>
                </c:pt>
                <c:pt idx="68">
                  <c:v>56195</c:v>
                </c:pt>
                <c:pt idx="69">
                  <c:v>61690</c:v>
                </c:pt>
                <c:pt idx="70">
                  <c:v>54826</c:v>
                </c:pt>
                <c:pt idx="71">
                  <c:v>13618</c:v>
                </c:pt>
                <c:pt idx="72">
                  <c:v>14642</c:v>
                </c:pt>
                <c:pt idx="73">
                  <c:v>13438</c:v>
                </c:pt>
                <c:pt idx="74">
                  <c:v>14613</c:v>
                </c:pt>
                <c:pt idx="75">
                  <c:v>15617</c:v>
                </c:pt>
                <c:pt idx="76">
                  <c:v>910</c:v>
                </c:pt>
                <c:pt idx="77">
                  <c:v>46520</c:v>
                </c:pt>
                <c:pt idx="78">
                  <c:v>54916</c:v>
                </c:pt>
                <c:pt idx="79">
                  <c:v>247723</c:v>
                </c:pt>
                <c:pt idx="80">
                  <c:v>259457</c:v>
                </c:pt>
                <c:pt idx="81">
                  <c:v>248536</c:v>
                </c:pt>
                <c:pt idx="82">
                  <c:v>241752</c:v>
                </c:pt>
                <c:pt idx="83">
                  <c:v>221995</c:v>
                </c:pt>
                <c:pt idx="84">
                  <c:v>189946</c:v>
                </c:pt>
                <c:pt idx="85">
                  <c:v>56518</c:v>
                </c:pt>
                <c:pt idx="86">
                  <c:v>76281</c:v>
                </c:pt>
                <c:pt idx="87">
                  <c:v>65335</c:v>
                </c:pt>
                <c:pt idx="88">
                  <c:v>201725</c:v>
                </c:pt>
                <c:pt idx="89">
                  <c:v>281649</c:v>
                </c:pt>
                <c:pt idx="90">
                  <c:v>297077</c:v>
                </c:pt>
                <c:pt idx="91">
                  <c:v>269481</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93</c:f>
              <c:numCache>
                <c:formatCode>yyyy\-mm\-dd</c:formatCode>
                <c:ptCount val="92"/>
                <c:pt idx="0">
                  <c:v>44934</c:v>
                </c:pt>
                <c:pt idx="1">
                  <c:v>44941</c:v>
                </c:pt>
                <c:pt idx="2">
                  <c:v>44948</c:v>
                </c:pt>
                <c:pt idx="3">
                  <c:v>44955</c:v>
                </c:pt>
                <c:pt idx="4">
                  <c:v>44997</c:v>
                </c:pt>
                <c:pt idx="5">
                  <c:v>45004</c:v>
                </c:pt>
                <c:pt idx="6">
                  <c:v>45011</c:v>
                </c:pt>
                <c:pt idx="7">
                  <c:v>45018</c:v>
                </c:pt>
                <c:pt idx="8">
                  <c:v>45025</c:v>
                </c:pt>
                <c:pt idx="9">
                  <c:v>45032</c:v>
                </c:pt>
                <c:pt idx="10">
                  <c:v>45039</c:v>
                </c:pt>
                <c:pt idx="11">
                  <c:v>45046</c:v>
                </c:pt>
                <c:pt idx="12">
                  <c:v>45067</c:v>
                </c:pt>
                <c:pt idx="13">
                  <c:v>45074</c:v>
                </c:pt>
                <c:pt idx="14">
                  <c:v>45081</c:v>
                </c:pt>
                <c:pt idx="15">
                  <c:v>45088</c:v>
                </c:pt>
                <c:pt idx="16">
                  <c:v>45095</c:v>
                </c:pt>
                <c:pt idx="17">
                  <c:v>45102</c:v>
                </c:pt>
                <c:pt idx="18">
                  <c:v>45109</c:v>
                </c:pt>
                <c:pt idx="19">
                  <c:v>45116</c:v>
                </c:pt>
                <c:pt idx="20">
                  <c:v>45123</c:v>
                </c:pt>
                <c:pt idx="21">
                  <c:v>45165</c:v>
                </c:pt>
                <c:pt idx="22">
                  <c:v>45172</c:v>
                </c:pt>
                <c:pt idx="23">
                  <c:v>45179</c:v>
                </c:pt>
                <c:pt idx="24">
                  <c:v>45186</c:v>
                </c:pt>
                <c:pt idx="25">
                  <c:v>45200</c:v>
                </c:pt>
                <c:pt idx="26">
                  <c:v>45207</c:v>
                </c:pt>
                <c:pt idx="27">
                  <c:v>45214</c:v>
                </c:pt>
                <c:pt idx="28">
                  <c:v>45221</c:v>
                </c:pt>
                <c:pt idx="29">
                  <c:v>45228</c:v>
                </c:pt>
                <c:pt idx="30">
                  <c:v>45235</c:v>
                </c:pt>
                <c:pt idx="31">
                  <c:v>45242</c:v>
                </c:pt>
                <c:pt idx="32">
                  <c:v>45249</c:v>
                </c:pt>
                <c:pt idx="33">
                  <c:v>45256</c:v>
                </c:pt>
                <c:pt idx="34">
                  <c:v>45263</c:v>
                </c:pt>
                <c:pt idx="35">
                  <c:v>45270</c:v>
                </c:pt>
                <c:pt idx="36">
                  <c:v>45277</c:v>
                </c:pt>
                <c:pt idx="37">
                  <c:v>45284</c:v>
                </c:pt>
                <c:pt idx="38">
                  <c:v>45291</c:v>
                </c:pt>
                <c:pt idx="39">
                  <c:v>45298</c:v>
                </c:pt>
                <c:pt idx="40">
                  <c:v>45305</c:v>
                </c:pt>
                <c:pt idx="41">
                  <c:v>45312</c:v>
                </c:pt>
                <c:pt idx="42">
                  <c:v>45319</c:v>
                </c:pt>
                <c:pt idx="43">
                  <c:v>45326</c:v>
                </c:pt>
                <c:pt idx="44">
                  <c:v>45333</c:v>
                </c:pt>
                <c:pt idx="45">
                  <c:v>45340</c:v>
                </c:pt>
                <c:pt idx="46">
                  <c:v>45347</c:v>
                </c:pt>
                <c:pt idx="47">
                  <c:v>45354</c:v>
                </c:pt>
                <c:pt idx="48">
                  <c:v>45361</c:v>
                </c:pt>
                <c:pt idx="49">
                  <c:v>45368</c:v>
                </c:pt>
                <c:pt idx="50">
                  <c:v>45375</c:v>
                </c:pt>
                <c:pt idx="51">
                  <c:v>45382</c:v>
                </c:pt>
                <c:pt idx="52">
                  <c:v>45389</c:v>
                </c:pt>
                <c:pt idx="53">
                  <c:v>45396</c:v>
                </c:pt>
                <c:pt idx="54">
                  <c:v>45403</c:v>
                </c:pt>
                <c:pt idx="55">
                  <c:v>45410</c:v>
                </c:pt>
                <c:pt idx="56">
                  <c:v>45417</c:v>
                </c:pt>
                <c:pt idx="57">
                  <c:v>45424</c:v>
                </c:pt>
                <c:pt idx="58">
                  <c:v>45431</c:v>
                </c:pt>
                <c:pt idx="59">
                  <c:v>45438</c:v>
                </c:pt>
                <c:pt idx="60">
                  <c:v>45445</c:v>
                </c:pt>
                <c:pt idx="61">
                  <c:v>45452</c:v>
                </c:pt>
                <c:pt idx="62">
                  <c:v>45459</c:v>
                </c:pt>
                <c:pt idx="63">
                  <c:v>45466</c:v>
                </c:pt>
                <c:pt idx="64">
                  <c:v>45473</c:v>
                </c:pt>
                <c:pt idx="65">
                  <c:v>45480</c:v>
                </c:pt>
                <c:pt idx="66">
                  <c:v>45487</c:v>
                </c:pt>
                <c:pt idx="67">
                  <c:v>45508</c:v>
                </c:pt>
                <c:pt idx="68">
                  <c:v>45515</c:v>
                </c:pt>
                <c:pt idx="69">
                  <c:v>45522</c:v>
                </c:pt>
                <c:pt idx="70">
                  <c:v>45529</c:v>
                </c:pt>
                <c:pt idx="71">
                  <c:v>45536</c:v>
                </c:pt>
                <c:pt idx="72">
                  <c:v>45543</c:v>
                </c:pt>
                <c:pt idx="73">
                  <c:v>45550</c:v>
                </c:pt>
                <c:pt idx="74">
                  <c:v>45557</c:v>
                </c:pt>
                <c:pt idx="75">
                  <c:v>45564</c:v>
                </c:pt>
                <c:pt idx="76">
                  <c:v>45578</c:v>
                </c:pt>
                <c:pt idx="77">
                  <c:v>45585</c:v>
                </c:pt>
                <c:pt idx="78">
                  <c:v>45592</c:v>
                </c:pt>
                <c:pt idx="79">
                  <c:v>45599</c:v>
                </c:pt>
                <c:pt idx="80">
                  <c:v>45606</c:v>
                </c:pt>
                <c:pt idx="81">
                  <c:v>45613</c:v>
                </c:pt>
                <c:pt idx="82">
                  <c:v>45620</c:v>
                </c:pt>
                <c:pt idx="83">
                  <c:v>45627</c:v>
                </c:pt>
                <c:pt idx="84">
                  <c:v>45634</c:v>
                </c:pt>
                <c:pt idx="85">
                  <c:v>45641</c:v>
                </c:pt>
                <c:pt idx="86">
                  <c:v>45648</c:v>
                </c:pt>
                <c:pt idx="87">
                  <c:v>45655</c:v>
                </c:pt>
                <c:pt idx="88">
                  <c:v>45662</c:v>
                </c:pt>
                <c:pt idx="89">
                  <c:v>45669</c:v>
                </c:pt>
                <c:pt idx="90">
                  <c:v>45676</c:v>
                </c:pt>
                <c:pt idx="91">
                  <c:v>45683</c:v>
                </c:pt>
              </c:numCache>
            </c:numRef>
          </c:cat>
          <c:val>
            <c:numRef>
              <c:f>Sheet1!$C$2:$C$93</c:f>
              <c:numCache>
                <c:formatCode>General</c:formatCode>
                <c:ptCount val="92"/>
                <c:pt idx="0">
                  <c:v>172166</c:v>
                </c:pt>
                <c:pt idx="1">
                  <c:v>253812</c:v>
                </c:pt>
                <c:pt idx="2">
                  <c:v>260415</c:v>
                </c:pt>
                <c:pt idx="3">
                  <c:v>207675</c:v>
                </c:pt>
                <c:pt idx="4">
                  <c:v>225339</c:v>
                </c:pt>
                <c:pt idx="5">
                  <c:v>210860</c:v>
                </c:pt>
                <c:pt idx="6">
                  <c:v>221454</c:v>
                </c:pt>
                <c:pt idx="7">
                  <c:v>193408</c:v>
                </c:pt>
                <c:pt idx="8">
                  <c:v>235665</c:v>
                </c:pt>
                <c:pt idx="9">
                  <c:v>191153</c:v>
                </c:pt>
                <c:pt idx="10">
                  <c:v>234055</c:v>
                </c:pt>
                <c:pt idx="11">
                  <c:v>291802</c:v>
                </c:pt>
                <c:pt idx="12">
                  <c:v>206654</c:v>
                </c:pt>
                <c:pt idx="13">
                  <c:v>211694</c:v>
                </c:pt>
                <c:pt idx="14">
                  <c:v>22119</c:v>
                </c:pt>
                <c:pt idx="15">
                  <c:v>13587</c:v>
                </c:pt>
                <c:pt idx="16">
                  <c:v>15619</c:v>
                </c:pt>
                <c:pt idx="17">
                  <c:v>9485</c:v>
                </c:pt>
                <c:pt idx="18">
                  <c:v>38000</c:v>
                </c:pt>
                <c:pt idx="19">
                  <c:v>225292</c:v>
                </c:pt>
                <c:pt idx="20">
                  <c:v>219789</c:v>
                </c:pt>
                <c:pt idx="21">
                  <c:v>220492</c:v>
                </c:pt>
                <c:pt idx="22">
                  <c:v>244728</c:v>
                </c:pt>
                <c:pt idx="23">
                  <c:v>215148</c:v>
                </c:pt>
                <c:pt idx="24">
                  <c:v>226940</c:v>
                </c:pt>
                <c:pt idx="25">
                  <c:v>256861</c:v>
                </c:pt>
                <c:pt idx="26">
                  <c:v>273356</c:v>
                </c:pt>
                <c:pt idx="27">
                  <c:v>275825</c:v>
                </c:pt>
                <c:pt idx="28">
                  <c:v>205352</c:v>
                </c:pt>
                <c:pt idx="29">
                  <c:v>203403</c:v>
                </c:pt>
                <c:pt idx="30">
                  <c:v>261794</c:v>
                </c:pt>
                <c:pt idx="31">
                  <c:v>103</c:v>
                </c:pt>
                <c:pt idx="32">
                  <c:v>40</c:v>
                </c:pt>
                <c:pt idx="33">
                  <c:v>456</c:v>
                </c:pt>
                <c:pt idx="34">
                  <c:v>186849</c:v>
                </c:pt>
                <c:pt idx="35">
                  <c:v>227013</c:v>
                </c:pt>
                <c:pt idx="36">
                  <c:v>227849</c:v>
                </c:pt>
                <c:pt idx="37">
                  <c:v>226010</c:v>
                </c:pt>
                <c:pt idx="38">
                  <c:v>780</c:v>
                </c:pt>
                <c:pt idx="39">
                  <c:v>117</c:v>
                </c:pt>
                <c:pt idx="40">
                  <c:v>51</c:v>
                </c:pt>
                <c:pt idx="41">
                  <c:v>96</c:v>
                </c:pt>
                <c:pt idx="42">
                  <c:v>9508</c:v>
                </c:pt>
                <c:pt idx="43">
                  <c:v>250418</c:v>
                </c:pt>
                <c:pt idx="44">
                  <c:v>240158</c:v>
                </c:pt>
                <c:pt idx="45">
                  <c:v>221312</c:v>
                </c:pt>
                <c:pt idx="46">
                  <c:v>248756</c:v>
                </c:pt>
                <c:pt idx="47">
                  <c:v>220819</c:v>
                </c:pt>
                <c:pt idx="48">
                  <c:v>212413</c:v>
                </c:pt>
                <c:pt idx="49">
                  <c:v>230323</c:v>
                </c:pt>
                <c:pt idx="50">
                  <c:v>247648</c:v>
                </c:pt>
                <c:pt idx="51">
                  <c:v>260415</c:v>
                </c:pt>
                <c:pt idx="52">
                  <c:v>169548</c:v>
                </c:pt>
                <c:pt idx="53">
                  <c:v>120659</c:v>
                </c:pt>
                <c:pt idx="54">
                  <c:v>131631</c:v>
                </c:pt>
                <c:pt idx="55">
                  <c:v>157361</c:v>
                </c:pt>
                <c:pt idx="56">
                  <c:v>174276</c:v>
                </c:pt>
                <c:pt idx="57">
                  <c:v>177673</c:v>
                </c:pt>
                <c:pt idx="58">
                  <c:v>137772</c:v>
                </c:pt>
                <c:pt idx="59">
                  <c:v>157896</c:v>
                </c:pt>
                <c:pt idx="60">
                  <c:v>15818</c:v>
                </c:pt>
                <c:pt idx="61">
                  <c:v>3145</c:v>
                </c:pt>
                <c:pt idx="62">
                  <c:v>2297</c:v>
                </c:pt>
                <c:pt idx="63">
                  <c:v>3762</c:v>
                </c:pt>
                <c:pt idx="64">
                  <c:v>13365</c:v>
                </c:pt>
                <c:pt idx="65">
                  <c:v>18083</c:v>
                </c:pt>
                <c:pt idx="66">
                  <c:v>161472</c:v>
                </c:pt>
                <c:pt idx="67">
                  <c:v>147962</c:v>
                </c:pt>
                <c:pt idx="68">
                  <c:v>156460</c:v>
                </c:pt>
                <c:pt idx="69">
                  <c:v>147124</c:v>
                </c:pt>
                <c:pt idx="70">
                  <c:v>158578</c:v>
                </c:pt>
                <c:pt idx="71">
                  <c:v>182286</c:v>
                </c:pt>
                <c:pt idx="72">
                  <c:v>171706</c:v>
                </c:pt>
                <c:pt idx="73">
                  <c:v>172103</c:v>
                </c:pt>
                <c:pt idx="74">
                  <c:v>166994</c:v>
                </c:pt>
                <c:pt idx="75">
                  <c:v>172463</c:v>
                </c:pt>
                <c:pt idx="76">
                  <c:v>186980</c:v>
                </c:pt>
                <c:pt idx="77">
                  <c:v>154429</c:v>
                </c:pt>
                <c:pt idx="78">
                  <c:v>166645</c:v>
                </c:pt>
                <c:pt idx="79">
                  <c:v>0</c:v>
                </c:pt>
                <c:pt idx="80">
                  <c:v>181</c:v>
                </c:pt>
                <c:pt idx="81">
                  <c:v>633</c:v>
                </c:pt>
                <c:pt idx="82">
                  <c:v>19</c:v>
                </c:pt>
                <c:pt idx="83">
                  <c:v>24</c:v>
                </c:pt>
                <c:pt idx="84">
                  <c:v>29229</c:v>
                </c:pt>
                <c:pt idx="85">
                  <c:v>169291</c:v>
                </c:pt>
                <c:pt idx="86">
                  <c:v>162908</c:v>
                </c:pt>
                <c:pt idx="87">
                  <c:v>137342</c:v>
                </c:pt>
                <c:pt idx="88">
                  <c:v>17266</c:v>
                </c:pt>
                <c:pt idx="89">
                  <c:v>0</c:v>
                </c:pt>
                <c:pt idx="90">
                  <c:v>115</c:v>
                </c:pt>
                <c:pt idx="91">
                  <c:v>147</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93</c:f>
              <c:numCache>
                <c:formatCode>yyyy\-mm\-dd</c:formatCode>
                <c:ptCount val="92"/>
                <c:pt idx="0">
                  <c:v>44934</c:v>
                </c:pt>
                <c:pt idx="1">
                  <c:v>44941</c:v>
                </c:pt>
                <c:pt idx="2">
                  <c:v>44948</c:v>
                </c:pt>
                <c:pt idx="3">
                  <c:v>44955</c:v>
                </c:pt>
                <c:pt idx="4">
                  <c:v>44997</c:v>
                </c:pt>
                <c:pt idx="5">
                  <c:v>45004</c:v>
                </c:pt>
                <c:pt idx="6">
                  <c:v>45011</c:v>
                </c:pt>
                <c:pt idx="7">
                  <c:v>45018</c:v>
                </c:pt>
                <c:pt idx="8">
                  <c:v>45025</c:v>
                </c:pt>
                <c:pt idx="9">
                  <c:v>45032</c:v>
                </c:pt>
                <c:pt idx="10">
                  <c:v>45039</c:v>
                </c:pt>
                <c:pt idx="11">
                  <c:v>45046</c:v>
                </c:pt>
                <c:pt idx="12">
                  <c:v>45067</c:v>
                </c:pt>
                <c:pt idx="13">
                  <c:v>45074</c:v>
                </c:pt>
                <c:pt idx="14">
                  <c:v>45081</c:v>
                </c:pt>
                <c:pt idx="15">
                  <c:v>45088</c:v>
                </c:pt>
                <c:pt idx="16">
                  <c:v>45095</c:v>
                </c:pt>
                <c:pt idx="17">
                  <c:v>45102</c:v>
                </c:pt>
                <c:pt idx="18">
                  <c:v>45109</c:v>
                </c:pt>
                <c:pt idx="19">
                  <c:v>45116</c:v>
                </c:pt>
                <c:pt idx="20">
                  <c:v>45123</c:v>
                </c:pt>
                <c:pt idx="21">
                  <c:v>45165</c:v>
                </c:pt>
                <c:pt idx="22">
                  <c:v>45172</c:v>
                </c:pt>
                <c:pt idx="23">
                  <c:v>45179</c:v>
                </c:pt>
                <c:pt idx="24">
                  <c:v>45186</c:v>
                </c:pt>
                <c:pt idx="25">
                  <c:v>45200</c:v>
                </c:pt>
                <c:pt idx="26">
                  <c:v>45207</c:v>
                </c:pt>
                <c:pt idx="27">
                  <c:v>45214</c:v>
                </c:pt>
                <c:pt idx="28">
                  <c:v>45221</c:v>
                </c:pt>
                <c:pt idx="29">
                  <c:v>45228</c:v>
                </c:pt>
                <c:pt idx="30">
                  <c:v>45235</c:v>
                </c:pt>
                <c:pt idx="31">
                  <c:v>45242</c:v>
                </c:pt>
                <c:pt idx="32">
                  <c:v>45249</c:v>
                </c:pt>
                <c:pt idx="33">
                  <c:v>45256</c:v>
                </c:pt>
                <c:pt idx="34">
                  <c:v>45263</c:v>
                </c:pt>
                <c:pt idx="35">
                  <c:v>45270</c:v>
                </c:pt>
                <c:pt idx="36">
                  <c:v>45277</c:v>
                </c:pt>
                <c:pt idx="37">
                  <c:v>45284</c:v>
                </c:pt>
                <c:pt idx="38">
                  <c:v>45291</c:v>
                </c:pt>
                <c:pt idx="39">
                  <c:v>45298</c:v>
                </c:pt>
                <c:pt idx="40">
                  <c:v>45305</c:v>
                </c:pt>
                <c:pt idx="41">
                  <c:v>45312</c:v>
                </c:pt>
                <c:pt idx="42">
                  <c:v>45319</c:v>
                </c:pt>
                <c:pt idx="43">
                  <c:v>45326</c:v>
                </c:pt>
                <c:pt idx="44">
                  <c:v>45333</c:v>
                </c:pt>
                <c:pt idx="45">
                  <c:v>45340</c:v>
                </c:pt>
                <c:pt idx="46">
                  <c:v>45347</c:v>
                </c:pt>
                <c:pt idx="47">
                  <c:v>45354</c:v>
                </c:pt>
                <c:pt idx="48">
                  <c:v>45361</c:v>
                </c:pt>
                <c:pt idx="49">
                  <c:v>45368</c:v>
                </c:pt>
                <c:pt idx="50">
                  <c:v>45375</c:v>
                </c:pt>
                <c:pt idx="51">
                  <c:v>45382</c:v>
                </c:pt>
                <c:pt idx="52">
                  <c:v>45389</c:v>
                </c:pt>
                <c:pt idx="53">
                  <c:v>45396</c:v>
                </c:pt>
                <c:pt idx="54">
                  <c:v>45403</c:v>
                </c:pt>
                <c:pt idx="55">
                  <c:v>45410</c:v>
                </c:pt>
                <c:pt idx="56">
                  <c:v>45417</c:v>
                </c:pt>
                <c:pt idx="57">
                  <c:v>45424</c:v>
                </c:pt>
                <c:pt idx="58">
                  <c:v>45431</c:v>
                </c:pt>
                <c:pt idx="59">
                  <c:v>45438</c:v>
                </c:pt>
                <c:pt idx="60">
                  <c:v>45445</c:v>
                </c:pt>
                <c:pt idx="61">
                  <c:v>45452</c:v>
                </c:pt>
                <c:pt idx="62">
                  <c:v>45459</c:v>
                </c:pt>
                <c:pt idx="63">
                  <c:v>45466</c:v>
                </c:pt>
                <c:pt idx="64">
                  <c:v>45473</c:v>
                </c:pt>
                <c:pt idx="65">
                  <c:v>45480</c:v>
                </c:pt>
                <c:pt idx="66">
                  <c:v>45487</c:v>
                </c:pt>
                <c:pt idx="67">
                  <c:v>45508</c:v>
                </c:pt>
                <c:pt idx="68">
                  <c:v>45515</c:v>
                </c:pt>
                <c:pt idx="69">
                  <c:v>45522</c:v>
                </c:pt>
                <c:pt idx="70">
                  <c:v>45529</c:v>
                </c:pt>
                <c:pt idx="71">
                  <c:v>45536</c:v>
                </c:pt>
                <c:pt idx="72">
                  <c:v>45543</c:v>
                </c:pt>
                <c:pt idx="73">
                  <c:v>45550</c:v>
                </c:pt>
                <c:pt idx="74">
                  <c:v>45557</c:v>
                </c:pt>
                <c:pt idx="75">
                  <c:v>45564</c:v>
                </c:pt>
                <c:pt idx="76">
                  <c:v>45578</c:v>
                </c:pt>
                <c:pt idx="77">
                  <c:v>45585</c:v>
                </c:pt>
                <c:pt idx="78">
                  <c:v>45592</c:v>
                </c:pt>
                <c:pt idx="79">
                  <c:v>45599</c:v>
                </c:pt>
                <c:pt idx="80">
                  <c:v>45606</c:v>
                </c:pt>
                <c:pt idx="81">
                  <c:v>45613</c:v>
                </c:pt>
                <c:pt idx="82">
                  <c:v>45620</c:v>
                </c:pt>
                <c:pt idx="83">
                  <c:v>45627</c:v>
                </c:pt>
                <c:pt idx="84">
                  <c:v>45634</c:v>
                </c:pt>
                <c:pt idx="85">
                  <c:v>45641</c:v>
                </c:pt>
                <c:pt idx="86">
                  <c:v>45648</c:v>
                </c:pt>
                <c:pt idx="87">
                  <c:v>45655</c:v>
                </c:pt>
                <c:pt idx="88">
                  <c:v>45662</c:v>
                </c:pt>
                <c:pt idx="89">
                  <c:v>45669</c:v>
                </c:pt>
                <c:pt idx="90">
                  <c:v>45676</c:v>
                </c:pt>
                <c:pt idx="91">
                  <c:v>45683</c:v>
                </c:pt>
              </c:numCache>
            </c:numRef>
          </c:cat>
          <c:val>
            <c:numRef>
              <c:f>Sheet1!$D$2:$D$93</c:f>
              <c:numCache>
                <c:formatCode>General</c:formatCode>
                <c:ptCount val="92"/>
                <c:pt idx="0">
                  <c:v>245941</c:v>
                </c:pt>
                <c:pt idx="1">
                  <c:v>284909</c:v>
                </c:pt>
                <c:pt idx="2">
                  <c:v>287557</c:v>
                </c:pt>
                <c:pt idx="3">
                  <c:v>278307</c:v>
                </c:pt>
                <c:pt idx="4">
                  <c:v>304580</c:v>
                </c:pt>
                <c:pt idx="5">
                  <c:v>324842</c:v>
                </c:pt>
                <c:pt idx="6">
                  <c:v>311173</c:v>
                </c:pt>
                <c:pt idx="7">
                  <c:v>281406</c:v>
                </c:pt>
                <c:pt idx="8">
                  <c:v>313294</c:v>
                </c:pt>
                <c:pt idx="9">
                  <c:v>274940</c:v>
                </c:pt>
                <c:pt idx="10">
                  <c:v>333720</c:v>
                </c:pt>
                <c:pt idx="11">
                  <c:v>294600</c:v>
                </c:pt>
                <c:pt idx="12">
                  <c:v>276710</c:v>
                </c:pt>
                <c:pt idx="13">
                  <c:v>292283</c:v>
                </c:pt>
                <c:pt idx="14">
                  <c:v>304507</c:v>
                </c:pt>
                <c:pt idx="15">
                  <c:v>352270</c:v>
                </c:pt>
                <c:pt idx="16">
                  <c:v>357571</c:v>
                </c:pt>
                <c:pt idx="17">
                  <c:v>349364</c:v>
                </c:pt>
                <c:pt idx="18">
                  <c:v>378173</c:v>
                </c:pt>
                <c:pt idx="19">
                  <c:v>302613</c:v>
                </c:pt>
                <c:pt idx="20">
                  <c:v>285159</c:v>
                </c:pt>
                <c:pt idx="21">
                  <c:v>318273</c:v>
                </c:pt>
                <c:pt idx="22">
                  <c:v>318513</c:v>
                </c:pt>
                <c:pt idx="23">
                  <c:v>312077</c:v>
                </c:pt>
                <c:pt idx="24">
                  <c:v>290203</c:v>
                </c:pt>
                <c:pt idx="25">
                  <c:v>273996</c:v>
                </c:pt>
                <c:pt idx="26">
                  <c:v>291454</c:v>
                </c:pt>
                <c:pt idx="27">
                  <c:v>289140</c:v>
                </c:pt>
                <c:pt idx="28">
                  <c:v>304392</c:v>
                </c:pt>
                <c:pt idx="29">
                  <c:v>309409</c:v>
                </c:pt>
                <c:pt idx="30">
                  <c:v>354550</c:v>
                </c:pt>
                <c:pt idx="31">
                  <c:v>367210</c:v>
                </c:pt>
                <c:pt idx="32">
                  <c:v>345062</c:v>
                </c:pt>
                <c:pt idx="33">
                  <c:v>312331</c:v>
                </c:pt>
                <c:pt idx="34">
                  <c:v>287966</c:v>
                </c:pt>
                <c:pt idx="35">
                  <c:v>317351</c:v>
                </c:pt>
                <c:pt idx="36">
                  <c:v>334928</c:v>
                </c:pt>
                <c:pt idx="37">
                  <c:v>448983</c:v>
                </c:pt>
                <c:pt idx="38">
                  <c:v>318522</c:v>
                </c:pt>
                <c:pt idx="39">
                  <c:v>355462</c:v>
                </c:pt>
                <c:pt idx="40">
                  <c:v>408199</c:v>
                </c:pt>
                <c:pt idx="41">
                  <c:v>359655</c:v>
                </c:pt>
                <c:pt idx="42">
                  <c:v>323618</c:v>
                </c:pt>
                <c:pt idx="43">
                  <c:v>276896</c:v>
                </c:pt>
                <c:pt idx="44">
                  <c:v>266755</c:v>
                </c:pt>
                <c:pt idx="45">
                  <c:v>243078</c:v>
                </c:pt>
                <c:pt idx="46">
                  <c:v>274415</c:v>
                </c:pt>
                <c:pt idx="47">
                  <c:v>298211</c:v>
                </c:pt>
                <c:pt idx="48">
                  <c:v>311797</c:v>
                </c:pt>
                <c:pt idx="49">
                  <c:v>302360</c:v>
                </c:pt>
                <c:pt idx="50">
                  <c:v>272508</c:v>
                </c:pt>
                <c:pt idx="51">
                  <c:v>270917</c:v>
                </c:pt>
                <c:pt idx="52">
                  <c:v>253673</c:v>
                </c:pt>
                <c:pt idx="53">
                  <c:v>303756</c:v>
                </c:pt>
                <c:pt idx="54">
                  <c:v>303208</c:v>
                </c:pt>
                <c:pt idx="55">
                  <c:v>260938</c:v>
                </c:pt>
                <c:pt idx="56">
                  <c:v>228263</c:v>
                </c:pt>
                <c:pt idx="57">
                  <c:v>213726</c:v>
                </c:pt>
                <c:pt idx="58">
                  <c:v>199537</c:v>
                </c:pt>
                <c:pt idx="59">
                  <c:v>209855</c:v>
                </c:pt>
                <c:pt idx="60">
                  <c:v>209648</c:v>
                </c:pt>
                <c:pt idx="61">
                  <c:v>241304</c:v>
                </c:pt>
                <c:pt idx="62">
                  <c:v>238890</c:v>
                </c:pt>
                <c:pt idx="63">
                  <c:v>234071</c:v>
                </c:pt>
                <c:pt idx="64">
                  <c:v>241372</c:v>
                </c:pt>
                <c:pt idx="65">
                  <c:v>245574</c:v>
                </c:pt>
                <c:pt idx="66">
                  <c:v>187713</c:v>
                </c:pt>
                <c:pt idx="67">
                  <c:v>197274</c:v>
                </c:pt>
                <c:pt idx="68">
                  <c:v>212655</c:v>
                </c:pt>
                <c:pt idx="69">
                  <c:v>208814</c:v>
                </c:pt>
                <c:pt idx="70">
                  <c:v>213404</c:v>
                </c:pt>
                <c:pt idx="71">
                  <c:v>195904</c:v>
                </c:pt>
                <c:pt idx="72">
                  <c:v>186348</c:v>
                </c:pt>
                <c:pt idx="73">
                  <c:v>185541</c:v>
                </c:pt>
                <c:pt idx="74">
                  <c:v>181607</c:v>
                </c:pt>
                <c:pt idx="75">
                  <c:v>188080</c:v>
                </c:pt>
                <c:pt idx="76">
                  <c:v>187890</c:v>
                </c:pt>
                <c:pt idx="77">
                  <c:v>200949</c:v>
                </c:pt>
                <c:pt idx="78">
                  <c:v>221561</c:v>
                </c:pt>
                <c:pt idx="79">
                  <c:v>247723</c:v>
                </c:pt>
                <c:pt idx="80">
                  <c:v>259638</c:v>
                </c:pt>
                <c:pt idx="81">
                  <c:v>249169</c:v>
                </c:pt>
                <c:pt idx="82">
                  <c:v>241771</c:v>
                </c:pt>
                <c:pt idx="83">
                  <c:v>222019</c:v>
                </c:pt>
                <c:pt idx="84">
                  <c:v>219175</c:v>
                </c:pt>
                <c:pt idx="85">
                  <c:v>225809</c:v>
                </c:pt>
                <c:pt idx="86">
                  <c:v>239189</c:v>
                </c:pt>
                <c:pt idx="87">
                  <c:v>202677</c:v>
                </c:pt>
                <c:pt idx="88">
                  <c:v>218991</c:v>
                </c:pt>
                <c:pt idx="89">
                  <c:v>281649</c:v>
                </c:pt>
                <c:pt idx="90">
                  <c:v>297192</c:v>
                </c:pt>
                <c:pt idx="91">
                  <c:v>269628</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93</c:f>
              <c:numCache>
                <c:formatCode>yyyy\-mm\-dd</c:formatCode>
                <c:ptCount val="92"/>
                <c:pt idx="0">
                  <c:v>44934</c:v>
                </c:pt>
                <c:pt idx="1">
                  <c:v>44941</c:v>
                </c:pt>
                <c:pt idx="2">
                  <c:v>44948</c:v>
                </c:pt>
                <c:pt idx="3">
                  <c:v>44955</c:v>
                </c:pt>
                <c:pt idx="4">
                  <c:v>44997</c:v>
                </c:pt>
                <c:pt idx="5">
                  <c:v>45004</c:v>
                </c:pt>
                <c:pt idx="6">
                  <c:v>45011</c:v>
                </c:pt>
                <c:pt idx="7">
                  <c:v>45018</c:v>
                </c:pt>
                <c:pt idx="8">
                  <c:v>45025</c:v>
                </c:pt>
                <c:pt idx="9">
                  <c:v>45032</c:v>
                </c:pt>
                <c:pt idx="10">
                  <c:v>45039</c:v>
                </c:pt>
                <c:pt idx="11">
                  <c:v>45046</c:v>
                </c:pt>
                <c:pt idx="12">
                  <c:v>45067</c:v>
                </c:pt>
                <c:pt idx="13">
                  <c:v>45074</c:v>
                </c:pt>
                <c:pt idx="14">
                  <c:v>45081</c:v>
                </c:pt>
                <c:pt idx="15">
                  <c:v>45088</c:v>
                </c:pt>
                <c:pt idx="16">
                  <c:v>45095</c:v>
                </c:pt>
                <c:pt idx="17">
                  <c:v>45102</c:v>
                </c:pt>
                <c:pt idx="18">
                  <c:v>45109</c:v>
                </c:pt>
                <c:pt idx="19">
                  <c:v>45116</c:v>
                </c:pt>
                <c:pt idx="20">
                  <c:v>45123</c:v>
                </c:pt>
                <c:pt idx="21">
                  <c:v>45165</c:v>
                </c:pt>
                <c:pt idx="22">
                  <c:v>45172</c:v>
                </c:pt>
                <c:pt idx="23">
                  <c:v>45179</c:v>
                </c:pt>
                <c:pt idx="24">
                  <c:v>45186</c:v>
                </c:pt>
                <c:pt idx="25">
                  <c:v>45200</c:v>
                </c:pt>
                <c:pt idx="26">
                  <c:v>45207</c:v>
                </c:pt>
                <c:pt idx="27">
                  <c:v>45214</c:v>
                </c:pt>
                <c:pt idx="28">
                  <c:v>45221</c:v>
                </c:pt>
                <c:pt idx="29">
                  <c:v>45228</c:v>
                </c:pt>
                <c:pt idx="30">
                  <c:v>45235</c:v>
                </c:pt>
                <c:pt idx="31">
                  <c:v>45242</c:v>
                </c:pt>
                <c:pt idx="32">
                  <c:v>45249</c:v>
                </c:pt>
                <c:pt idx="33">
                  <c:v>45256</c:v>
                </c:pt>
                <c:pt idx="34">
                  <c:v>45263</c:v>
                </c:pt>
                <c:pt idx="35">
                  <c:v>45270</c:v>
                </c:pt>
                <c:pt idx="36">
                  <c:v>45277</c:v>
                </c:pt>
                <c:pt idx="37">
                  <c:v>45284</c:v>
                </c:pt>
                <c:pt idx="38">
                  <c:v>45291</c:v>
                </c:pt>
                <c:pt idx="39">
                  <c:v>45298</c:v>
                </c:pt>
                <c:pt idx="40">
                  <c:v>45305</c:v>
                </c:pt>
                <c:pt idx="41">
                  <c:v>45312</c:v>
                </c:pt>
                <c:pt idx="42">
                  <c:v>45319</c:v>
                </c:pt>
                <c:pt idx="43">
                  <c:v>45326</c:v>
                </c:pt>
                <c:pt idx="44">
                  <c:v>45333</c:v>
                </c:pt>
                <c:pt idx="45">
                  <c:v>45340</c:v>
                </c:pt>
                <c:pt idx="46">
                  <c:v>45347</c:v>
                </c:pt>
                <c:pt idx="47">
                  <c:v>45354</c:v>
                </c:pt>
                <c:pt idx="48">
                  <c:v>45361</c:v>
                </c:pt>
                <c:pt idx="49">
                  <c:v>45368</c:v>
                </c:pt>
                <c:pt idx="50">
                  <c:v>45375</c:v>
                </c:pt>
                <c:pt idx="51">
                  <c:v>45382</c:v>
                </c:pt>
                <c:pt idx="52">
                  <c:v>45389</c:v>
                </c:pt>
                <c:pt idx="53">
                  <c:v>45396</c:v>
                </c:pt>
                <c:pt idx="54">
                  <c:v>45403</c:v>
                </c:pt>
                <c:pt idx="55">
                  <c:v>45410</c:v>
                </c:pt>
                <c:pt idx="56">
                  <c:v>45417</c:v>
                </c:pt>
                <c:pt idx="57">
                  <c:v>45424</c:v>
                </c:pt>
                <c:pt idx="58">
                  <c:v>45431</c:v>
                </c:pt>
                <c:pt idx="59">
                  <c:v>45438</c:v>
                </c:pt>
                <c:pt idx="60">
                  <c:v>45445</c:v>
                </c:pt>
                <c:pt idx="61">
                  <c:v>45452</c:v>
                </c:pt>
                <c:pt idx="62">
                  <c:v>45459</c:v>
                </c:pt>
                <c:pt idx="63">
                  <c:v>45466</c:v>
                </c:pt>
                <c:pt idx="64">
                  <c:v>45473</c:v>
                </c:pt>
                <c:pt idx="65">
                  <c:v>45480</c:v>
                </c:pt>
                <c:pt idx="66">
                  <c:v>45487</c:v>
                </c:pt>
                <c:pt idx="67">
                  <c:v>45508</c:v>
                </c:pt>
                <c:pt idx="68">
                  <c:v>45515</c:v>
                </c:pt>
                <c:pt idx="69">
                  <c:v>45522</c:v>
                </c:pt>
                <c:pt idx="70">
                  <c:v>45529</c:v>
                </c:pt>
                <c:pt idx="71">
                  <c:v>45536</c:v>
                </c:pt>
                <c:pt idx="72">
                  <c:v>45543</c:v>
                </c:pt>
                <c:pt idx="73">
                  <c:v>45550</c:v>
                </c:pt>
                <c:pt idx="74">
                  <c:v>45557</c:v>
                </c:pt>
                <c:pt idx="75">
                  <c:v>45564</c:v>
                </c:pt>
                <c:pt idx="76">
                  <c:v>45578</c:v>
                </c:pt>
                <c:pt idx="77">
                  <c:v>45585</c:v>
                </c:pt>
                <c:pt idx="78">
                  <c:v>45592</c:v>
                </c:pt>
                <c:pt idx="79">
                  <c:v>45599</c:v>
                </c:pt>
                <c:pt idx="80">
                  <c:v>45606</c:v>
                </c:pt>
                <c:pt idx="81">
                  <c:v>45613</c:v>
                </c:pt>
                <c:pt idx="82">
                  <c:v>45620</c:v>
                </c:pt>
                <c:pt idx="83">
                  <c:v>45627</c:v>
                </c:pt>
                <c:pt idx="84">
                  <c:v>45634</c:v>
                </c:pt>
                <c:pt idx="85">
                  <c:v>45641</c:v>
                </c:pt>
                <c:pt idx="86">
                  <c:v>45648</c:v>
                </c:pt>
                <c:pt idx="87">
                  <c:v>45655</c:v>
                </c:pt>
                <c:pt idx="88">
                  <c:v>45662</c:v>
                </c:pt>
                <c:pt idx="89">
                  <c:v>45669</c:v>
                </c:pt>
                <c:pt idx="90">
                  <c:v>45676</c:v>
                </c:pt>
                <c:pt idx="91">
                  <c:v>45683</c:v>
                </c:pt>
              </c:numCache>
            </c:numRef>
          </c:cat>
          <c:val>
            <c:numRef>
              <c:f>Sheet1!$E$2:$E$93</c:f>
              <c:numCache>
                <c:formatCode>General</c:formatCode>
                <c:ptCount val="92"/>
                <c:pt idx="0">
                  <c:v>273061</c:v>
                </c:pt>
                <c:pt idx="1">
                  <c:v>272544</c:v>
                </c:pt>
                <c:pt idx="2">
                  <c:v>271452</c:v>
                </c:pt>
                <c:pt idx="3">
                  <c:v>267374</c:v>
                </c:pt>
                <c:pt idx="4">
                  <c:v>276001</c:v>
                </c:pt>
                <c:pt idx="5">
                  <c:v>277482</c:v>
                </c:pt>
                <c:pt idx="6">
                  <c:v>275479</c:v>
                </c:pt>
                <c:pt idx="7">
                  <c:v>273403</c:v>
                </c:pt>
                <c:pt idx="8">
                  <c:v>293781</c:v>
                </c:pt>
                <c:pt idx="9">
                  <c:v>286800</c:v>
                </c:pt>
                <c:pt idx="10">
                  <c:v>281856</c:v>
                </c:pt>
                <c:pt idx="11">
                  <c:v>279698</c:v>
                </c:pt>
                <c:pt idx="12">
                  <c:v>280268</c:v>
                </c:pt>
                <c:pt idx="13">
                  <c:v>278355</c:v>
                </c:pt>
                <c:pt idx="14">
                  <c:v>272674</c:v>
                </c:pt>
                <c:pt idx="15">
                  <c:v>267175</c:v>
                </c:pt>
                <c:pt idx="16">
                  <c:v>272538</c:v>
                </c:pt>
                <c:pt idx="17">
                  <c:v>269708</c:v>
                </c:pt>
                <c:pt idx="18">
                  <c:v>279142</c:v>
                </c:pt>
                <c:pt idx="19">
                  <c:v>275873</c:v>
                </c:pt>
                <c:pt idx="20">
                  <c:v>278644</c:v>
                </c:pt>
                <c:pt idx="21">
                  <c:v>280802</c:v>
                </c:pt>
                <c:pt idx="22">
                  <c:v>280992</c:v>
                </c:pt>
                <c:pt idx="23">
                  <c:v>279993</c:v>
                </c:pt>
                <c:pt idx="24">
                  <c:v>280225</c:v>
                </c:pt>
                <c:pt idx="25">
                  <c:v>279488</c:v>
                </c:pt>
                <c:pt idx="26">
                  <c:v>285868</c:v>
                </c:pt>
                <c:pt idx="27">
                  <c:v>294464</c:v>
                </c:pt>
                <c:pt idx="28">
                  <c:v>296557</c:v>
                </c:pt>
                <c:pt idx="29">
                  <c:v>300413</c:v>
                </c:pt>
                <c:pt idx="30">
                  <c:v>304939</c:v>
                </c:pt>
                <c:pt idx="31">
                  <c:v>307678</c:v>
                </c:pt>
                <c:pt idx="32">
                  <c:v>308032</c:v>
                </c:pt>
                <c:pt idx="33">
                  <c:v>305390</c:v>
                </c:pt>
                <c:pt idx="34">
                  <c:v>305410</c:v>
                </c:pt>
                <c:pt idx="35">
                  <c:v>303780</c:v>
                </c:pt>
                <c:pt idx="36">
                  <c:v>303641</c:v>
                </c:pt>
                <c:pt idx="37">
                  <c:v>304475</c:v>
                </c:pt>
                <c:pt idx="38">
                  <c:v>297653</c:v>
                </c:pt>
                <c:pt idx="39">
                  <c:v>304591</c:v>
                </c:pt>
                <c:pt idx="40">
                  <c:v>311091</c:v>
                </c:pt>
                <c:pt idx="41">
                  <c:v>299318</c:v>
                </c:pt>
                <c:pt idx="42">
                  <c:v>276651</c:v>
                </c:pt>
                <c:pt idx="43">
                  <c:v>285986</c:v>
                </c:pt>
                <c:pt idx="44">
                  <c:v>280700</c:v>
                </c:pt>
                <c:pt idx="45">
                  <c:v>276002</c:v>
                </c:pt>
                <c:pt idx="46">
                  <c:v>276356</c:v>
                </c:pt>
                <c:pt idx="47">
                  <c:v>277472</c:v>
                </c:pt>
                <c:pt idx="48">
                  <c:v>272198</c:v>
                </c:pt>
                <c:pt idx="49">
                  <c:v>269526</c:v>
                </c:pt>
                <c:pt idx="50">
                  <c:v>271617</c:v>
                </c:pt>
                <c:pt idx="51">
                  <c:v>267918</c:v>
                </c:pt>
                <c:pt idx="52">
                  <c:v>264087</c:v>
                </c:pt>
                <c:pt idx="53">
                  <c:v>255591</c:v>
                </c:pt>
                <c:pt idx="54">
                  <c:v>247046</c:v>
                </c:pt>
                <c:pt idx="55">
                  <c:v>239033</c:v>
                </c:pt>
                <c:pt idx="56">
                  <c:v>231622</c:v>
                </c:pt>
                <c:pt idx="57">
                  <c:v>227469</c:v>
                </c:pt>
                <c:pt idx="58">
                  <c:v>219789</c:v>
                </c:pt>
                <c:pt idx="59">
                  <c:v>214223</c:v>
                </c:pt>
                <c:pt idx="60">
                  <c:v>211217</c:v>
                </c:pt>
                <c:pt idx="61">
                  <c:v>205235</c:v>
                </c:pt>
                <c:pt idx="62">
                  <c:v>199423</c:v>
                </c:pt>
                <c:pt idx="63">
                  <c:v>196277</c:v>
                </c:pt>
                <c:pt idx="64">
                  <c:v>182251</c:v>
                </c:pt>
                <c:pt idx="65">
                  <c:v>183931</c:v>
                </c:pt>
                <c:pt idx="66">
                  <c:v>185081</c:v>
                </c:pt>
                <c:pt idx="67">
                  <c:v>187572</c:v>
                </c:pt>
                <c:pt idx="68">
                  <c:v>191880</c:v>
                </c:pt>
                <c:pt idx="69">
                  <c:v>191294</c:v>
                </c:pt>
                <c:pt idx="70">
                  <c:v>192601</c:v>
                </c:pt>
                <c:pt idx="71">
                  <c:v>190990</c:v>
                </c:pt>
                <c:pt idx="72">
                  <c:v>191698</c:v>
                </c:pt>
                <c:pt idx="73">
                  <c:v>197462</c:v>
                </c:pt>
                <c:pt idx="74">
                  <c:v>197590</c:v>
                </c:pt>
                <c:pt idx="75">
                  <c:v>196351</c:v>
                </c:pt>
                <c:pt idx="76">
                  <c:v>201608</c:v>
                </c:pt>
                <c:pt idx="77">
                  <c:v>202387</c:v>
                </c:pt>
                <c:pt idx="78">
                  <c:v>205115</c:v>
                </c:pt>
                <c:pt idx="79">
                  <c:v>210116</c:v>
                </c:pt>
                <c:pt idx="80">
                  <c:v>191349</c:v>
                </c:pt>
                <c:pt idx="81">
                  <c:v>192860</c:v>
                </c:pt>
                <c:pt idx="82">
                  <c:v>204034</c:v>
                </c:pt>
                <c:pt idx="83">
                  <c:v>212856</c:v>
                </c:pt>
                <c:pt idx="84">
                  <c:v>204172</c:v>
                </c:pt>
                <c:pt idx="85">
                  <c:v>203804</c:v>
                </c:pt>
                <c:pt idx="86">
                  <c:v>205221</c:v>
                </c:pt>
                <c:pt idx="87">
                  <c:v>204606</c:v>
                </c:pt>
                <c:pt idx="88">
                  <c:v>201373</c:v>
                </c:pt>
                <c:pt idx="89">
                  <c:v>201295</c:v>
                </c:pt>
                <c:pt idx="90">
                  <c:v>204389</c:v>
                </c:pt>
                <c:pt idx="91">
                  <c:v>18931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93</c:f>
              <c:numCache>
                <c:formatCode>yyyy\-mm\-dd</c:formatCode>
                <c:ptCount val="92"/>
                <c:pt idx="0">
                  <c:v>44934</c:v>
                </c:pt>
                <c:pt idx="1">
                  <c:v>44941</c:v>
                </c:pt>
                <c:pt idx="2">
                  <c:v>44948</c:v>
                </c:pt>
                <c:pt idx="3">
                  <c:v>44955</c:v>
                </c:pt>
                <c:pt idx="4">
                  <c:v>44997</c:v>
                </c:pt>
                <c:pt idx="5">
                  <c:v>45004</c:v>
                </c:pt>
                <c:pt idx="6">
                  <c:v>45011</c:v>
                </c:pt>
                <c:pt idx="7">
                  <c:v>45018</c:v>
                </c:pt>
                <c:pt idx="8">
                  <c:v>45025</c:v>
                </c:pt>
                <c:pt idx="9">
                  <c:v>45032</c:v>
                </c:pt>
                <c:pt idx="10">
                  <c:v>45039</c:v>
                </c:pt>
                <c:pt idx="11">
                  <c:v>45046</c:v>
                </c:pt>
                <c:pt idx="12">
                  <c:v>45067</c:v>
                </c:pt>
                <c:pt idx="13">
                  <c:v>45074</c:v>
                </c:pt>
                <c:pt idx="14">
                  <c:v>45081</c:v>
                </c:pt>
                <c:pt idx="15">
                  <c:v>45088</c:v>
                </c:pt>
                <c:pt idx="16">
                  <c:v>45095</c:v>
                </c:pt>
                <c:pt idx="17">
                  <c:v>45102</c:v>
                </c:pt>
                <c:pt idx="18">
                  <c:v>45109</c:v>
                </c:pt>
                <c:pt idx="19">
                  <c:v>45116</c:v>
                </c:pt>
                <c:pt idx="20">
                  <c:v>45123</c:v>
                </c:pt>
                <c:pt idx="21">
                  <c:v>45165</c:v>
                </c:pt>
                <c:pt idx="22">
                  <c:v>45172</c:v>
                </c:pt>
                <c:pt idx="23">
                  <c:v>45179</c:v>
                </c:pt>
                <c:pt idx="24">
                  <c:v>45186</c:v>
                </c:pt>
                <c:pt idx="25">
                  <c:v>45200</c:v>
                </c:pt>
                <c:pt idx="26">
                  <c:v>45207</c:v>
                </c:pt>
                <c:pt idx="27">
                  <c:v>45214</c:v>
                </c:pt>
                <c:pt idx="28">
                  <c:v>45221</c:v>
                </c:pt>
                <c:pt idx="29">
                  <c:v>45228</c:v>
                </c:pt>
                <c:pt idx="30">
                  <c:v>45235</c:v>
                </c:pt>
                <c:pt idx="31">
                  <c:v>45242</c:v>
                </c:pt>
                <c:pt idx="32">
                  <c:v>45249</c:v>
                </c:pt>
                <c:pt idx="33">
                  <c:v>45256</c:v>
                </c:pt>
                <c:pt idx="34">
                  <c:v>45263</c:v>
                </c:pt>
                <c:pt idx="35">
                  <c:v>45270</c:v>
                </c:pt>
                <c:pt idx="36">
                  <c:v>45277</c:v>
                </c:pt>
                <c:pt idx="37">
                  <c:v>45284</c:v>
                </c:pt>
                <c:pt idx="38">
                  <c:v>45291</c:v>
                </c:pt>
                <c:pt idx="39">
                  <c:v>45298</c:v>
                </c:pt>
                <c:pt idx="40">
                  <c:v>45305</c:v>
                </c:pt>
                <c:pt idx="41">
                  <c:v>45312</c:v>
                </c:pt>
                <c:pt idx="42">
                  <c:v>45319</c:v>
                </c:pt>
                <c:pt idx="43">
                  <c:v>45326</c:v>
                </c:pt>
                <c:pt idx="44">
                  <c:v>45333</c:v>
                </c:pt>
                <c:pt idx="45">
                  <c:v>45340</c:v>
                </c:pt>
                <c:pt idx="46">
                  <c:v>45347</c:v>
                </c:pt>
                <c:pt idx="47">
                  <c:v>45354</c:v>
                </c:pt>
                <c:pt idx="48">
                  <c:v>45361</c:v>
                </c:pt>
                <c:pt idx="49">
                  <c:v>45368</c:v>
                </c:pt>
                <c:pt idx="50">
                  <c:v>45375</c:v>
                </c:pt>
                <c:pt idx="51">
                  <c:v>45382</c:v>
                </c:pt>
                <c:pt idx="52">
                  <c:v>45389</c:v>
                </c:pt>
                <c:pt idx="53">
                  <c:v>45396</c:v>
                </c:pt>
                <c:pt idx="54">
                  <c:v>45403</c:v>
                </c:pt>
                <c:pt idx="55">
                  <c:v>45410</c:v>
                </c:pt>
                <c:pt idx="56">
                  <c:v>45417</c:v>
                </c:pt>
                <c:pt idx="57">
                  <c:v>45424</c:v>
                </c:pt>
                <c:pt idx="58">
                  <c:v>45431</c:v>
                </c:pt>
                <c:pt idx="59">
                  <c:v>45438</c:v>
                </c:pt>
                <c:pt idx="60">
                  <c:v>45445</c:v>
                </c:pt>
                <c:pt idx="61">
                  <c:v>45452</c:v>
                </c:pt>
                <c:pt idx="62">
                  <c:v>45459</c:v>
                </c:pt>
                <c:pt idx="63">
                  <c:v>45466</c:v>
                </c:pt>
                <c:pt idx="64">
                  <c:v>45473</c:v>
                </c:pt>
                <c:pt idx="65">
                  <c:v>45480</c:v>
                </c:pt>
                <c:pt idx="66">
                  <c:v>45487</c:v>
                </c:pt>
                <c:pt idx="67">
                  <c:v>45508</c:v>
                </c:pt>
                <c:pt idx="68">
                  <c:v>45515</c:v>
                </c:pt>
                <c:pt idx="69">
                  <c:v>45522</c:v>
                </c:pt>
                <c:pt idx="70">
                  <c:v>45529</c:v>
                </c:pt>
                <c:pt idx="71">
                  <c:v>45536</c:v>
                </c:pt>
                <c:pt idx="72">
                  <c:v>45543</c:v>
                </c:pt>
                <c:pt idx="73">
                  <c:v>45550</c:v>
                </c:pt>
                <c:pt idx="74">
                  <c:v>45557</c:v>
                </c:pt>
                <c:pt idx="75">
                  <c:v>45564</c:v>
                </c:pt>
                <c:pt idx="76">
                  <c:v>45578</c:v>
                </c:pt>
                <c:pt idx="77">
                  <c:v>45585</c:v>
                </c:pt>
                <c:pt idx="78">
                  <c:v>45592</c:v>
                </c:pt>
                <c:pt idx="79">
                  <c:v>45599</c:v>
                </c:pt>
                <c:pt idx="80">
                  <c:v>45606</c:v>
                </c:pt>
                <c:pt idx="81">
                  <c:v>45613</c:v>
                </c:pt>
                <c:pt idx="82">
                  <c:v>45620</c:v>
                </c:pt>
                <c:pt idx="83">
                  <c:v>45627</c:v>
                </c:pt>
                <c:pt idx="84">
                  <c:v>45634</c:v>
                </c:pt>
                <c:pt idx="85">
                  <c:v>45641</c:v>
                </c:pt>
                <c:pt idx="86">
                  <c:v>45648</c:v>
                </c:pt>
                <c:pt idx="87">
                  <c:v>45655</c:v>
                </c:pt>
                <c:pt idx="88">
                  <c:v>45662</c:v>
                </c:pt>
                <c:pt idx="89">
                  <c:v>45669</c:v>
                </c:pt>
                <c:pt idx="90">
                  <c:v>45676</c:v>
                </c:pt>
                <c:pt idx="91">
                  <c:v>45683</c:v>
                </c:pt>
              </c:numCache>
            </c:numRef>
          </c:cat>
          <c:val>
            <c:numRef>
              <c:f>Sheet1!$F$2:$F$93</c:f>
              <c:numCache>
                <c:formatCode>General</c:formatCode>
                <c:ptCount val="92"/>
                <c:pt idx="0">
                  <c:v>0.34</c:v>
                </c:pt>
                <c:pt idx="1">
                  <c:v>0.14000000000000001</c:v>
                </c:pt>
                <c:pt idx="2">
                  <c:v>0.12</c:v>
                </c:pt>
                <c:pt idx="3">
                  <c:v>0.3</c:v>
                </c:pt>
                <c:pt idx="4">
                  <c:v>0.28999999999999998</c:v>
                </c:pt>
                <c:pt idx="5">
                  <c:v>0.41</c:v>
                </c:pt>
                <c:pt idx="6">
                  <c:v>0.35</c:v>
                </c:pt>
                <c:pt idx="7">
                  <c:v>0.35</c:v>
                </c:pt>
                <c:pt idx="8">
                  <c:v>0.28000000000000003</c:v>
                </c:pt>
                <c:pt idx="9">
                  <c:v>0.34</c:v>
                </c:pt>
                <c:pt idx="10">
                  <c:v>0.34</c:v>
                </c:pt>
                <c:pt idx="11">
                  <c:v>0.01</c:v>
                </c:pt>
                <c:pt idx="12">
                  <c:v>0.3</c:v>
                </c:pt>
                <c:pt idx="13">
                  <c:v>0.33</c:v>
                </c:pt>
                <c:pt idx="14">
                  <c:v>0.93</c:v>
                </c:pt>
                <c:pt idx="15">
                  <c:v>0.97</c:v>
                </c:pt>
                <c:pt idx="16">
                  <c:v>0.96</c:v>
                </c:pt>
                <c:pt idx="17">
                  <c:v>0.98</c:v>
                </c:pt>
                <c:pt idx="18">
                  <c:v>0.9</c:v>
                </c:pt>
                <c:pt idx="19">
                  <c:v>0.27</c:v>
                </c:pt>
                <c:pt idx="20">
                  <c:v>0.23</c:v>
                </c:pt>
                <c:pt idx="21">
                  <c:v>0.32</c:v>
                </c:pt>
                <c:pt idx="22">
                  <c:v>0.24</c:v>
                </c:pt>
                <c:pt idx="23">
                  <c:v>0.32</c:v>
                </c:pt>
                <c:pt idx="24">
                  <c:v>0.23</c:v>
                </c:pt>
                <c:pt idx="25">
                  <c:v>0.06</c:v>
                </c:pt>
                <c:pt idx="26">
                  <c:v>0.04</c:v>
                </c:pt>
                <c:pt idx="27">
                  <c:v>0.03</c:v>
                </c:pt>
                <c:pt idx="28">
                  <c:v>0.31</c:v>
                </c:pt>
                <c:pt idx="29">
                  <c:v>0.36</c:v>
                </c:pt>
                <c:pt idx="30">
                  <c:v>0.26</c:v>
                </c:pt>
                <c:pt idx="31">
                  <c:v>1</c:v>
                </c:pt>
                <c:pt idx="32">
                  <c:v>1</c:v>
                </c:pt>
                <c:pt idx="33">
                  <c:v>1</c:v>
                </c:pt>
                <c:pt idx="34">
                  <c:v>0.35</c:v>
                </c:pt>
                <c:pt idx="35">
                  <c:v>0.27</c:v>
                </c:pt>
                <c:pt idx="36">
                  <c:v>0.27</c:v>
                </c:pt>
                <c:pt idx="37">
                  <c:v>0.4</c:v>
                </c:pt>
                <c:pt idx="38">
                  <c:v>1</c:v>
                </c:pt>
                <c:pt idx="39">
                  <c:v>1</c:v>
                </c:pt>
                <c:pt idx="40">
                  <c:v>1</c:v>
                </c:pt>
                <c:pt idx="41">
                  <c:v>1</c:v>
                </c:pt>
                <c:pt idx="42">
                  <c:v>0.97</c:v>
                </c:pt>
                <c:pt idx="43">
                  <c:v>0.09</c:v>
                </c:pt>
                <c:pt idx="44">
                  <c:v>0.1</c:v>
                </c:pt>
                <c:pt idx="45">
                  <c:v>0.09</c:v>
                </c:pt>
                <c:pt idx="46">
                  <c:v>0.09</c:v>
                </c:pt>
                <c:pt idx="47">
                  <c:v>0.26</c:v>
                </c:pt>
                <c:pt idx="48">
                  <c:v>0.31</c:v>
                </c:pt>
                <c:pt idx="49">
                  <c:v>0.23</c:v>
                </c:pt>
                <c:pt idx="50">
                  <c:v>0.1</c:v>
                </c:pt>
                <c:pt idx="51">
                  <c:v>0.04</c:v>
                </c:pt>
                <c:pt idx="52">
                  <c:v>0.34</c:v>
                </c:pt>
                <c:pt idx="53">
                  <c:v>0.62</c:v>
                </c:pt>
                <c:pt idx="54">
                  <c:v>0.59</c:v>
                </c:pt>
                <c:pt idx="55">
                  <c:v>0.4</c:v>
                </c:pt>
                <c:pt idx="56">
                  <c:v>0.24</c:v>
                </c:pt>
                <c:pt idx="57">
                  <c:v>0.18</c:v>
                </c:pt>
                <c:pt idx="58">
                  <c:v>0.32</c:v>
                </c:pt>
                <c:pt idx="59">
                  <c:v>0.26</c:v>
                </c:pt>
                <c:pt idx="60">
                  <c:v>0.93</c:v>
                </c:pt>
                <c:pt idx="61">
                  <c:v>0.99</c:v>
                </c:pt>
                <c:pt idx="62">
                  <c:v>0.99</c:v>
                </c:pt>
                <c:pt idx="63">
                  <c:v>0.99</c:v>
                </c:pt>
                <c:pt idx="64">
                  <c:v>0.95</c:v>
                </c:pt>
                <c:pt idx="65">
                  <c:v>0.93</c:v>
                </c:pt>
                <c:pt idx="66">
                  <c:v>0.14000000000000001</c:v>
                </c:pt>
                <c:pt idx="67">
                  <c:v>0.26</c:v>
                </c:pt>
                <c:pt idx="68">
                  <c:v>0.28000000000000003</c:v>
                </c:pt>
                <c:pt idx="69">
                  <c:v>0.34</c:v>
                </c:pt>
                <c:pt idx="70">
                  <c:v>0.28000000000000003</c:v>
                </c:pt>
                <c:pt idx="71">
                  <c:v>7.0000000000000007E-2</c:v>
                </c:pt>
                <c:pt idx="72">
                  <c:v>0.08</c:v>
                </c:pt>
                <c:pt idx="73">
                  <c:v>7.0000000000000007E-2</c:v>
                </c:pt>
                <c:pt idx="74">
                  <c:v>0.08</c:v>
                </c:pt>
                <c:pt idx="75">
                  <c:v>0.08</c:v>
                </c:pt>
                <c:pt idx="76">
                  <c:v>0</c:v>
                </c:pt>
                <c:pt idx="77">
                  <c:v>0.26</c:v>
                </c:pt>
                <c:pt idx="78">
                  <c:v>0.28999999999999998</c:v>
                </c:pt>
                <c:pt idx="79">
                  <c:v>1</c:v>
                </c:pt>
                <c:pt idx="80">
                  <c:v>1</c:v>
                </c:pt>
                <c:pt idx="81">
                  <c:v>1</c:v>
                </c:pt>
                <c:pt idx="82">
                  <c:v>1</c:v>
                </c:pt>
                <c:pt idx="83">
                  <c:v>1</c:v>
                </c:pt>
                <c:pt idx="84">
                  <c:v>0.87</c:v>
                </c:pt>
                <c:pt idx="85">
                  <c:v>0.26</c:v>
                </c:pt>
                <c:pt idx="86">
                  <c:v>0.34</c:v>
                </c:pt>
                <c:pt idx="87">
                  <c:v>0.36</c:v>
                </c:pt>
                <c:pt idx="88">
                  <c:v>0.93</c:v>
                </c:pt>
                <c:pt idx="89">
                  <c:v>1</c:v>
                </c:pt>
                <c:pt idx="90">
                  <c:v>1</c:v>
                </c:pt>
                <c:pt idx="91">
                  <c:v>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105</c:f>
              <c:numCache>
                <c:formatCode>yyyy\-mm\-dd</c:formatCode>
                <c:ptCount val="104"/>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30</c:v>
                </c:pt>
                <c:pt idx="27">
                  <c:v>45151</c:v>
                </c:pt>
                <c:pt idx="28">
                  <c:v>45158</c:v>
                </c:pt>
                <c:pt idx="29">
                  <c:v>45165</c:v>
                </c:pt>
                <c:pt idx="30">
                  <c:v>45172</c:v>
                </c:pt>
                <c:pt idx="31">
                  <c:v>45179</c:v>
                </c:pt>
                <c:pt idx="32">
                  <c:v>45186</c:v>
                </c:pt>
                <c:pt idx="33">
                  <c:v>45193</c:v>
                </c:pt>
                <c:pt idx="34">
                  <c:v>45200</c:v>
                </c:pt>
                <c:pt idx="35">
                  <c:v>45207</c:v>
                </c:pt>
                <c:pt idx="36">
                  <c:v>45214</c:v>
                </c:pt>
                <c:pt idx="37">
                  <c:v>45221</c:v>
                </c:pt>
                <c:pt idx="38">
                  <c:v>45228</c:v>
                </c:pt>
                <c:pt idx="39">
                  <c:v>45235</c:v>
                </c:pt>
                <c:pt idx="40">
                  <c:v>45242</c:v>
                </c:pt>
                <c:pt idx="41">
                  <c:v>45249</c:v>
                </c:pt>
                <c:pt idx="42">
                  <c:v>45256</c:v>
                </c:pt>
                <c:pt idx="43">
                  <c:v>45263</c:v>
                </c:pt>
                <c:pt idx="44">
                  <c:v>45270</c:v>
                </c:pt>
                <c:pt idx="45">
                  <c:v>45277</c:v>
                </c:pt>
                <c:pt idx="46">
                  <c:v>45284</c:v>
                </c:pt>
                <c:pt idx="47">
                  <c:v>45291</c:v>
                </c:pt>
                <c:pt idx="48">
                  <c:v>45298</c:v>
                </c:pt>
                <c:pt idx="49">
                  <c:v>45305</c:v>
                </c:pt>
                <c:pt idx="50">
                  <c:v>45312</c:v>
                </c:pt>
                <c:pt idx="51">
                  <c:v>45319</c:v>
                </c:pt>
                <c:pt idx="52">
                  <c:v>45326</c:v>
                </c:pt>
                <c:pt idx="53">
                  <c:v>45333</c:v>
                </c:pt>
                <c:pt idx="54">
                  <c:v>45340</c:v>
                </c:pt>
                <c:pt idx="55">
                  <c:v>45347</c:v>
                </c:pt>
                <c:pt idx="56">
                  <c:v>45354</c:v>
                </c:pt>
                <c:pt idx="57">
                  <c:v>45361</c:v>
                </c:pt>
                <c:pt idx="58">
                  <c:v>45368</c:v>
                </c:pt>
                <c:pt idx="59">
                  <c:v>45375</c:v>
                </c:pt>
                <c:pt idx="60">
                  <c:v>45382</c:v>
                </c:pt>
                <c:pt idx="61">
                  <c:v>45389</c:v>
                </c:pt>
                <c:pt idx="62">
                  <c:v>45396</c:v>
                </c:pt>
                <c:pt idx="63">
                  <c:v>45403</c:v>
                </c:pt>
                <c:pt idx="64">
                  <c:v>45410</c:v>
                </c:pt>
                <c:pt idx="65">
                  <c:v>45417</c:v>
                </c:pt>
                <c:pt idx="66">
                  <c:v>45424</c:v>
                </c:pt>
                <c:pt idx="67">
                  <c:v>45431</c:v>
                </c:pt>
                <c:pt idx="68">
                  <c:v>45438</c:v>
                </c:pt>
                <c:pt idx="69">
                  <c:v>45445</c:v>
                </c:pt>
                <c:pt idx="70">
                  <c:v>45452</c:v>
                </c:pt>
                <c:pt idx="71">
                  <c:v>45459</c:v>
                </c:pt>
                <c:pt idx="72">
                  <c:v>45466</c:v>
                </c:pt>
                <c:pt idx="73">
                  <c:v>45473</c:v>
                </c:pt>
                <c:pt idx="74">
                  <c:v>45480</c:v>
                </c:pt>
                <c:pt idx="75">
                  <c:v>45487</c:v>
                </c:pt>
                <c:pt idx="76">
                  <c:v>45494</c:v>
                </c:pt>
                <c:pt idx="77">
                  <c:v>45501</c:v>
                </c:pt>
                <c:pt idx="78">
                  <c:v>45508</c:v>
                </c:pt>
                <c:pt idx="79">
                  <c:v>45515</c:v>
                </c:pt>
                <c:pt idx="80">
                  <c:v>45522</c:v>
                </c:pt>
                <c:pt idx="81">
                  <c:v>45529</c:v>
                </c:pt>
                <c:pt idx="82">
                  <c:v>45536</c:v>
                </c:pt>
                <c:pt idx="83">
                  <c:v>45543</c:v>
                </c:pt>
                <c:pt idx="84">
                  <c:v>45550</c:v>
                </c:pt>
                <c:pt idx="85">
                  <c:v>45557</c:v>
                </c:pt>
                <c:pt idx="86">
                  <c:v>45564</c:v>
                </c:pt>
                <c:pt idx="87">
                  <c:v>45571</c:v>
                </c:pt>
                <c:pt idx="88">
                  <c:v>45578</c:v>
                </c:pt>
                <c:pt idx="89">
                  <c:v>45585</c:v>
                </c:pt>
                <c:pt idx="90">
                  <c:v>45592</c:v>
                </c:pt>
                <c:pt idx="91">
                  <c:v>45599</c:v>
                </c:pt>
                <c:pt idx="92">
                  <c:v>45606</c:v>
                </c:pt>
                <c:pt idx="93">
                  <c:v>45613</c:v>
                </c:pt>
                <c:pt idx="94">
                  <c:v>45620</c:v>
                </c:pt>
                <c:pt idx="95">
                  <c:v>45627</c:v>
                </c:pt>
                <c:pt idx="96">
                  <c:v>45634</c:v>
                </c:pt>
                <c:pt idx="97">
                  <c:v>45641</c:v>
                </c:pt>
                <c:pt idx="98">
                  <c:v>45648</c:v>
                </c:pt>
                <c:pt idx="99">
                  <c:v>45655</c:v>
                </c:pt>
                <c:pt idx="100">
                  <c:v>45662</c:v>
                </c:pt>
                <c:pt idx="101">
                  <c:v>45669</c:v>
                </c:pt>
                <c:pt idx="102">
                  <c:v>45676</c:v>
                </c:pt>
                <c:pt idx="103">
                  <c:v>45683</c:v>
                </c:pt>
              </c:numCache>
            </c:numRef>
          </c:cat>
          <c:val>
            <c:numRef>
              <c:f>Sheet1!$B$2:$B$105</c:f>
              <c:numCache>
                <c:formatCode>General</c:formatCode>
                <c:ptCount val="104"/>
                <c:pt idx="0">
                  <c:v>125180</c:v>
                </c:pt>
                <c:pt idx="1">
                  <c:v>88409</c:v>
                </c:pt>
                <c:pt idx="2">
                  <c:v>89447</c:v>
                </c:pt>
                <c:pt idx="3">
                  <c:v>59726</c:v>
                </c:pt>
                <c:pt idx="4">
                  <c:v>46036</c:v>
                </c:pt>
                <c:pt idx="5">
                  <c:v>64039</c:v>
                </c:pt>
                <c:pt idx="6">
                  <c:v>73915</c:v>
                </c:pt>
                <c:pt idx="7">
                  <c:v>129122</c:v>
                </c:pt>
                <c:pt idx="8">
                  <c:v>92007</c:v>
                </c:pt>
                <c:pt idx="9">
                  <c:v>91984</c:v>
                </c:pt>
                <c:pt idx="10">
                  <c:v>107218</c:v>
                </c:pt>
                <c:pt idx="11">
                  <c:v>114973</c:v>
                </c:pt>
                <c:pt idx="12">
                  <c:v>32310</c:v>
                </c:pt>
                <c:pt idx="13">
                  <c:v>69568</c:v>
                </c:pt>
                <c:pt idx="14">
                  <c:v>94462</c:v>
                </c:pt>
                <c:pt idx="15">
                  <c:v>122577</c:v>
                </c:pt>
                <c:pt idx="16">
                  <c:v>39717</c:v>
                </c:pt>
                <c:pt idx="17">
                  <c:v>10140</c:v>
                </c:pt>
                <c:pt idx="18">
                  <c:v>6383</c:v>
                </c:pt>
                <c:pt idx="19">
                  <c:v>4802</c:v>
                </c:pt>
                <c:pt idx="20">
                  <c:v>5507</c:v>
                </c:pt>
                <c:pt idx="21">
                  <c:v>3840</c:v>
                </c:pt>
                <c:pt idx="22">
                  <c:v>3406</c:v>
                </c:pt>
                <c:pt idx="23">
                  <c:v>2247</c:v>
                </c:pt>
                <c:pt idx="24">
                  <c:v>3999</c:v>
                </c:pt>
                <c:pt idx="25">
                  <c:v>4953</c:v>
                </c:pt>
                <c:pt idx="26">
                  <c:v>145662</c:v>
                </c:pt>
                <c:pt idx="27">
                  <c:v>198410</c:v>
                </c:pt>
                <c:pt idx="28">
                  <c:v>418107</c:v>
                </c:pt>
                <c:pt idx="29">
                  <c:v>426460</c:v>
                </c:pt>
                <c:pt idx="30">
                  <c:v>431924</c:v>
                </c:pt>
                <c:pt idx="31">
                  <c:v>404599</c:v>
                </c:pt>
                <c:pt idx="32">
                  <c:v>372312</c:v>
                </c:pt>
                <c:pt idx="33">
                  <c:v>363831</c:v>
                </c:pt>
                <c:pt idx="34">
                  <c:v>368847</c:v>
                </c:pt>
                <c:pt idx="35">
                  <c:v>403738</c:v>
                </c:pt>
                <c:pt idx="36">
                  <c:v>458127</c:v>
                </c:pt>
                <c:pt idx="37">
                  <c:v>465897</c:v>
                </c:pt>
                <c:pt idx="38">
                  <c:v>444034</c:v>
                </c:pt>
                <c:pt idx="39">
                  <c:v>122355</c:v>
                </c:pt>
                <c:pt idx="40">
                  <c:v>109173</c:v>
                </c:pt>
                <c:pt idx="41">
                  <c:v>131651</c:v>
                </c:pt>
                <c:pt idx="42">
                  <c:v>211172</c:v>
                </c:pt>
                <c:pt idx="43">
                  <c:v>225874</c:v>
                </c:pt>
                <c:pt idx="44">
                  <c:v>341235</c:v>
                </c:pt>
                <c:pt idx="45">
                  <c:v>439590</c:v>
                </c:pt>
                <c:pt idx="46">
                  <c:v>813790</c:v>
                </c:pt>
                <c:pt idx="47">
                  <c:v>1062797</c:v>
                </c:pt>
                <c:pt idx="48">
                  <c:v>85491</c:v>
                </c:pt>
                <c:pt idx="49">
                  <c:v>56733</c:v>
                </c:pt>
                <c:pt idx="50">
                  <c:v>29182</c:v>
                </c:pt>
                <c:pt idx="51">
                  <c:v>15846</c:v>
                </c:pt>
                <c:pt idx="52">
                  <c:v>42772</c:v>
                </c:pt>
                <c:pt idx="53">
                  <c:v>74997</c:v>
                </c:pt>
                <c:pt idx="54">
                  <c:v>124054</c:v>
                </c:pt>
                <c:pt idx="55">
                  <c:v>255150</c:v>
                </c:pt>
                <c:pt idx="56">
                  <c:v>165541</c:v>
                </c:pt>
                <c:pt idx="57">
                  <c:v>116751</c:v>
                </c:pt>
                <c:pt idx="58">
                  <c:v>95083</c:v>
                </c:pt>
                <c:pt idx="59">
                  <c:v>191978</c:v>
                </c:pt>
                <c:pt idx="60">
                  <c:v>136823</c:v>
                </c:pt>
                <c:pt idx="61">
                  <c:v>126990</c:v>
                </c:pt>
                <c:pt idx="62">
                  <c:v>132506</c:v>
                </c:pt>
                <c:pt idx="63">
                  <c:v>184973</c:v>
                </c:pt>
                <c:pt idx="64">
                  <c:v>120847</c:v>
                </c:pt>
                <c:pt idx="65">
                  <c:v>123245</c:v>
                </c:pt>
                <c:pt idx="66">
                  <c:v>111737</c:v>
                </c:pt>
                <c:pt idx="67">
                  <c:v>119185</c:v>
                </c:pt>
                <c:pt idx="68">
                  <c:v>121307</c:v>
                </c:pt>
                <c:pt idx="69">
                  <c:v>1146</c:v>
                </c:pt>
                <c:pt idx="70">
                  <c:v>1941</c:v>
                </c:pt>
                <c:pt idx="71">
                  <c:v>1686</c:v>
                </c:pt>
                <c:pt idx="72">
                  <c:v>3451</c:v>
                </c:pt>
                <c:pt idx="73">
                  <c:v>1179</c:v>
                </c:pt>
                <c:pt idx="74">
                  <c:v>3092</c:v>
                </c:pt>
                <c:pt idx="75">
                  <c:v>28950</c:v>
                </c:pt>
                <c:pt idx="76">
                  <c:v>53278</c:v>
                </c:pt>
                <c:pt idx="77">
                  <c:v>54784</c:v>
                </c:pt>
                <c:pt idx="78">
                  <c:v>52953</c:v>
                </c:pt>
                <c:pt idx="79">
                  <c:v>15426</c:v>
                </c:pt>
                <c:pt idx="80">
                  <c:v>13768</c:v>
                </c:pt>
                <c:pt idx="81">
                  <c:v>1571</c:v>
                </c:pt>
                <c:pt idx="82">
                  <c:v>8979</c:v>
                </c:pt>
                <c:pt idx="83">
                  <c:v>1795</c:v>
                </c:pt>
                <c:pt idx="84">
                  <c:v>2002</c:v>
                </c:pt>
                <c:pt idx="85">
                  <c:v>1765</c:v>
                </c:pt>
                <c:pt idx="86">
                  <c:v>28288</c:v>
                </c:pt>
                <c:pt idx="87">
                  <c:v>69324</c:v>
                </c:pt>
                <c:pt idx="88">
                  <c:v>133417</c:v>
                </c:pt>
                <c:pt idx="89">
                  <c:v>187535</c:v>
                </c:pt>
                <c:pt idx="90">
                  <c:v>132290</c:v>
                </c:pt>
                <c:pt idx="91">
                  <c:v>73051</c:v>
                </c:pt>
                <c:pt idx="92">
                  <c:v>92941</c:v>
                </c:pt>
                <c:pt idx="93">
                  <c:v>162895</c:v>
                </c:pt>
                <c:pt idx="94">
                  <c:v>294214</c:v>
                </c:pt>
                <c:pt idx="95">
                  <c:v>404954</c:v>
                </c:pt>
                <c:pt idx="96">
                  <c:v>486127</c:v>
                </c:pt>
                <c:pt idx="97">
                  <c:v>521428</c:v>
                </c:pt>
                <c:pt idx="98">
                  <c:v>642270</c:v>
                </c:pt>
                <c:pt idx="99">
                  <c:v>904039</c:v>
                </c:pt>
                <c:pt idx="100">
                  <c:v>177095</c:v>
                </c:pt>
                <c:pt idx="101">
                  <c:v>153782</c:v>
                </c:pt>
                <c:pt idx="102">
                  <c:v>151663</c:v>
                </c:pt>
                <c:pt idx="103">
                  <c:v>136679</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105</c:f>
              <c:numCache>
                <c:formatCode>yyyy\-mm\-dd</c:formatCode>
                <c:ptCount val="104"/>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30</c:v>
                </c:pt>
                <c:pt idx="27">
                  <c:v>45151</c:v>
                </c:pt>
                <c:pt idx="28">
                  <c:v>45158</c:v>
                </c:pt>
                <c:pt idx="29">
                  <c:v>45165</c:v>
                </c:pt>
                <c:pt idx="30">
                  <c:v>45172</c:v>
                </c:pt>
                <c:pt idx="31">
                  <c:v>45179</c:v>
                </c:pt>
                <c:pt idx="32">
                  <c:v>45186</c:v>
                </c:pt>
                <c:pt idx="33">
                  <c:v>45193</c:v>
                </c:pt>
                <c:pt idx="34">
                  <c:v>45200</c:v>
                </c:pt>
                <c:pt idx="35">
                  <c:v>45207</c:v>
                </c:pt>
                <c:pt idx="36">
                  <c:v>45214</c:v>
                </c:pt>
                <c:pt idx="37">
                  <c:v>45221</c:v>
                </c:pt>
                <c:pt idx="38">
                  <c:v>45228</c:v>
                </c:pt>
                <c:pt idx="39">
                  <c:v>45235</c:v>
                </c:pt>
                <c:pt idx="40">
                  <c:v>45242</c:v>
                </c:pt>
                <c:pt idx="41">
                  <c:v>45249</c:v>
                </c:pt>
                <c:pt idx="42">
                  <c:v>45256</c:v>
                </c:pt>
                <c:pt idx="43">
                  <c:v>45263</c:v>
                </c:pt>
                <c:pt idx="44">
                  <c:v>45270</c:v>
                </c:pt>
                <c:pt idx="45">
                  <c:v>45277</c:v>
                </c:pt>
                <c:pt idx="46">
                  <c:v>45284</c:v>
                </c:pt>
                <c:pt idx="47">
                  <c:v>45291</c:v>
                </c:pt>
                <c:pt idx="48">
                  <c:v>45298</c:v>
                </c:pt>
                <c:pt idx="49">
                  <c:v>45305</c:v>
                </c:pt>
                <c:pt idx="50">
                  <c:v>45312</c:v>
                </c:pt>
                <c:pt idx="51">
                  <c:v>45319</c:v>
                </c:pt>
                <c:pt idx="52">
                  <c:v>45326</c:v>
                </c:pt>
                <c:pt idx="53">
                  <c:v>45333</c:v>
                </c:pt>
                <c:pt idx="54">
                  <c:v>45340</c:v>
                </c:pt>
                <c:pt idx="55">
                  <c:v>45347</c:v>
                </c:pt>
                <c:pt idx="56">
                  <c:v>45354</c:v>
                </c:pt>
                <c:pt idx="57">
                  <c:v>45361</c:v>
                </c:pt>
                <c:pt idx="58">
                  <c:v>45368</c:v>
                </c:pt>
                <c:pt idx="59">
                  <c:v>45375</c:v>
                </c:pt>
                <c:pt idx="60">
                  <c:v>45382</c:v>
                </c:pt>
                <c:pt idx="61">
                  <c:v>45389</c:v>
                </c:pt>
                <c:pt idx="62">
                  <c:v>45396</c:v>
                </c:pt>
                <c:pt idx="63">
                  <c:v>45403</c:v>
                </c:pt>
                <c:pt idx="64">
                  <c:v>45410</c:v>
                </c:pt>
                <c:pt idx="65">
                  <c:v>45417</c:v>
                </c:pt>
                <c:pt idx="66">
                  <c:v>45424</c:v>
                </c:pt>
                <c:pt idx="67">
                  <c:v>45431</c:v>
                </c:pt>
                <c:pt idx="68">
                  <c:v>45438</c:v>
                </c:pt>
                <c:pt idx="69">
                  <c:v>45445</c:v>
                </c:pt>
                <c:pt idx="70">
                  <c:v>45452</c:v>
                </c:pt>
                <c:pt idx="71">
                  <c:v>45459</c:v>
                </c:pt>
                <c:pt idx="72">
                  <c:v>45466</c:v>
                </c:pt>
                <c:pt idx="73">
                  <c:v>45473</c:v>
                </c:pt>
                <c:pt idx="74">
                  <c:v>45480</c:v>
                </c:pt>
                <c:pt idx="75">
                  <c:v>45487</c:v>
                </c:pt>
                <c:pt idx="76">
                  <c:v>45494</c:v>
                </c:pt>
                <c:pt idx="77">
                  <c:v>45501</c:v>
                </c:pt>
                <c:pt idx="78">
                  <c:v>45508</c:v>
                </c:pt>
                <c:pt idx="79">
                  <c:v>45515</c:v>
                </c:pt>
                <c:pt idx="80">
                  <c:v>45522</c:v>
                </c:pt>
                <c:pt idx="81">
                  <c:v>45529</c:v>
                </c:pt>
                <c:pt idx="82">
                  <c:v>45536</c:v>
                </c:pt>
                <c:pt idx="83">
                  <c:v>45543</c:v>
                </c:pt>
                <c:pt idx="84">
                  <c:v>45550</c:v>
                </c:pt>
                <c:pt idx="85">
                  <c:v>45557</c:v>
                </c:pt>
                <c:pt idx="86">
                  <c:v>45564</c:v>
                </c:pt>
                <c:pt idx="87">
                  <c:v>45571</c:v>
                </c:pt>
                <c:pt idx="88">
                  <c:v>45578</c:v>
                </c:pt>
                <c:pt idx="89">
                  <c:v>45585</c:v>
                </c:pt>
                <c:pt idx="90">
                  <c:v>45592</c:v>
                </c:pt>
                <c:pt idx="91">
                  <c:v>45599</c:v>
                </c:pt>
                <c:pt idx="92">
                  <c:v>45606</c:v>
                </c:pt>
                <c:pt idx="93">
                  <c:v>45613</c:v>
                </c:pt>
                <c:pt idx="94">
                  <c:v>45620</c:v>
                </c:pt>
                <c:pt idx="95">
                  <c:v>45627</c:v>
                </c:pt>
                <c:pt idx="96">
                  <c:v>45634</c:v>
                </c:pt>
                <c:pt idx="97">
                  <c:v>45641</c:v>
                </c:pt>
                <c:pt idx="98">
                  <c:v>45648</c:v>
                </c:pt>
                <c:pt idx="99">
                  <c:v>45655</c:v>
                </c:pt>
                <c:pt idx="100">
                  <c:v>45662</c:v>
                </c:pt>
                <c:pt idx="101">
                  <c:v>45669</c:v>
                </c:pt>
                <c:pt idx="102">
                  <c:v>45676</c:v>
                </c:pt>
                <c:pt idx="103">
                  <c:v>45683</c:v>
                </c:pt>
              </c:numCache>
            </c:numRef>
          </c:cat>
          <c:val>
            <c:numRef>
              <c:f>Sheet1!$C$2:$C$105</c:f>
              <c:numCache>
                <c:formatCode>General</c:formatCode>
                <c:ptCount val="104"/>
                <c:pt idx="0">
                  <c:v>627533</c:v>
                </c:pt>
                <c:pt idx="1">
                  <c:v>624511</c:v>
                </c:pt>
                <c:pt idx="2">
                  <c:v>616456</c:v>
                </c:pt>
                <c:pt idx="3">
                  <c:v>597714</c:v>
                </c:pt>
                <c:pt idx="4">
                  <c:v>621143</c:v>
                </c:pt>
                <c:pt idx="5">
                  <c:v>629988</c:v>
                </c:pt>
                <c:pt idx="6">
                  <c:v>599329</c:v>
                </c:pt>
                <c:pt idx="7">
                  <c:v>619718</c:v>
                </c:pt>
                <c:pt idx="8">
                  <c:v>663577</c:v>
                </c:pt>
                <c:pt idx="9">
                  <c:v>613201</c:v>
                </c:pt>
                <c:pt idx="10">
                  <c:v>600768</c:v>
                </c:pt>
                <c:pt idx="11">
                  <c:v>609569</c:v>
                </c:pt>
                <c:pt idx="12">
                  <c:v>634250</c:v>
                </c:pt>
                <c:pt idx="13">
                  <c:v>664856</c:v>
                </c:pt>
                <c:pt idx="14">
                  <c:v>569088</c:v>
                </c:pt>
                <c:pt idx="15">
                  <c:v>625259</c:v>
                </c:pt>
                <c:pt idx="16">
                  <c:v>630508</c:v>
                </c:pt>
                <c:pt idx="17">
                  <c:v>696887</c:v>
                </c:pt>
                <c:pt idx="18">
                  <c:v>655442</c:v>
                </c:pt>
                <c:pt idx="19">
                  <c:v>651329</c:v>
                </c:pt>
                <c:pt idx="20">
                  <c:v>705562</c:v>
                </c:pt>
                <c:pt idx="21">
                  <c:v>726074</c:v>
                </c:pt>
                <c:pt idx="22">
                  <c:v>734894</c:v>
                </c:pt>
                <c:pt idx="23">
                  <c:v>710792</c:v>
                </c:pt>
                <c:pt idx="24">
                  <c:v>696850</c:v>
                </c:pt>
                <c:pt idx="25">
                  <c:v>712847</c:v>
                </c:pt>
                <c:pt idx="26">
                  <c:v>633757</c:v>
                </c:pt>
                <c:pt idx="27">
                  <c:v>535979</c:v>
                </c:pt>
                <c:pt idx="28">
                  <c:v>332627</c:v>
                </c:pt>
                <c:pt idx="29">
                  <c:v>303557</c:v>
                </c:pt>
                <c:pt idx="30">
                  <c:v>311441</c:v>
                </c:pt>
                <c:pt idx="31">
                  <c:v>329061</c:v>
                </c:pt>
                <c:pt idx="32">
                  <c:v>319282</c:v>
                </c:pt>
                <c:pt idx="33">
                  <c:v>313048</c:v>
                </c:pt>
                <c:pt idx="34">
                  <c:v>308824</c:v>
                </c:pt>
                <c:pt idx="35">
                  <c:v>314684</c:v>
                </c:pt>
                <c:pt idx="36">
                  <c:v>285068</c:v>
                </c:pt>
                <c:pt idx="37">
                  <c:v>286174</c:v>
                </c:pt>
                <c:pt idx="38">
                  <c:v>290786</c:v>
                </c:pt>
                <c:pt idx="39">
                  <c:v>641780</c:v>
                </c:pt>
                <c:pt idx="40">
                  <c:v>671418</c:v>
                </c:pt>
                <c:pt idx="41">
                  <c:v>642178</c:v>
                </c:pt>
                <c:pt idx="42">
                  <c:v>595350</c:v>
                </c:pt>
                <c:pt idx="43">
                  <c:v>634376</c:v>
                </c:pt>
                <c:pt idx="44">
                  <c:v>646642</c:v>
                </c:pt>
                <c:pt idx="45">
                  <c:v>630619</c:v>
                </c:pt>
                <c:pt idx="46">
                  <c:v>678751</c:v>
                </c:pt>
                <c:pt idx="47">
                  <c:v>504651</c:v>
                </c:pt>
                <c:pt idx="48">
                  <c:v>555168</c:v>
                </c:pt>
                <c:pt idx="49">
                  <c:v>502025</c:v>
                </c:pt>
                <c:pt idx="50">
                  <c:v>534615</c:v>
                </c:pt>
                <c:pt idx="51">
                  <c:v>587327</c:v>
                </c:pt>
                <c:pt idx="52">
                  <c:v>587826</c:v>
                </c:pt>
                <c:pt idx="53">
                  <c:v>565396</c:v>
                </c:pt>
                <c:pt idx="54">
                  <c:v>480523</c:v>
                </c:pt>
                <c:pt idx="55">
                  <c:v>468901</c:v>
                </c:pt>
                <c:pt idx="56">
                  <c:v>512220</c:v>
                </c:pt>
                <c:pt idx="57">
                  <c:v>537435</c:v>
                </c:pt>
                <c:pt idx="58">
                  <c:v>523052</c:v>
                </c:pt>
                <c:pt idx="59">
                  <c:v>478096</c:v>
                </c:pt>
                <c:pt idx="60">
                  <c:v>512362</c:v>
                </c:pt>
                <c:pt idx="61">
                  <c:v>512607</c:v>
                </c:pt>
                <c:pt idx="62">
                  <c:v>484377</c:v>
                </c:pt>
                <c:pt idx="63">
                  <c:v>488426</c:v>
                </c:pt>
                <c:pt idx="64">
                  <c:v>488309</c:v>
                </c:pt>
                <c:pt idx="65">
                  <c:v>516786</c:v>
                </c:pt>
                <c:pt idx="66">
                  <c:v>513598</c:v>
                </c:pt>
                <c:pt idx="67">
                  <c:v>482095</c:v>
                </c:pt>
                <c:pt idx="68">
                  <c:v>546756</c:v>
                </c:pt>
                <c:pt idx="69">
                  <c:v>610299</c:v>
                </c:pt>
                <c:pt idx="70">
                  <c:v>658475</c:v>
                </c:pt>
                <c:pt idx="71">
                  <c:v>621002</c:v>
                </c:pt>
                <c:pt idx="72">
                  <c:v>618826</c:v>
                </c:pt>
                <c:pt idx="73">
                  <c:v>616269</c:v>
                </c:pt>
                <c:pt idx="74">
                  <c:v>666258</c:v>
                </c:pt>
                <c:pt idx="75">
                  <c:v>591776</c:v>
                </c:pt>
                <c:pt idx="76">
                  <c:v>575625</c:v>
                </c:pt>
                <c:pt idx="77">
                  <c:v>561907</c:v>
                </c:pt>
                <c:pt idx="78">
                  <c:v>586645</c:v>
                </c:pt>
                <c:pt idx="79">
                  <c:v>610820</c:v>
                </c:pt>
                <c:pt idx="80">
                  <c:v>605606</c:v>
                </c:pt>
                <c:pt idx="81">
                  <c:v>608295</c:v>
                </c:pt>
                <c:pt idx="82">
                  <c:v>598295</c:v>
                </c:pt>
                <c:pt idx="83">
                  <c:v>614547</c:v>
                </c:pt>
                <c:pt idx="84">
                  <c:v>573590</c:v>
                </c:pt>
                <c:pt idx="85">
                  <c:v>576269</c:v>
                </c:pt>
                <c:pt idx="86">
                  <c:v>540650</c:v>
                </c:pt>
                <c:pt idx="87">
                  <c:v>592286</c:v>
                </c:pt>
                <c:pt idx="88">
                  <c:v>477483</c:v>
                </c:pt>
                <c:pt idx="89">
                  <c:v>465525</c:v>
                </c:pt>
                <c:pt idx="90">
                  <c:v>507952</c:v>
                </c:pt>
                <c:pt idx="91">
                  <c:v>572331</c:v>
                </c:pt>
                <c:pt idx="92">
                  <c:v>594233</c:v>
                </c:pt>
                <c:pt idx="93">
                  <c:v>515776</c:v>
                </c:pt>
                <c:pt idx="94">
                  <c:v>396735</c:v>
                </c:pt>
                <c:pt idx="95">
                  <c:v>330946</c:v>
                </c:pt>
                <c:pt idx="96">
                  <c:v>362280</c:v>
                </c:pt>
                <c:pt idx="97">
                  <c:v>391394</c:v>
                </c:pt>
                <c:pt idx="98">
                  <c:v>446170</c:v>
                </c:pt>
                <c:pt idx="99">
                  <c:v>411026</c:v>
                </c:pt>
                <c:pt idx="100">
                  <c:v>400337</c:v>
                </c:pt>
                <c:pt idx="101">
                  <c:v>374460</c:v>
                </c:pt>
                <c:pt idx="102">
                  <c:v>400925</c:v>
                </c:pt>
                <c:pt idx="103">
                  <c:v>365946</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105</c:f>
              <c:numCache>
                <c:formatCode>yyyy\-mm\-dd</c:formatCode>
                <c:ptCount val="104"/>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30</c:v>
                </c:pt>
                <c:pt idx="27">
                  <c:v>45151</c:v>
                </c:pt>
                <c:pt idx="28">
                  <c:v>45158</c:v>
                </c:pt>
                <c:pt idx="29">
                  <c:v>45165</c:v>
                </c:pt>
                <c:pt idx="30">
                  <c:v>45172</c:v>
                </c:pt>
                <c:pt idx="31">
                  <c:v>45179</c:v>
                </c:pt>
                <c:pt idx="32">
                  <c:v>45186</c:v>
                </c:pt>
                <c:pt idx="33">
                  <c:v>45193</c:v>
                </c:pt>
                <c:pt idx="34">
                  <c:v>45200</c:v>
                </c:pt>
                <c:pt idx="35">
                  <c:v>45207</c:v>
                </c:pt>
                <c:pt idx="36">
                  <c:v>45214</c:v>
                </c:pt>
                <c:pt idx="37">
                  <c:v>45221</c:v>
                </c:pt>
                <c:pt idx="38">
                  <c:v>45228</c:v>
                </c:pt>
                <c:pt idx="39">
                  <c:v>45235</c:v>
                </c:pt>
                <c:pt idx="40">
                  <c:v>45242</c:v>
                </c:pt>
                <c:pt idx="41">
                  <c:v>45249</c:v>
                </c:pt>
                <c:pt idx="42">
                  <c:v>45256</c:v>
                </c:pt>
                <c:pt idx="43">
                  <c:v>45263</c:v>
                </c:pt>
                <c:pt idx="44">
                  <c:v>45270</c:v>
                </c:pt>
                <c:pt idx="45">
                  <c:v>45277</c:v>
                </c:pt>
                <c:pt idx="46">
                  <c:v>45284</c:v>
                </c:pt>
                <c:pt idx="47">
                  <c:v>45291</c:v>
                </c:pt>
                <c:pt idx="48">
                  <c:v>45298</c:v>
                </c:pt>
                <c:pt idx="49">
                  <c:v>45305</c:v>
                </c:pt>
                <c:pt idx="50">
                  <c:v>45312</c:v>
                </c:pt>
                <c:pt idx="51">
                  <c:v>45319</c:v>
                </c:pt>
                <c:pt idx="52">
                  <c:v>45326</c:v>
                </c:pt>
                <c:pt idx="53">
                  <c:v>45333</c:v>
                </c:pt>
                <c:pt idx="54">
                  <c:v>45340</c:v>
                </c:pt>
                <c:pt idx="55">
                  <c:v>45347</c:v>
                </c:pt>
                <c:pt idx="56">
                  <c:v>45354</c:v>
                </c:pt>
                <c:pt idx="57">
                  <c:v>45361</c:v>
                </c:pt>
                <c:pt idx="58">
                  <c:v>45368</c:v>
                </c:pt>
                <c:pt idx="59">
                  <c:v>45375</c:v>
                </c:pt>
                <c:pt idx="60">
                  <c:v>45382</c:v>
                </c:pt>
                <c:pt idx="61">
                  <c:v>45389</c:v>
                </c:pt>
                <c:pt idx="62">
                  <c:v>45396</c:v>
                </c:pt>
                <c:pt idx="63">
                  <c:v>45403</c:v>
                </c:pt>
                <c:pt idx="64">
                  <c:v>45410</c:v>
                </c:pt>
                <c:pt idx="65">
                  <c:v>45417</c:v>
                </c:pt>
                <c:pt idx="66">
                  <c:v>45424</c:v>
                </c:pt>
                <c:pt idx="67">
                  <c:v>45431</c:v>
                </c:pt>
                <c:pt idx="68">
                  <c:v>45438</c:v>
                </c:pt>
                <c:pt idx="69">
                  <c:v>45445</c:v>
                </c:pt>
                <c:pt idx="70">
                  <c:v>45452</c:v>
                </c:pt>
                <c:pt idx="71">
                  <c:v>45459</c:v>
                </c:pt>
                <c:pt idx="72">
                  <c:v>45466</c:v>
                </c:pt>
                <c:pt idx="73">
                  <c:v>45473</c:v>
                </c:pt>
                <c:pt idx="74">
                  <c:v>45480</c:v>
                </c:pt>
                <c:pt idx="75">
                  <c:v>45487</c:v>
                </c:pt>
                <c:pt idx="76">
                  <c:v>45494</c:v>
                </c:pt>
                <c:pt idx="77">
                  <c:v>45501</c:v>
                </c:pt>
                <c:pt idx="78">
                  <c:v>45508</c:v>
                </c:pt>
                <c:pt idx="79">
                  <c:v>45515</c:v>
                </c:pt>
                <c:pt idx="80">
                  <c:v>45522</c:v>
                </c:pt>
                <c:pt idx="81">
                  <c:v>45529</c:v>
                </c:pt>
                <c:pt idx="82">
                  <c:v>45536</c:v>
                </c:pt>
                <c:pt idx="83">
                  <c:v>45543</c:v>
                </c:pt>
                <c:pt idx="84">
                  <c:v>45550</c:v>
                </c:pt>
                <c:pt idx="85">
                  <c:v>45557</c:v>
                </c:pt>
                <c:pt idx="86">
                  <c:v>45564</c:v>
                </c:pt>
                <c:pt idx="87">
                  <c:v>45571</c:v>
                </c:pt>
                <c:pt idx="88">
                  <c:v>45578</c:v>
                </c:pt>
                <c:pt idx="89">
                  <c:v>45585</c:v>
                </c:pt>
                <c:pt idx="90">
                  <c:v>45592</c:v>
                </c:pt>
                <c:pt idx="91">
                  <c:v>45599</c:v>
                </c:pt>
                <c:pt idx="92">
                  <c:v>45606</c:v>
                </c:pt>
                <c:pt idx="93">
                  <c:v>45613</c:v>
                </c:pt>
                <c:pt idx="94">
                  <c:v>45620</c:v>
                </c:pt>
                <c:pt idx="95">
                  <c:v>45627</c:v>
                </c:pt>
                <c:pt idx="96">
                  <c:v>45634</c:v>
                </c:pt>
                <c:pt idx="97">
                  <c:v>45641</c:v>
                </c:pt>
                <c:pt idx="98">
                  <c:v>45648</c:v>
                </c:pt>
                <c:pt idx="99">
                  <c:v>45655</c:v>
                </c:pt>
                <c:pt idx="100">
                  <c:v>45662</c:v>
                </c:pt>
                <c:pt idx="101">
                  <c:v>45669</c:v>
                </c:pt>
                <c:pt idx="102">
                  <c:v>45676</c:v>
                </c:pt>
                <c:pt idx="103">
                  <c:v>45683</c:v>
                </c:pt>
              </c:numCache>
            </c:numRef>
          </c:cat>
          <c:val>
            <c:numRef>
              <c:f>Sheet1!$D$2:$D$105</c:f>
              <c:numCache>
                <c:formatCode>General</c:formatCode>
                <c:ptCount val="104"/>
                <c:pt idx="0">
                  <c:v>752713</c:v>
                </c:pt>
                <c:pt idx="1">
                  <c:v>712920</c:v>
                </c:pt>
                <c:pt idx="2">
                  <c:v>705903</c:v>
                </c:pt>
                <c:pt idx="3">
                  <c:v>657440</c:v>
                </c:pt>
                <c:pt idx="4">
                  <c:v>667179</c:v>
                </c:pt>
                <c:pt idx="5">
                  <c:v>694027</c:v>
                </c:pt>
                <c:pt idx="6">
                  <c:v>673244</c:v>
                </c:pt>
                <c:pt idx="7">
                  <c:v>748840</c:v>
                </c:pt>
                <c:pt idx="8">
                  <c:v>755584</c:v>
                </c:pt>
                <c:pt idx="9">
                  <c:v>705185</c:v>
                </c:pt>
                <c:pt idx="10">
                  <c:v>707986</c:v>
                </c:pt>
                <c:pt idx="11">
                  <c:v>724542</c:v>
                </c:pt>
                <c:pt idx="12">
                  <c:v>666560</c:v>
                </c:pt>
                <c:pt idx="13">
                  <c:v>734424</c:v>
                </c:pt>
                <c:pt idx="14">
                  <c:v>663550</c:v>
                </c:pt>
                <c:pt idx="15">
                  <c:v>747836</c:v>
                </c:pt>
                <c:pt idx="16">
                  <c:v>670225</c:v>
                </c:pt>
                <c:pt idx="17">
                  <c:v>707027</c:v>
                </c:pt>
                <c:pt idx="18">
                  <c:v>661825</c:v>
                </c:pt>
                <c:pt idx="19">
                  <c:v>656131</c:v>
                </c:pt>
                <c:pt idx="20">
                  <c:v>711069</c:v>
                </c:pt>
                <c:pt idx="21">
                  <c:v>729914</c:v>
                </c:pt>
                <c:pt idx="22">
                  <c:v>738300</c:v>
                </c:pt>
                <c:pt idx="23">
                  <c:v>713039</c:v>
                </c:pt>
                <c:pt idx="24">
                  <c:v>700849</c:v>
                </c:pt>
                <c:pt idx="25">
                  <c:v>717800</c:v>
                </c:pt>
                <c:pt idx="26">
                  <c:v>779419</c:v>
                </c:pt>
                <c:pt idx="27">
                  <c:v>734389</c:v>
                </c:pt>
                <c:pt idx="28">
                  <c:v>750734</c:v>
                </c:pt>
                <c:pt idx="29">
                  <c:v>730017</c:v>
                </c:pt>
                <c:pt idx="30">
                  <c:v>743365</c:v>
                </c:pt>
                <c:pt idx="31">
                  <c:v>733660</c:v>
                </c:pt>
                <c:pt idx="32">
                  <c:v>691594</c:v>
                </c:pt>
                <c:pt idx="33">
                  <c:v>676879</c:v>
                </c:pt>
                <c:pt idx="34">
                  <c:v>677671</c:v>
                </c:pt>
                <c:pt idx="35">
                  <c:v>718422</c:v>
                </c:pt>
                <c:pt idx="36">
                  <c:v>743195</c:v>
                </c:pt>
                <c:pt idx="37">
                  <c:v>752071</c:v>
                </c:pt>
                <c:pt idx="38">
                  <c:v>734820</c:v>
                </c:pt>
                <c:pt idx="39">
                  <c:v>764135</c:v>
                </c:pt>
                <c:pt idx="40">
                  <c:v>780591</c:v>
                </c:pt>
                <c:pt idx="41">
                  <c:v>773829</c:v>
                </c:pt>
                <c:pt idx="42">
                  <c:v>806522</c:v>
                </c:pt>
                <c:pt idx="43">
                  <c:v>860250</c:v>
                </c:pt>
                <c:pt idx="44">
                  <c:v>987877</c:v>
                </c:pt>
                <c:pt idx="45">
                  <c:v>1070209</c:v>
                </c:pt>
                <c:pt idx="46">
                  <c:v>1492541</c:v>
                </c:pt>
                <c:pt idx="47">
                  <c:v>1567448</c:v>
                </c:pt>
                <c:pt idx="48">
                  <c:v>640659</c:v>
                </c:pt>
                <c:pt idx="49">
                  <c:v>558758</c:v>
                </c:pt>
                <c:pt idx="50">
                  <c:v>563797</c:v>
                </c:pt>
                <c:pt idx="51">
                  <c:v>603173</c:v>
                </c:pt>
                <c:pt idx="52">
                  <c:v>630598</c:v>
                </c:pt>
                <c:pt idx="53">
                  <c:v>640393</c:v>
                </c:pt>
                <c:pt idx="54">
                  <c:v>604577</c:v>
                </c:pt>
                <c:pt idx="55">
                  <c:v>724051</c:v>
                </c:pt>
                <c:pt idx="56">
                  <c:v>677761</c:v>
                </c:pt>
                <c:pt idx="57">
                  <c:v>654186</c:v>
                </c:pt>
                <c:pt idx="58">
                  <c:v>618135</c:v>
                </c:pt>
                <c:pt idx="59">
                  <c:v>670074</c:v>
                </c:pt>
                <c:pt idx="60">
                  <c:v>649185</c:v>
                </c:pt>
                <c:pt idx="61">
                  <c:v>639597</c:v>
                </c:pt>
                <c:pt idx="62">
                  <c:v>616883</c:v>
                </c:pt>
                <c:pt idx="63">
                  <c:v>673399</c:v>
                </c:pt>
                <c:pt idx="64">
                  <c:v>609156</c:v>
                </c:pt>
                <c:pt idx="65">
                  <c:v>640031</c:v>
                </c:pt>
                <c:pt idx="66">
                  <c:v>625335</c:v>
                </c:pt>
                <c:pt idx="67">
                  <c:v>601280</c:v>
                </c:pt>
                <c:pt idx="68">
                  <c:v>668063</c:v>
                </c:pt>
                <c:pt idx="69">
                  <c:v>611445</c:v>
                </c:pt>
                <c:pt idx="70">
                  <c:v>660416</c:v>
                </c:pt>
                <c:pt idx="71">
                  <c:v>622688</c:v>
                </c:pt>
                <c:pt idx="72">
                  <c:v>622277</c:v>
                </c:pt>
                <c:pt idx="73">
                  <c:v>617448</c:v>
                </c:pt>
                <c:pt idx="74">
                  <c:v>669350</c:v>
                </c:pt>
                <c:pt idx="75">
                  <c:v>620726</c:v>
                </c:pt>
                <c:pt idx="76">
                  <c:v>628903</c:v>
                </c:pt>
                <c:pt idx="77">
                  <c:v>616691</c:v>
                </c:pt>
                <c:pt idx="78">
                  <c:v>639598</c:v>
                </c:pt>
                <c:pt idx="79">
                  <c:v>626246</c:v>
                </c:pt>
                <c:pt idx="80">
                  <c:v>619374</c:v>
                </c:pt>
                <c:pt idx="81">
                  <c:v>609866</c:v>
                </c:pt>
                <c:pt idx="82">
                  <c:v>607274</c:v>
                </c:pt>
                <c:pt idx="83">
                  <c:v>616342</c:v>
                </c:pt>
                <c:pt idx="84">
                  <c:v>575592</c:v>
                </c:pt>
                <c:pt idx="85">
                  <c:v>578034</c:v>
                </c:pt>
                <c:pt idx="86">
                  <c:v>568938</c:v>
                </c:pt>
                <c:pt idx="87">
                  <c:v>661610</c:v>
                </c:pt>
                <c:pt idx="88">
                  <c:v>610900</c:v>
                </c:pt>
                <c:pt idx="89">
                  <c:v>653060</c:v>
                </c:pt>
                <c:pt idx="90">
                  <c:v>640242</c:v>
                </c:pt>
                <c:pt idx="91">
                  <c:v>645382</c:v>
                </c:pt>
                <c:pt idx="92">
                  <c:v>687174</c:v>
                </c:pt>
                <c:pt idx="93">
                  <c:v>678671</c:v>
                </c:pt>
                <c:pt idx="94">
                  <c:v>690949</c:v>
                </c:pt>
                <c:pt idx="95">
                  <c:v>735900</c:v>
                </c:pt>
                <c:pt idx="96">
                  <c:v>848407</c:v>
                </c:pt>
                <c:pt idx="97">
                  <c:v>912822</c:v>
                </c:pt>
                <c:pt idx="98">
                  <c:v>1088440</c:v>
                </c:pt>
                <c:pt idx="99">
                  <c:v>1315065</c:v>
                </c:pt>
                <c:pt idx="100">
                  <c:v>577432</c:v>
                </c:pt>
                <c:pt idx="101">
                  <c:v>528242</c:v>
                </c:pt>
                <c:pt idx="102">
                  <c:v>552588</c:v>
                </c:pt>
                <c:pt idx="103">
                  <c:v>502625</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105</c:f>
              <c:numCache>
                <c:formatCode>yyyy\-mm\-dd</c:formatCode>
                <c:ptCount val="104"/>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30</c:v>
                </c:pt>
                <c:pt idx="27">
                  <c:v>45151</c:v>
                </c:pt>
                <c:pt idx="28">
                  <c:v>45158</c:v>
                </c:pt>
                <c:pt idx="29">
                  <c:v>45165</c:v>
                </c:pt>
                <c:pt idx="30">
                  <c:v>45172</c:v>
                </c:pt>
                <c:pt idx="31">
                  <c:v>45179</c:v>
                </c:pt>
                <c:pt idx="32">
                  <c:v>45186</c:v>
                </c:pt>
                <c:pt idx="33">
                  <c:v>45193</c:v>
                </c:pt>
                <c:pt idx="34">
                  <c:v>45200</c:v>
                </c:pt>
                <c:pt idx="35">
                  <c:v>45207</c:v>
                </c:pt>
                <c:pt idx="36">
                  <c:v>45214</c:v>
                </c:pt>
                <c:pt idx="37">
                  <c:v>45221</c:v>
                </c:pt>
                <c:pt idx="38">
                  <c:v>45228</c:v>
                </c:pt>
                <c:pt idx="39">
                  <c:v>45235</c:v>
                </c:pt>
                <c:pt idx="40">
                  <c:v>45242</c:v>
                </c:pt>
                <c:pt idx="41">
                  <c:v>45249</c:v>
                </c:pt>
                <c:pt idx="42">
                  <c:v>45256</c:v>
                </c:pt>
                <c:pt idx="43">
                  <c:v>45263</c:v>
                </c:pt>
                <c:pt idx="44">
                  <c:v>45270</c:v>
                </c:pt>
                <c:pt idx="45">
                  <c:v>45277</c:v>
                </c:pt>
                <c:pt idx="46">
                  <c:v>45284</c:v>
                </c:pt>
                <c:pt idx="47">
                  <c:v>45291</c:v>
                </c:pt>
                <c:pt idx="48">
                  <c:v>45298</c:v>
                </c:pt>
                <c:pt idx="49">
                  <c:v>45305</c:v>
                </c:pt>
                <c:pt idx="50">
                  <c:v>45312</c:v>
                </c:pt>
                <c:pt idx="51">
                  <c:v>45319</c:v>
                </c:pt>
                <c:pt idx="52">
                  <c:v>45326</c:v>
                </c:pt>
                <c:pt idx="53">
                  <c:v>45333</c:v>
                </c:pt>
                <c:pt idx="54">
                  <c:v>45340</c:v>
                </c:pt>
                <c:pt idx="55">
                  <c:v>45347</c:v>
                </c:pt>
                <c:pt idx="56">
                  <c:v>45354</c:v>
                </c:pt>
                <c:pt idx="57">
                  <c:v>45361</c:v>
                </c:pt>
                <c:pt idx="58">
                  <c:v>45368</c:v>
                </c:pt>
                <c:pt idx="59">
                  <c:v>45375</c:v>
                </c:pt>
                <c:pt idx="60">
                  <c:v>45382</c:v>
                </c:pt>
                <c:pt idx="61">
                  <c:v>45389</c:v>
                </c:pt>
                <c:pt idx="62">
                  <c:v>45396</c:v>
                </c:pt>
                <c:pt idx="63">
                  <c:v>45403</c:v>
                </c:pt>
                <c:pt idx="64">
                  <c:v>45410</c:v>
                </c:pt>
                <c:pt idx="65">
                  <c:v>45417</c:v>
                </c:pt>
                <c:pt idx="66">
                  <c:v>45424</c:v>
                </c:pt>
                <c:pt idx="67">
                  <c:v>45431</c:v>
                </c:pt>
                <c:pt idx="68">
                  <c:v>45438</c:v>
                </c:pt>
                <c:pt idx="69">
                  <c:v>45445</c:v>
                </c:pt>
                <c:pt idx="70">
                  <c:v>45452</c:v>
                </c:pt>
                <c:pt idx="71">
                  <c:v>45459</c:v>
                </c:pt>
                <c:pt idx="72">
                  <c:v>45466</c:v>
                </c:pt>
                <c:pt idx="73">
                  <c:v>45473</c:v>
                </c:pt>
                <c:pt idx="74">
                  <c:v>45480</c:v>
                </c:pt>
                <c:pt idx="75">
                  <c:v>45487</c:v>
                </c:pt>
                <c:pt idx="76">
                  <c:v>45494</c:v>
                </c:pt>
                <c:pt idx="77">
                  <c:v>45501</c:v>
                </c:pt>
                <c:pt idx="78">
                  <c:v>45508</c:v>
                </c:pt>
                <c:pt idx="79">
                  <c:v>45515</c:v>
                </c:pt>
                <c:pt idx="80">
                  <c:v>45522</c:v>
                </c:pt>
                <c:pt idx="81">
                  <c:v>45529</c:v>
                </c:pt>
                <c:pt idx="82">
                  <c:v>45536</c:v>
                </c:pt>
                <c:pt idx="83">
                  <c:v>45543</c:v>
                </c:pt>
                <c:pt idx="84">
                  <c:v>45550</c:v>
                </c:pt>
                <c:pt idx="85">
                  <c:v>45557</c:v>
                </c:pt>
                <c:pt idx="86">
                  <c:v>45564</c:v>
                </c:pt>
                <c:pt idx="87">
                  <c:v>45571</c:v>
                </c:pt>
                <c:pt idx="88">
                  <c:v>45578</c:v>
                </c:pt>
                <c:pt idx="89">
                  <c:v>45585</c:v>
                </c:pt>
                <c:pt idx="90">
                  <c:v>45592</c:v>
                </c:pt>
                <c:pt idx="91">
                  <c:v>45599</c:v>
                </c:pt>
                <c:pt idx="92">
                  <c:v>45606</c:v>
                </c:pt>
                <c:pt idx="93">
                  <c:v>45613</c:v>
                </c:pt>
                <c:pt idx="94">
                  <c:v>45620</c:v>
                </c:pt>
                <c:pt idx="95">
                  <c:v>45627</c:v>
                </c:pt>
                <c:pt idx="96">
                  <c:v>45634</c:v>
                </c:pt>
                <c:pt idx="97">
                  <c:v>45641</c:v>
                </c:pt>
                <c:pt idx="98">
                  <c:v>45648</c:v>
                </c:pt>
                <c:pt idx="99">
                  <c:v>45655</c:v>
                </c:pt>
                <c:pt idx="100">
                  <c:v>45662</c:v>
                </c:pt>
                <c:pt idx="101">
                  <c:v>45669</c:v>
                </c:pt>
                <c:pt idx="102">
                  <c:v>45676</c:v>
                </c:pt>
                <c:pt idx="103">
                  <c:v>45683</c:v>
                </c:pt>
              </c:numCache>
            </c:numRef>
          </c:cat>
          <c:val>
            <c:numRef>
              <c:f>Sheet1!$E$2:$E$105</c:f>
              <c:numCache>
                <c:formatCode>General</c:formatCode>
                <c:ptCount val="104"/>
                <c:pt idx="0">
                  <c:v>651596</c:v>
                </c:pt>
                <c:pt idx="1">
                  <c:v>652702</c:v>
                </c:pt>
                <c:pt idx="2">
                  <c:v>657972</c:v>
                </c:pt>
                <c:pt idx="3">
                  <c:v>659462</c:v>
                </c:pt>
                <c:pt idx="4">
                  <c:v>666501</c:v>
                </c:pt>
                <c:pt idx="5">
                  <c:v>675209</c:v>
                </c:pt>
                <c:pt idx="6">
                  <c:v>685294</c:v>
                </c:pt>
                <c:pt idx="7">
                  <c:v>700173</c:v>
                </c:pt>
                <c:pt idx="8">
                  <c:v>710908</c:v>
                </c:pt>
                <c:pt idx="9">
                  <c:v>712211</c:v>
                </c:pt>
                <c:pt idx="10">
                  <c:v>709551</c:v>
                </c:pt>
                <c:pt idx="11">
                  <c:v>707820</c:v>
                </c:pt>
                <c:pt idx="12">
                  <c:v>708163</c:v>
                </c:pt>
                <c:pt idx="13">
                  <c:v>699399</c:v>
                </c:pt>
                <c:pt idx="14">
                  <c:v>699953</c:v>
                </c:pt>
                <c:pt idx="15">
                  <c:v>695506</c:v>
                </c:pt>
                <c:pt idx="16">
                  <c:v>686708</c:v>
                </c:pt>
                <c:pt idx="17">
                  <c:v>692137</c:v>
                </c:pt>
                <c:pt idx="18">
                  <c:v>692288</c:v>
                </c:pt>
                <c:pt idx="19">
                  <c:v>701366</c:v>
                </c:pt>
                <c:pt idx="20">
                  <c:v>698798</c:v>
                </c:pt>
                <c:pt idx="21">
                  <c:v>702592</c:v>
                </c:pt>
                <c:pt idx="22">
                  <c:v>704335</c:v>
                </c:pt>
                <c:pt idx="23">
                  <c:v>714317</c:v>
                </c:pt>
                <c:pt idx="24">
                  <c:v>722654</c:v>
                </c:pt>
                <c:pt idx="25">
                  <c:v>730569</c:v>
                </c:pt>
                <c:pt idx="26">
                  <c:v>736722</c:v>
                </c:pt>
                <c:pt idx="27">
                  <c:v>745797</c:v>
                </c:pt>
                <c:pt idx="28">
                  <c:v>747592</c:v>
                </c:pt>
                <c:pt idx="29">
                  <c:v>735511</c:v>
                </c:pt>
                <c:pt idx="30">
                  <c:v>742195</c:v>
                </c:pt>
                <c:pt idx="31">
                  <c:v>734894</c:v>
                </c:pt>
                <c:pt idx="32">
                  <c:v>731761</c:v>
                </c:pt>
                <c:pt idx="33">
                  <c:v>724427</c:v>
                </c:pt>
                <c:pt idx="34">
                  <c:v>722014</c:v>
                </c:pt>
                <c:pt idx="35">
                  <c:v>719411</c:v>
                </c:pt>
                <c:pt idx="36">
                  <c:v>760152</c:v>
                </c:pt>
                <c:pt idx="37">
                  <c:v>778512</c:v>
                </c:pt>
                <c:pt idx="38">
                  <c:v>751684</c:v>
                </c:pt>
                <c:pt idx="39">
                  <c:v>731858</c:v>
                </c:pt>
                <c:pt idx="40">
                  <c:v>741233</c:v>
                </c:pt>
                <c:pt idx="41">
                  <c:v>766877</c:v>
                </c:pt>
                <c:pt idx="42">
                  <c:v>774664</c:v>
                </c:pt>
                <c:pt idx="43">
                  <c:v>782748</c:v>
                </c:pt>
                <c:pt idx="44">
                  <c:v>766356</c:v>
                </c:pt>
                <c:pt idx="45">
                  <c:v>749023</c:v>
                </c:pt>
                <c:pt idx="46">
                  <c:v>734887</c:v>
                </c:pt>
                <c:pt idx="47">
                  <c:v>783296</c:v>
                </c:pt>
                <c:pt idx="48">
                  <c:v>728206</c:v>
                </c:pt>
                <c:pt idx="49">
                  <c:v>672822</c:v>
                </c:pt>
                <c:pt idx="50">
                  <c:v>619097</c:v>
                </c:pt>
                <c:pt idx="51">
                  <c:v>582582</c:v>
                </c:pt>
                <c:pt idx="52">
                  <c:v>600868</c:v>
                </c:pt>
                <c:pt idx="53">
                  <c:v>627259</c:v>
                </c:pt>
                <c:pt idx="54">
                  <c:v>633334</c:v>
                </c:pt>
                <c:pt idx="55">
                  <c:v>643010</c:v>
                </c:pt>
                <c:pt idx="56">
                  <c:v>654236</c:v>
                </c:pt>
                <c:pt idx="57">
                  <c:v>655747</c:v>
                </c:pt>
                <c:pt idx="58">
                  <c:v>655224</c:v>
                </c:pt>
                <c:pt idx="59">
                  <c:v>655181</c:v>
                </c:pt>
                <c:pt idx="60">
                  <c:v>650165</c:v>
                </c:pt>
                <c:pt idx="61">
                  <c:v>643619</c:v>
                </c:pt>
                <c:pt idx="62">
                  <c:v>641095</c:v>
                </c:pt>
                <c:pt idx="63">
                  <c:v>638047</c:v>
                </c:pt>
                <c:pt idx="64">
                  <c:v>626119</c:v>
                </c:pt>
                <c:pt idx="65">
                  <c:v>629067</c:v>
                </c:pt>
                <c:pt idx="66">
                  <c:v>626435</c:v>
                </c:pt>
                <c:pt idx="67">
                  <c:v>631373</c:v>
                </c:pt>
                <c:pt idx="68">
                  <c:v>629867</c:v>
                </c:pt>
                <c:pt idx="69">
                  <c:v>629890</c:v>
                </c:pt>
                <c:pt idx="70">
                  <c:v>627629</c:v>
                </c:pt>
                <c:pt idx="71">
                  <c:v>633701</c:v>
                </c:pt>
                <c:pt idx="72">
                  <c:v>636028</c:v>
                </c:pt>
                <c:pt idx="73">
                  <c:v>631965</c:v>
                </c:pt>
                <c:pt idx="74">
                  <c:v>632502</c:v>
                </c:pt>
                <c:pt idx="75">
                  <c:v>629447</c:v>
                </c:pt>
                <c:pt idx="76">
                  <c:v>629975</c:v>
                </c:pt>
                <c:pt idx="77">
                  <c:v>629117</c:v>
                </c:pt>
                <c:pt idx="78">
                  <c:v>629413</c:v>
                </c:pt>
                <c:pt idx="79">
                  <c:v>621091</c:v>
                </c:pt>
                <c:pt idx="80">
                  <c:v>620530</c:v>
                </c:pt>
                <c:pt idx="81">
                  <c:v>614197</c:v>
                </c:pt>
                <c:pt idx="82">
                  <c:v>609220</c:v>
                </c:pt>
                <c:pt idx="83">
                  <c:v>600602</c:v>
                </c:pt>
                <c:pt idx="84">
                  <c:v>604404</c:v>
                </c:pt>
                <c:pt idx="85">
                  <c:v>602953</c:v>
                </c:pt>
                <c:pt idx="86">
                  <c:v>607742</c:v>
                </c:pt>
                <c:pt idx="87">
                  <c:v>613236</c:v>
                </c:pt>
                <c:pt idx="88">
                  <c:v>615227</c:v>
                </c:pt>
                <c:pt idx="89">
                  <c:v>623868</c:v>
                </c:pt>
                <c:pt idx="90">
                  <c:v>629921</c:v>
                </c:pt>
                <c:pt idx="91">
                  <c:v>640124</c:v>
                </c:pt>
                <c:pt idx="92">
                  <c:v>630958</c:v>
                </c:pt>
                <c:pt idx="93">
                  <c:v>642862</c:v>
                </c:pt>
                <c:pt idx="94">
                  <c:v>646240</c:v>
                </c:pt>
                <c:pt idx="95">
                  <c:v>647225</c:v>
                </c:pt>
                <c:pt idx="96">
                  <c:v>657049</c:v>
                </c:pt>
                <c:pt idx="97">
                  <c:v>607864</c:v>
                </c:pt>
                <c:pt idx="98">
                  <c:v>588672</c:v>
                </c:pt>
                <c:pt idx="99">
                  <c:v>582164</c:v>
                </c:pt>
                <c:pt idx="100">
                  <c:v>597285</c:v>
                </c:pt>
                <c:pt idx="101">
                  <c:v>572578</c:v>
                </c:pt>
                <c:pt idx="102">
                  <c:v>571889</c:v>
                </c:pt>
                <c:pt idx="103">
                  <c:v>548781</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105</c:f>
              <c:numCache>
                <c:formatCode>yyyy\-mm\-dd</c:formatCode>
                <c:ptCount val="104"/>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30</c:v>
                </c:pt>
                <c:pt idx="27">
                  <c:v>45151</c:v>
                </c:pt>
                <c:pt idx="28">
                  <c:v>45158</c:v>
                </c:pt>
                <c:pt idx="29">
                  <c:v>45165</c:v>
                </c:pt>
                <c:pt idx="30">
                  <c:v>45172</c:v>
                </c:pt>
                <c:pt idx="31">
                  <c:v>45179</c:v>
                </c:pt>
                <c:pt idx="32">
                  <c:v>45186</c:v>
                </c:pt>
                <c:pt idx="33">
                  <c:v>45193</c:v>
                </c:pt>
                <c:pt idx="34">
                  <c:v>45200</c:v>
                </c:pt>
                <c:pt idx="35">
                  <c:v>45207</c:v>
                </c:pt>
                <c:pt idx="36">
                  <c:v>45214</c:v>
                </c:pt>
                <c:pt idx="37">
                  <c:v>45221</c:v>
                </c:pt>
                <c:pt idx="38">
                  <c:v>45228</c:v>
                </c:pt>
                <c:pt idx="39">
                  <c:v>45235</c:v>
                </c:pt>
                <c:pt idx="40">
                  <c:v>45242</c:v>
                </c:pt>
                <c:pt idx="41">
                  <c:v>45249</c:v>
                </c:pt>
                <c:pt idx="42">
                  <c:v>45256</c:v>
                </c:pt>
                <c:pt idx="43">
                  <c:v>45263</c:v>
                </c:pt>
                <c:pt idx="44">
                  <c:v>45270</c:v>
                </c:pt>
                <c:pt idx="45">
                  <c:v>45277</c:v>
                </c:pt>
                <c:pt idx="46">
                  <c:v>45284</c:v>
                </c:pt>
                <c:pt idx="47">
                  <c:v>45291</c:v>
                </c:pt>
                <c:pt idx="48">
                  <c:v>45298</c:v>
                </c:pt>
                <c:pt idx="49">
                  <c:v>45305</c:v>
                </c:pt>
                <c:pt idx="50">
                  <c:v>45312</c:v>
                </c:pt>
                <c:pt idx="51">
                  <c:v>45319</c:v>
                </c:pt>
                <c:pt idx="52">
                  <c:v>45326</c:v>
                </c:pt>
                <c:pt idx="53">
                  <c:v>45333</c:v>
                </c:pt>
                <c:pt idx="54">
                  <c:v>45340</c:v>
                </c:pt>
                <c:pt idx="55">
                  <c:v>45347</c:v>
                </c:pt>
                <c:pt idx="56">
                  <c:v>45354</c:v>
                </c:pt>
                <c:pt idx="57">
                  <c:v>45361</c:v>
                </c:pt>
                <c:pt idx="58">
                  <c:v>45368</c:v>
                </c:pt>
                <c:pt idx="59">
                  <c:v>45375</c:v>
                </c:pt>
                <c:pt idx="60">
                  <c:v>45382</c:v>
                </c:pt>
                <c:pt idx="61">
                  <c:v>45389</c:v>
                </c:pt>
                <c:pt idx="62">
                  <c:v>45396</c:v>
                </c:pt>
                <c:pt idx="63">
                  <c:v>45403</c:v>
                </c:pt>
                <c:pt idx="64">
                  <c:v>45410</c:v>
                </c:pt>
                <c:pt idx="65">
                  <c:v>45417</c:v>
                </c:pt>
                <c:pt idx="66">
                  <c:v>45424</c:v>
                </c:pt>
                <c:pt idx="67">
                  <c:v>45431</c:v>
                </c:pt>
                <c:pt idx="68">
                  <c:v>45438</c:v>
                </c:pt>
                <c:pt idx="69">
                  <c:v>45445</c:v>
                </c:pt>
                <c:pt idx="70">
                  <c:v>45452</c:v>
                </c:pt>
                <c:pt idx="71">
                  <c:v>45459</c:v>
                </c:pt>
                <c:pt idx="72">
                  <c:v>45466</c:v>
                </c:pt>
                <c:pt idx="73">
                  <c:v>45473</c:v>
                </c:pt>
                <c:pt idx="74">
                  <c:v>45480</c:v>
                </c:pt>
                <c:pt idx="75">
                  <c:v>45487</c:v>
                </c:pt>
                <c:pt idx="76">
                  <c:v>45494</c:v>
                </c:pt>
                <c:pt idx="77">
                  <c:v>45501</c:v>
                </c:pt>
                <c:pt idx="78">
                  <c:v>45508</c:v>
                </c:pt>
                <c:pt idx="79">
                  <c:v>45515</c:v>
                </c:pt>
                <c:pt idx="80">
                  <c:v>45522</c:v>
                </c:pt>
                <c:pt idx="81">
                  <c:v>45529</c:v>
                </c:pt>
                <c:pt idx="82">
                  <c:v>45536</c:v>
                </c:pt>
                <c:pt idx="83">
                  <c:v>45543</c:v>
                </c:pt>
                <c:pt idx="84">
                  <c:v>45550</c:v>
                </c:pt>
                <c:pt idx="85">
                  <c:v>45557</c:v>
                </c:pt>
                <c:pt idx="86">
                  <c:v>45564</c:v>
                </c:pt>
                <c:pt idx="87">
                  <c:v>45571</c:v>
                </c:pt>
                <c:pt idx="88">
                  <c:v>45578</c:v>
                </c:pt>
                <c:pt idx="89">
                  <c:v>45585</c:v>
                </c:pt>
                <c:pt idx="90">
                  <c:v>45592</c:v>
                </c:pt>
                <c:pt idx="91">
                  <c:v>45599</c:v>
                </c:pt>
                <c:pt idx="92">
                  <c:v>45606</c:v>
                </c:pt>
                <c:pt idx="93">
                  <c:v>45613</c:v>
                </c:pt>
                <c:pt idx="94">
                  <c:v>45620</c:v>
                </c:pt>
                <c:pt idx="95">
                  <c:v>45627</c:v>
                </c:pt>
                <c:pt idx="96">
                  <c:v>45634</c:v>
                </c:pt>
                <c:pt idx="97">
                  <c:v>45641</c:v>
                </c:pt>
                <c:pt idx="98">
                  <c:v>45648</c:v>
                </c:pt>
                <c:pt idx="99">
                  <c:v>45655</c:v>
                </c:pt>
                <c:pt idx="100">
                  <c:v>45662</c:v>
                </c:pt>
                <c:pt idx="101">
                  <c:v>45669</c:v>
                </c:pt>
                <c:pt idx="102">
                  <c:v>45676</c:v>
                </c:pt>
                <c:pt idx="103">
                  <c:v>45683</c:v>
                </c:pt>
              </c:numCache>
            </c:numRef>
          </c:cat>
          <c:val>
            <c:numRef>
              <c:f>Sheet1!$F$2:$F$105</c:f>
              <c:numCache>
                <c:formatCode>General</c:formatCode>
                <c:ptCount val="104"/>
                <c:pt idx="0">
                  <c:v>0.2</c:v>
                </c:pt>
                <c:pt idx="1">
                  <c:v>0.15</c:v>
                </c:pt>
                <c:pt idx="2">
                  <c:v>0.16</c:v>
                </c:pt>
                <c:pt idx="3">
                  <c:v>0.12</c:v>
                </c:pt>
                <c:pt idx="4">
                  <c:v>0.09</c:v>
                </c:pt>
                <c:pt idx="5">
                  <c:v>0.11</c:v>
                </c:pt>
                <c:pt idx="6">
                  <c:v>0.12</c:v>
                </c:pt>
                <c:pt idx="7">
                  <c:v>0.19</c:v>
                </c:pt>
                <c:pt idx="8">
                  <c:v>0.14000000000000001</c:v>
                </c:pt>
                <c:pt idx="9">
                  <c:v>0.14000000000000001</c:v>
                </c:pt>
                <c:pt idx="10">
                  <c:v>0.16</c:v>
                </c:pt>
                <c:pt idx="11">
                  <c:v>0.17</c:v>
                </c:pt>
                <c:pt idx="12">
                  <c:v>0.03</c:v>
                </c:pt>
                <c:pt idx="13">
                  <c:v>0.1</c:v>
                </c:pt>
                <c:pt idx="14">
                  <c:v>0.15</c:v>
                </c:pt>
                <c:pt idx="15">
                  <c:v>0.14000000000000001</c:v>
                </c:pt>
                <c:pt idx="16">
                  <c:v>0.04</c:v>
                </c:pt>
                <c:pt idx="17">
                  <c:v>0.01</c:v>
                </c:pt>
                <c:pt idx="18">
                  <c:v>0.01</c:v>
                </c:pt>
                <c:pt idx="19">
                  <c:v>0.01</c:v>
                </c:pt>
                <c:pt idx="20">
                  <c:v>0.01</c:v>
                </c:pt>
                <c:pt idx="21">
                  <c:v>0.01</c:v>
                </c:pt>
                <c:pt idx="22">
                  <c:v>0</c:v>
                </c:pt>
                <c:pt idx="23">
                  <c:v>0</c:v>
                </c:pt>
                <c:pt idx="24">
                  <c:v>0.01</c:v>
                </c:pt>
                <c:pt idx="25">
                  <c:v>0.01</c:v>
                </c:pt>
                <c:pt idx="26">
                  <c:v>0.18</c:v>
                </c:pt>
                <c:pt idx="27">
                  <c:v>0.35</c:v>
                </c:pt>
                <c:pt idx="28">
                  <c:v>0.78</c:v>
                </c:pt>
                <c:pt idx="29">
                  <c:v>0.81</c:v>
                </c:pt>
                <c:pt idx="30">
                  <c:v>0.81</c:v>
                </c:pt>
                <c:pt idx="31">
                  <c:v>0.8</c:v>
                </c:pt>
                <c:pt idx="32">
                  <c:v>0.79</c:v>
                </c:pt>
                <c:pt idx="33">
                  <c:v>0.79</c:v>
                </c:pt>
                <c:pt idx="34">
                  <c:v>0.78</c:v>
                </c:pt>
                <c:pt idx="35">
                  <c:v>0.79</c:v>
                </c:pt>
                <c:pt idx="36">
                  <c:v>0.81</c:v>
                </c:pt>
                <c:pt idx="37">
                  <c:v>0.8</c:v>
                </c:pt>
                <c:pt idx="38">
                  <c:v>0.79</c:v>
                </c:pt>
                <c:pt idx="39">
                  <c:v>0.09</c:v>
                </c:pt>
                <c:pt idx="40">
                  <c:v>0.08</c:v>
                </c:pt>
                <c:pt idx="41">
                  <c:v>0.11</c:v>
                </c:pt>
                <c:pt idx="42">
                  <c:v>0.17</c:v>
                </c:pt>
                <c:pt idx="43">
                  <c:v>0.17</c:v>
                </c:pt>
                <c:pt idx="44">
                  <c:v>0.26</c:v>
                </c:pt>
                <c:pt idx="45">
                  <c:v>0.28999999999999998</c:v>
                </c:pt>
                <c:pt idx="46">
                  <c:v>0.38</c:v>
                </c:pt>
                <c:pt idx="47">
                  <c:v>0.6</c:v>
                </c:pt>
                <c:pt idx="48">
                  <c:v>0.1</c:v>
                </c:pt>
                <c:pt idx="49">
                  <c:v>0.11</c:v>
                </c:pt>
                <c:pt idx="50">
                  <c:v>0.06</c:v>
                </c:pt>
                <c:pt idx="51">
                  <c:v>0.03</c:v>
                </c:pt>
                <c:pt idx="52">
                  <c:v>0.05</c:v>
                </c:pt>
                <c:pt idx="53">
                  <c:v>0.08</c:v>
                </c:pt>
                <c:pt idx="54">
                  <c:v>0.17</c:v>
                </c:pt>
                <c:pt idx="55">
                  <c:v>0.34</c:v>
                </c:pt>
                <c:pt idx="56">
                  <c:v>0.19</c:v>
                </c:pt>
                <c:pt idx="57">
                  <c:v>0.11</c:v>
                </c:pt>
                <c:pt idx="58">
                  <c:v>0.09</c:v>
                </c:pt>
                <c:pt idx="59">
                  <c:v>0.3</c:v>
                </c:pt>
                <c:pt idx="60">
                  <c:v>0.22</c:v>
                </c:pt>
                <c:pt idx="61">
                  <c:v>0.21</c:v>
                </c:pt>
                <c:pt idx="62">
                  <c:v>0.23</c:v>
                </c:pt>
                <c:pt idx="63">
                  <c:v>0.3</c:v>
                </c:pt>
                <c:pt idx="64">
                  <c:v>0.21</c:v>
                </c:pt>
                <c:pt idx="65">
                  <c:v>0.21</c:v>
                </c:pt>
                <c:pt idx="66">
                  <c:v>0.19</c:v>
                </c:pt>
                <c:pt idx="67">
                  <c:v>0.22</c:v>
                </c:pt>
                <c:pt idx="68">
                  <c:v>0.22</c:v>
                </c:pt>
                <c:pt idx="69">
                  <c:v>0</c:v>
                </c:pt>
                <c:pt idx="70">
                  <c:v>0</c:v>
                </c:pt>
                <c:pt idx="71">
                  <c:v>0</c:v>
                </c:pt>
                <c:pt idx="72">
                  <c:v>0.01</c:v>
                </c:pt>
                <c:pt idx="73">
                  <c:v>0</c:v>
                </c:pt>
                <c:pt idx="74">
                  <c:v>0</c:v>
                </c:pt>
                <c:pt idx="75">
                  <c:v>0.03</c:v>
                </c:pt>
                <c:pt idx="76">
                  <c:v>0.05</c:v>
                </c:pt>
                <c:pt idx="77">
                  <c:v>0.05</c:v>
                </c:pt>
                <c:pt idx="78">
                  <c:v>0.05</c:v>
                </c:pt>
                <c:pt idx="79">
                  <c:v>0.01</c:v>
                </c:pt>
                <c:pt idx="80">
                  <c:v>0.01</c:v>
                </c:pt>
                <c:pt idx="81">
                  <c:v>0</c:v>
                </c:pt>
                <c:pt idx="82">
                  <c:v>0.01</c:v>
                </c:pt>
                <c:pt idx="83">
                  <c:v>0</c:v>
                </c:pt>
                <c:pt idx="84">
                  <c:v>0</c:v>
                </c:pt>
                <c:pt idx="85">
                  <c:v>0</c:v>
                </c:pt>
                <c:pt idx="86">
                  <c:v>0.04</c:v>
                </c:pt>
                <c:pt idx="87">
                  <c:v>0.1</c:v>
                </c:pt>
                <c:pt idx="88">
                  <c:v>0.24</c:v>
                </c:pt>
                <c:pt idx="89">
                  <c:v>0.28999999999999998</c:v>
                </c:pt>
                <c:pt idx="90">
                  <c:v>0.19</c:v>
                </c:pt>
                <c:pt idx="91">
                  <c:v>0.09</c:v>
                </c:pt>
                <c:pt idx="92">
                  <c:v>0.1</c:v>
                </c:pt>
                <c:pt idx="93">
                  <c:v>0.18</c:v>
                </c:pt>
                <c:pt idx="94">
                  <c:v>0.3</c:v>
                </c:pt>
                <c:pt idx="95">
                  <c:v>0.44</c:v>
                </c:pt>
                <c:pt idx="96">
                  <c:v>0.5</c:v>
                </c:pt>
                <c:pt idx="97">
                  <c:v>0.45</c:v>
                </c:pt>
                <c:pt idx="98">
                  <c:v>0.45</c:v>
                </c:pt>
                <c:pt idx="99">
                  <c:v>0.64</c:v>
                </c:pt>
                <c:pt idx="100">
                  <c:v>0.2</c:v>
                </c:pt>
                <c:pt idx="101">
                  <c:v>0.18</c:v>
                </c:pt>
                <c:pt idx="102">
                  <c:v>0.17</c:v>
                </c:pt>
                <c:pt idx="103">
                  <c:v>0.17</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85</c:f>
              <c:numCache>
                <c:formatCode>yyyy\-mm\-dd</c:formatCode>
                <c:ptCount val="84"/>
                <c:pt idx="0">
                  <c:v>44934</c:v>
                </c:pt>
                <c:pt idx="1">
                  <c:v>44941</c:v>
                </c:pt>
                <c:pt idx="2">
                  <c:v>44948</c:v>
                </c:pt>
                <c:pt idx="3">
                  <c:v>44955</c:v>
                </c:pt>
                <c:pt idx="4">
                  <c:v>44997</c:v>
                </c:pt>
                <c:pt idx="5">
                  <c:v>45004</c:v>
                </c:pt>
                <c:pt idx="6">
                  <c:v>45011</c:v>
                </c:pt>
                <c:pt idx="7">
                  <c:v>45018</c:v>
                </c:pt>
                <c:pt idx="8">
                  <c:v>45025</c:v>
                </c:pt>
                <c:pt idx="9">
                  <c:v>45032</c:v>
                </c:pt>
                <c:pt idx="10">
                  <c:v>45039</c:v>
                </c:pt>
                <c:pt idx="11">
                  <c:v>45046</c:v>
                </c:pt>
                <c:pt idx="12">
                  <c:v>45067</c:v>
                </c:pt>
                <c:pt idx="13">
                  <c:v>45074</c:v>
                </c:pt>
                <c:pt idx="14">
                  <c:v>45081</c:v>
                </c:pt>
                <c:pt idx="15">
                  <c:v>45088</c:v>
                </c:pt>
                <c:pt idx="16">
                  <c:v>45095</c:v>
                </c:pt>
                <c:pt idx="17">
                  <c:v>45102</c:v>
                </c:pt>
                <c:pt idx="18">
                  <c:v>45109</c:v>
                </c:pt>
                <c:pt idx="19">
                  <c:v>45116</c:v>
                </c:pt>
                <c:pt idx="20">
                  <c:v>45123</c:v>
                </c:pt>
                <c:pt idx="21">
                  <c:v>45165</c:v>
                </c:pt>
                <c:pt idx="22">
                  <c:v>45172</c:v>
                </c:pt>
                <c:pt idx="23">
                  <c:v>45179</c:v>
                </c:pt>
                <c:pt idx="24">
                  <c:v>45186</c:v>
                </c:pt>
                <c:pt idx="25">
                  <c:v>45221</c:v>
                </c:pt>
                <c:pt idx="26">
                  <c:v>45228</c:v>
                </c:pt>
                <c:pt idx="27">
                  <c:v>45235</c:v>
                </c:pt>
                <c:pt idx="28">
                  <c:v>45242</c:v>
                </c:pt>
                <c:pt idx="29">
                  <c:v>45249</c:v>
                </c:pt>
                <c:pt idx="30">
                  <c:v>45256</c:v>
                </c:pt>
                <c:pt idx="31">
                  <c:v>45263</c:v>
                </c:pt>
                <c:pt idx="32">
                  <c:v>45270</c:v>
                </c:pt>
                <c:pt idx="33">
                  <c:v>45277</c:v>
                </c:pt>
                <c:pt idx="34">
                  <c:v>45284</c:v>
                </c:pt>
                <c:pt idx="35">
                  <c:v>45291</c:v>
                </c:pt>
                <c:pt idx="36">
                  <c:v>45298</c:v>
                </c:pt>
                <c:pt idx="37">
                  <c:v>45305</c:v>
                </c:pt>
                <c:pt idx="38">
                  <c:v>45312</c:v>
                </c:pt>
                <c:pt idx="39">
                  <c:v>45319</c:v>
                </c:pt>
                <c:pt idx="40">
                  <c:v>45354</c:v>
                </c:pt>
                <c:pt idx="41">
                  <c:v>45361</c:v>
                </c:pt>
                <c:pt idx="42">
                  <c:v>45368</c:v>
                </c:pt>
                <c:pt idx="43">
                  <c:v>45375</c:v>
                </c:pt>
                <c:pt idx="44">
                  <c:v>45389</c:v>
                </c:pt>
                <c:pt idx="45">
                  <c:v>45396</c:v>
                </c:pt>
                <c:pt idx="46">
                  <c:v>45403</c:v>
                </c:pt>
                <c:pt idx="47">
                  <c:v>45410</c:v>
                </c:pt>
                <c:pt idx="48">
                  <c:v>45417</c:v>
                </c:pt>
                <c:pt idx="49">
                  <c:v>45424</c:v>
                </c:pt>
                <c:pt idx="50">
                  <c:v>45431</c:v>
                </c:pt>
                <c:pt idx="51">
                  <c:v>45438</c:v>
                </c:pt>
                <c:pt idx="52">
                  <c:v>45445</c:v>
                </c:pt>
                <c:pt idx="53">
                  <c:v>45452</c:v>
                </c:pt>
                <c:pt idx="54">
                  <c:v>45459</c:v>
                </c:pt>
                <c:pt idx="55">
                  <c:v>45466</c:v>
                </c:pt>
                <c:pt idx="56">
                  <c:v>45473</c:v>
                </c:pt>
                <c:pt idx="57">
                  <c:v>45480</c:v>
                </c:pt>
                <c:pt idx="58">
                  <c:v>45487</c:v>
                </c:pt>
                <c:pt idx="59">
                  <c:v>45508</c:v>
                </c:pt>
                <c:pt idx="60">
                  <c:v>45515</c:v>
                </c:pt>
                <c:pt idx="61">
                  <c:v>45522</c:v>
                </c:pt>
                <c:pt idx="62">
                  <c:v>45529</c:v>
                </c:pt>
                <c:pt idx="63">
                  <c:v>45536</c:v>
                </c:pt>
                <c:pt idx="64">
                  <c:v>45543</c:v>
                </c:pt>
                <c:pt idx="65">
                  <c:v>45550</c:v>
                </c:pt>
                <c:pt idx="66">
                  <c:v>45557</c:v>
                </c:pt>
                <c:pt idx="67">
                  <c:v>45564</c:v>
                </c:pt>
                <c:pt idx="68">
                  <c:v>45578</c:v>
                </c:pt>
                <c:pt idx="69">
                  <c:v>45585</c:v>
                </c:pt>
                <c:pt idx="70">
                  <c:v>45592</c:v>
                </c:pt>
                <c:pt idx="71">
                  <c:v>45599</c:v>
                </c:pt>
                <c:pt idx="72">
                  <c:v>45606</c:v>
                </c:pt>
                <c:pt idx="73">
                  <c:v>45613</c:v>
                </c:pt>
                <c:pt idx="74">
                  <c:v>45620</c:v>
                </c:pt>
                <c:pt idx="75">
                  <c:v>45627</c:v>
                </c:pt>
                <c:pt idx="76">
                  <c:v>45634</c:v>
                </c:pt>
                <c:pt idx="77">
                  <c:v>45641</c:v>
                </c:pt>
                <c:pt idx="78">
                  <c:v>45648</c:v>
                </c:pt>
                <c:pt idx="79">
                  <c:v>45655</c:v>
                </c:pt>
                <c:pt idx="80">
                  <c:v>45662</c:v>
                </c:pt>
                <c:pt idx="81">
                  <c:v>45669</c:v>
                </c:pt>
                <c:pt idx="82">
                  <c:v>45676</c:v>
                </c:pt>
                <c:pt idx="83">
                  <c:v>45683</c:v>
                </c:pt>
              </c:numCache>
            </c:numRef>
          </c:cat>
          <c:val>
            <c:numRef>
              <c:f>Sheet1!$B$2:$B$85</c:f>
              <c:numCache>
                <c:formatCode>General</c:formatCode>
                <c:ptCount val="84"/>
                <c:pt idx="0">
                  <c:v>73775</c:v>
                </c:pt>
                <c:pt idx="1">
                  <c:v>31097</c:v>
                </c:pt>
                <c:pt idx="2">
                  <c:v>27142</c:v>
                </c:pt>
                <c:pt idx="3">
                  <c:v>70632</c:v>
                </c:pt>
                <c:pt idx="4">
                  <c:v>79241</c:v>
                </c:pt>
                <c:pt idx="5">
                  <c:v>113982</c:v>
                </c:pt>
                <c:pt idx="6">
                  <c:v>89719</c:v>
                </c:pt>
                <c:pt idx="7">
                  <c:v>87998</c:v>
                </c:pt>
                <c:pt idx="8">
                  <c:v>77629</c:v>
                </c:pt>
                <c:pt idx="9">
                  <c:v>83787</c:v>
                </c:pt>
                <c:pt idx="10">
                  <c:v>99665</c:v>
                </c:pt>
                <c:pt idx="11">
                  <c:v>2798</c:v>
                </c:pt>
                <c:pt idx="12">
                  <c:v>70056</c:v>
                </c:pt>
                <c:pt idx="13">
                  <c:v>80589</c:v>
                </c:pt>
                <c:pt idx="14">
                  <c:v>282388</c:v>
                </c:pt>
                <c:pt idx="15">
                  <c:v>338683</c:v>
                </c:pt>
                <c:pt idx="16">
                  <c:v>341952</c:v>
                </c:pt>
                <c:pt idx="17">
                  <c:v>339879</c:v>
                </c:pt>
                <c:pt idx="18">
                  <c:v>340173</c:v>
                </c:pt>
                <c:pt idx="19">
                  <c:v>77321</c:v>
                </c:pt>
                <c:pt idx="20">
                  <c:v>65370</c:v>
                </c:pt>
                <c:pt idx="21">
                  <c:v>97781</c:v>
                </c:pt>
                <c:pt idx="22">
                  <c:v>73785</c:v>
                </c:pt>
                <c:pt idx="23">
                  <c:v>96929</c:v>
                </c:pt>
                <c:pt idx="24">
                  <c:v>63263</c:v>
                </c:pt>
                <c:pt idx="25">
                  <c:v>87075</c:v>
                </c:pt>
                <c:pt idx="26">
                  <c:v>98473</c:v>
                </c:pt>
                <c:pt idx="27">
                  <c:v>79184</c:v>
                </c:pt>
                <c:pt idx="28">
                  <c:v>347453</c:v>
                </c:pt>
                <c:pt idx="29">
                  <c:v>324416</c:v>
                </c:pt>
                <c:pt idx="30">
                  <c:v>288148</c:v>
                </c:pt>
                <c:pt idx="31">
                  <c:v>87121</c:v>
                </c:pt>
                <c:pt idx="32">
                  <c:v>67580</c:v>
                </c:pt>
                <c:pt idx="33">
                  <c:v>66161</c:v>
                </c:pt>
                <c:pt idx="34">
                  <c:v>99697</c:v>
                </c:pt>
                <c:pt idx="35">
                  <c:v>251809</c:v>
                </c:pt>
                <c:pt idx="36">
                  <c:v>322017</c:v>
                </c:pt>
                <c:pt idx="37">
                  <c:v>336233</c:v>
                </c:pt>
                <c:pt idx="38">
                  <c:v>310381</c:v>
                </c:pt>
                <c:pt idx="39">
                  <c:v>293721</c:v>
                </c:pt>
                <c:pt idx="40">
                  <c:v>77042</c:v>
                </c:pt>
                <c:pt idx="41">
                  <c:v>99260</c:v>
                </c:pt>
                <c:pt idx="42">
                  <c:v>71859</c:v>
                </c:pt>
                <c:pt idx="43">
                  <c:v>24823</c:v>
                </c:pt>
                <c:pt idx="44">
                  <c:v>84114</c:v>
                </c:pt>
                <c:pt idx="45">
                  <c:v>183068</c:v>
                </c:pt>
                <c:pt idx="46">
                  <c:v>171571</c:v>
                </c:pt>
                <c:pt idx="47">
                  <c:v>103565</c:v>
                </c:pt>
                <c:pt idx="48">
                  <c:v>53963</c:v>
                </c:pt>
                <c:pt idx="49">
                  <c:v>36041</c:v>
                </c:pt>
                <c:pt idx="50">
                  <c:v>61765</c:v>
                </c:pt>
                <c:pt idx="51">
                  <c:v>51951</c:v>
                </c:pt>
                <c:pt idx="52">
                  <c:v>193824</c:v>
                </c:pt>
                <c:pt idx="53">
                  <c:v>238147</c:v>
                </c:pt>
                <c:pt idx="54">
                  <c:v>236587</c:v>
                </c:pt>
                <c:pt idx="55">
                  <c:v>230302</c:v>
                </c:pt>
                <c:pt idx="56">
                  <c:v>228001</c:v>
                </c:pt>
                <c:pt idx="57">
                  <c:v>227491</c:v>
                </c:pt>
                <c:pt idx="58">
                  <c:v>26235</c:v>
                </c:pt>
                <c:pt idx="59">
                  <c:v>49312</c:v>
                </c:pt>
                <c:pt idx="60">
                  <c:v>56189</c:v>
                </c:pt>
                <c:pt idx="61">
                  <c:v>61690</c:v>
                </c:pt>
                <c:pt idx="62">
                  <c:v>54826</c:v>
                </c:pt>
                <c:pt idx="63">
                  <c:v>13618</c:v>
                </c:pt>
                <c:pt idx="64">
                  <c:v>14642</c:v>
                </c:pt>
                <c:pt idx="65">
                  <c:v>13438</c:v>
                </c:pt>
                <c:pt idx="66">
                  <c:v>14607</c:v>
                </c:pt>
                <c:pt idx="67">
                  <c:v>15617</c:v>
                </c:pt>
                <c:pt idx="68">
                  <c:v>910</c:v>
                </c:pt>
                <c:pt idx="69">
                  <c:v>46520</c:v>
                </c:pt>
                <c:pt idx="70">
                  <c:v>54916</c:v>
                </c:pt>
                <c:pt idx="71">
                  <c:v>247717</c:v>
                </c:pt>
                <c:pt idx="72">
                  <c:v>259457</c:v>
                </c:pt>
                <c:pt idx="73">
                  <c:v>248536</c:v>
                </c:pt>
                <c:pt idx="74">
                  <c:v>241752</c:v>
                </c:pt>
                <c:pt idx="75">
                  <c:v>221995</c:v>
                </c:pt>
                <c:pt idx="76">
                  <c:v>189946</c:v>
                </c:pt>
                <c:pt idx="77">
                  <c:v>56512</c:v>
                </c:pt>
                <c:pt idx="78">
                  <c:v>76181</c:v>
                </c:pt>
                <c:pt idx="79">
                  <c:v>65321</c:v>
                </c:pt>
                <c:pt idx="80">
                  <c:v>201725</c:v>
                </c:pt>
                <c:pt idx="81">
                  <c:v>281643</c:v>
                </c:pt>
                <c:pt idx="82">
                  <c:v>297071</c:v>
                </c:pt>
                <c:pt idx="83">
                  <c:v>269481</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85</c:f>
              <c:numCache>
                <c:formatCode>yyyy\-mm\-dd</c:formatCode>
                <c:ptCount val="84"/>
                <c:pt idx="0">
                  <c:v>44934</c:v>
                </c:pt>
                <c:pt idx="1">
                  <c:v>44941</c:v>
                </c:pt>
                <c:pt idx="2">
                  <c:v>44948</c:v>
                </c:pt>
                <c:pt idx="3">
                  <c:v>44955</c:v>
                </c:pt>
                <c:pt idx="4">
                  <c:v>44997</c:v>
                </c:pt>
                <c:pt idx="5">
                  <c:v>45004</c:v>
                </c:pt>
                <c:pt idx="6">
                  <c:v>45011</c:v>
                </c:pt>
                <c:pt idx="7">
                  <c:v>45018</c:v>
                </c:pt>
                <c:pt idx="8">
                  <c:v>45025</c:v>
                </c:pt>
                <c:pt idx="9">
                  <c:v>45032</c:v>
                </c:pt>
                <c:pt idx="10">
                  <c:v>45039</c:v>
                </c:pt>
                <c:pt idx="11">
                  <c:v>45046</c:v>
                </c:pt>
                <c:pt idx="12">
                  <c:v>45067</c:v>
                </c:pt>
                <c:pt idx="13">
                  <c:v>45074</c:v>
                </c:pt>
                <c:pt idx="14">
                  <c:v>45081</c:v>
                </c:pt>
                <c:pt idx="15">
                  <c:v>45088</c:v>
                </c:pt>
                <c:pt idx="16">
                  <c:v>45095</c:v>
                </c:pt>
                <c:pt idx="17">
                  <c:v>45102</c:v>
                </c:pt>
                <c:pt idx="18">
                  <c:v>45109</c:v>
                </c:pt>
                <c:pt idx="19">
                  <c:v>45116</c:v>
                </c:pt>
                <c:pt idx="20">
                  <c:v>45123</c:v>
                </c:pt>
                <c:pt idx="21">
                  <c:v>45165</c:v>
                </c:pt>
                <c:pt idx="22">
                  <c:v>45172</c:v>
                </c:pt>
                <c:pt idx="23">
                  <c:v>45179</c:v>
                </c:pt>
                <c:pt idx="24">
                  <c:v>45186</c:v>
                </c:pt>
                <c:pt idx="25">
                  <c:v>45221</c:v>
                </c:pt>
                <c:pt idx="26">
                  <c:v>45228</c:v>
                </c:pt>
                <c:pt idx="27">
                  <c:v>45235</c:v>
                </c:pt>
                <c:pt idx="28">
                  <c:v>45242</c:v>
                </c:pt>
                <c:pt idx="29">
                  <c:v>45249</c:v>
                </c:pt>
                <c:pt idx="30">
                  <c:v>45256</c:v>
                </c:pt>
                <c:pt idx="31">
                  <c:v>45263</c:v>
                </c:pt>
                <c:pt idx="32">
                  <c:v>45270</c:v>
                </c:pt>
                <c:pt idx="33">
                  <c:v>45277</c:v>
                </c:pt>
                <c:pt idx="34">
                  <c:v>45284</c:v>
                </c:pt>
                <c:pt idx="35">
                  <c:v>45291</c:v>
                </c:pt>
                <c:pt idx="36">
                  <c:v>45298</c:v>
                </c:pt>
                <c:pt idx="37">
                  <c:v>45305</c:v>
                </c:pt>
                <c:pt idx="38">
                  <c:v>45312</c:v>
                </c:pt>
                <c:pt idx="39">
                  <c:v>45319</c:v>
                </c:pt>
                <c:pt idx="40">
                  <c:v>45354</c:v>
                </c:pt>
                <c:pt idx="41">
                  <c:v>45361</c:v>
                </c:pt>
                <c:pt idx="42">
                  <c:v>45368</c:v>
                </c:pt>
                <c:pt idx="43">
                  <c:v>45375</c:v>
                </c:pt>
                <c:pt idx="44">
                  <c:v>45389</c:v>
                </c:pt>
                <c:pt idx="45">
                  <c:v>45396</c:v>
                </c:pt>
                <c:pt idx="46">
                  <c:v>45403</c:v>
                </c:pt>
                <c:pt idx="47">
                  <c:v>45410</c:v>
                </c:pt>
                <c:pt idx="48">
                  <c:v>45417</c:v>
                </c:pt>
                <c:pt idx="49">
                  <c:v>45424</c:v>
                </c:pt>
                <c:pt idx="50">
                  <c:v>45431</c:v>
                </c:pt>
                <c:pt idx="51">
                  <c:v>45438</c:v>
                </c:pt>
                <c:pt idx="52">
                  <c:v>45445</c:v>
                </c:pt>
                <c:pt idx="53">
                  <c:v>45452</c:v>
                </c:pt>
                <c:pt idx="54">
                  <c:v>45459</c:v>
                </c:pt>
                <c:pt idx="55">
                  <c:v>45466</c:v>
                </c:pt>
                <c:pt idx="56">
                  <c:v>45473</c:v>
                </c:pt>
                <c:pt idx="57">
                  <c:v>45480</c:v>
                </c:pt>
                <c:pt idx="58">
                  <c:v>45487</c:v>
                </c:pt>
                <c:pt idx="59">
                  <c:v>45508</c:v>
                </c:pt>
                <c:pt idx="60">
                  <c:v>45515</c:v>
                </c:pt>
                <c:pt idx="61">
                  <c:v>45522</c:v>
                </c:pt>
                <c:pt idx="62">
                  <c:v>45529</c:v>
                </c:pt>
                <c:pt idx="63">
                  <c:v>45536</c:v>
                </c:pt>
                <c:pt idx="64">
                  <c:v>45543</c:v>
                </c:pt>
                <c:pt idx="65">
                  <c:v>45550</c:v>
                </c:pt>
                <c:pt idx="66">
                  <c:v>45557</c:v>
                </c:pt>
                <c:pt idx="67">
                  <c:v>45564</c:v>
                </c:pt>
                <c:pt idx="68">
                  <c:v>45578</c:v>
                </c:pt>
                <c:pt idx="69">
                  <c:v>45585</c:v>
                </c:pt>
                <c:pt idx="70">
                  <c:v>45592</c:v>
                </c:pt>
                <c:pt idx="71">
                  <c:v>45599</c:v>
                </c:pt>
                <c:pt idx="72">
                  <c:v>45606</c:v>
                </c:pt>
                <c:pt idx="73">
                  <c:v>45613</c:v>
                </c:pt>
                <c:pt idx="74">
                  <c:v>45620</c:v>
                </c:pt>
                <c:pt idx="75">
                  <c:v>45627</c:v>
                </c:pt>
                <c:pt idx="76">
                  <c:v>45634</c:v>
                </c:pt>
                <c:pt idx="77">
                  <c:v>45641</c:v>
                </c:pt>
                <c:pt idx="78">
                  <c:v>45648</c:v>
                </c:pt>
                <c:pt idx="79">
                  <c:v>45655</c:v>
                </c:pt>
                <c:pt idx="80">
                  <c:v>45662</c:v>
                </c:pt>
                <c:pt idx="81">
                  <c:v>45669</c:v>
                </c:pt>
                <c:pt idx="82">
                  <c:v>45676</c:v>
                </c:pt>
                <c:pt idx="83">
                  <c:v>45683</c:v>
                </c:pt>
              </c:numCache>
            </c:numRef>
          </c:cat>
          <c:val>
            <c:numRef>
              <c:f>Sheet1!$C$2:$C$85</c:f>
              <c:numCache>
                <c:formatCode>General</c:formatCode>
                <c:ptCount val="84"/>
                <c:pt idx="0">
                  <c:v>172166</c:v>
                </c:pt>
                <c:pt idx="1">
                  <c:v>253812</c:v>
                </c:pt>
                <c:pt idx="2">
                  <c:v>260415</c:v>
                </c:pt>
                <c:pt idx="3">
                  <c:v>207675</c:v>
                </c:pt>
                <c:pt idx="4">
                  <c:v>225339</c:v>
                </c:pt>
                <c:pt idx="5">
                  <c:v>210860</c:v>
                </c:pt>
                <c:pt idx="6">
                  <c:v>221454</c:v>
                </c:pt>
                <c:pt idx="7">
                  <c:v>193408</c:v>
                </c:pt>
                <c:pt idx="8">
                  <c:v>235665</c:v>
                </c:pt>
                <c:pt idx="9">
                  <c:v>191153</c:v>
                </c:pt>
                <c:pt idx="10">
                  <c:v>234055</c:v>
                </c:pt>
                <c:pt idx="11">
                  <c:v>291802</c:v>
                </c:pt>
                <c:pt idx="12">
                  <c:v>206654</c:v>
                </c:pt>
                <c:pt idx="13">
                  <c:v>211694</c:v>
                </c:pt>
                <c:pt idx="14">
                  <c:v>22119</c:v>
                </c:pt>
                <c:pt idx="15">
                  <c:v>13587</c:v>
                </c:pt>
                <c:pt idx="16">
                  <c:v>15619</c:v>
                </c:pt>
                <c:pt idx="17">
                  <c:v>9485</c:v>
                </c:pt>
                <c:pt idx="18">
                  <c:v>38000</c:v>
                </c:pt>
                <c:pt idx="19">
                  <c:v>225292</c:v>
                </c:pt>
                <c:pt idx="20">
                  <c:v>219789</c:v>
                </c:pt>
                <c:pt idx="21">
                  <c:v>220492</c:v>
                </c:pt>
                <c:pt idx="22">
                  <c:v>244728</c:v>
                </c:pt>
                <c:pt idx="23">
                  <c:v>215148</c:v>
                </c:pt>
                <c:pt idx="24">
                  <c:v>226940</c:v>
                </c:pt>
                <c:pt idx="25">
                  <c:v>205352</c:v>
                </c:pt>
                <c:pt idx="26">
                  <c:v>198815</c:v>
                </c:pt>
                <c:pt idx="27">
                  <c:v>260952</c:v>
                </c:pt>
                <c:pt idx="28">
                  <c:v>0</c:v>
                </c:pt>
                <c:pt idx="29">
                  <c:v>0</c:v>
                </c:pt>
                <c:pt idx="30">
                  <c:v>302</c:v>
                </c:pt>
                <c:pt idx="31">
                  <c:v>183301</c:v>
                </c:pt>
                <c:pt idx="32">
                  <c:v>225514</c:v>
                </c:pt>
                <c:pt idx="33">
                  <c:v>226025</c:v>
                </c:pt>
                <c:pt idx="34">
                  <c:v>226010</c:v>
                </c:pt>
                <c:pt idx="35">
                  <c:v>780</c:v>
                </c:pt>
                <c:pt idx="36">
                  <c:v>117</c:v>
                </c:pt>
                <c:pt idx="37">
                  <c:v>51</c:v>
                </c:pt>
                <c:pt idx="38">
                  <c:v>96</c:v>
                </c:pt>
                <c:pt idx="39">
                  <c:v>9508</c:v>
                </c:pt>
                <c:pt idx="40">
                  <c:v>220771</c:v>
                </c:pt>
                <c:pt idx="41">
                  <c:v>212398</c:v>
                </c:pt>
                <c:pt idx="42">
                  <c:v>230289</c:v>
                </c:pt>
                <c:pt idx="43">
                  <c:v>247648</c:v>
                </c:pt>
                <c:pt idx="44">
                  <c:v>169548</c:v>
                </c:pt>
                <c:pt idx="45">
                  <c:v>120659</c:v>
                </c:pt>
                <c:pt idx="46">
                  <c:v>131631</c:v>
                </c:pt>
                <c:pt idx="47">
                  <c:v>157361</c:v>
                </c:pt>
                <c:pt idx="48">
                  <c:v>174275</c:v>
                </c:pt>
                <c:pt idx="49">
                  <c:v>177673</c:v>
                </c:pt>
                <c:pt idx="50">
                  <c:v>137772</c:v>
                </c:pt>
                <c:pt idx="51">
                  <c:v>157896</c:v>
                </c:pt>
                <c:pt idx="52">
                  <c:v>15818</c:v>
                </c:pt>
                <c:pt idx="53">
                  <c:v>3145</c:v>
                </c:pt>
                <c:pt idx="54">
                  <c:v>2297</c:v>
                </c:pt>
                <c:pt idx="55">
                  <c:v>3762</c:v>
                </c:pt>
                <c:pt idx="56">
                  <c:v>13365</c:v>
                </c:pt>
                <c:pt idx="57">
                  <c:v>18083</c:v>
                </c:pt>
                <c:pt idx="58">
                  <c:v>161472</c:v>
                </c:pt>
                <c:pt idx="59">
                  <c:v>147962</c:v>
                </c:pt>
                <c:pt idx="60">
                  <c:v>156460</c:v>
                </c:pt>
                <c:pt idx="61">
                  <c:v>147124</c:v>
                </c:pt>
                <c:pt idx="62">
                  <c:v>158578</c:v>
                </c:pt>
                <c:pt idx="63">
                  <c:v>182286</c:v>
                </c:pt>
                <c:pt idx="64">
                  <c:v>171706</c:v>
                </c:pt>
                <c:pt idx="65">
                  <c:v>172103</c:v>
                </c:pt>
                <c:pt idx="66">
                  <c:v>166994</c:v>
                </c:pt>
                <c:pt idx="67">
                  <c:v>172463</c:v>
                </c:pt>
                <c:pt idx="68">
                  <c:v>186980</c:v>
                </c:pt>
                <c:pt idx="69">
                  <c:v>154429</c:v>
                </c:pt>
                <c:pt idx="70">
                  <c:v>166645</c:v>
                </c:pt>
                <c:pt idx="71">
                  <c:v>0</c:v>
                </c:pt>
                <c:pt idx="72">
                  <c:v>181</c:v>
                </c:pt>
                <c:pt idx="73">
                  <c:v>633</c:v>
                </c:pt>
                <c:pt idx="74">
                  <c:v>19</c:v>
                </c:pt>
                <c:pt idx="75">
                  <c:v>24</c:v>
                </c:pt>
                <c:pt idx="76">
                  <c:v>29229</c:v>
                </c:pt>
                <c:pt idx="77">
                  <c:v>169291</c:v>
                </c:pt>
                <c:pt idx="78">
                  <c:v>162908</c:v>
                </c:pt>
                <c:pt idx="79">
                  <c:v>137342</c:v>
                </c:pt>
                <c:pt idx="80">
                  <c:v>17266</c:v>
                </c:pt>
                <c:pt idx="81">
                  <c:v>0</c:v>
                </c:pt>
                <c:pt idx="82">
                  <c:v>115</c:v>
                </c:pt>
                <c:pt idx="83">
                  <c:v>147</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85</c:f>
              <c:numCache>
                <c:formatCode>yyyy\-mm\-dd</c:formatCode>
                <c:ptCount val="84"/>
                <c:pt idx="0">
                  <c:v>44934</c:v>
                </c:pt>
                <c:pt idx="1">
                  <c:v>44941</c:v>
                </c:pt>
                <c:pt idx="2">
                  <c:v>44948</c:v>
                </c:pt>
                <c:pt idx="3">
                  <c:v>44955</c:v>
                </c:pt>
                <c:pt idx="4">
                  <c:v>44997</c:v>
                </c:pt>
                <c:pt idx="5">
                  <c:v>45004</c:v>
                </c:pt>
                <c:pt idx="6">
                  <c:v>45011</c:v>
                </c:pt>
                <c:pt idx="7">
                  <c:v>45018</c:v>
                </c:pt>
                <c:pt idx="8">
                  <c:v>45025</c:v>
                </c:pt>
                <c:pt idx="9">
                  <c:v>45032</c:v>
                </c:pt>
                <c:pt idx="10">
                  <c:v>45039</c:v>
                </c:pt>
                <c:pt idx="11">
                  <c:v>45046</c:v>
                </c:pt>
                <c:pt idx="12">
                  <c:v>45067</c:v>
                </c:pt>
                <c:pt idx="13">
                  <c:v>45074</c:v>
                </c:pt>
                <c:pt idx="14">
                  <c:v>45081</c:v>
                </c:pt>
                <c:pt idx="15">
                  <c:v>45088</c:v>
                </c:pt>
                <c:pt idx="16">
                  <c:v>45095</c:v>
                </c:pt>
                <c:pt idx="17">
                  <c:v>45102</c:v>
                </c:pt>
                <c:pt idx="18">
                  <c:v>45109</c:v>
                </c:pt>
                <c:pt idx="19">
                  <c:v>45116</c:v>
                </c:pt>
                <c:pt idx="20">
                  <c:v>45123</c:v>
                </c:pt>
                <c:pt idx="21">
                  <c:v>45165</c:v>
                </c:pt>
                <c:pt idx="22">
                  <c:v>45172</c:v>
                </c:pt>
                <c:pt idx="23">
                  <c:v>45179</c:v>
                </c:pt>
                <c:pt idx="24">
                  <c:v>45186</c:v>
                </c:pt>
                <c:pt idx="25">
                  <c:v>45221</c:v>
                </c:pt>
                <c:pt idx="26">
                  <c:v>45228</c:v>
                </c:pt>
                <c:pt idx="27">
                  <c:v>45235</c:v>
                </c:pt>
                <c:pt idx="28">
                  <c:v>45242</c:v>
                </c:pt>
                <c:pt idx="29">
                  <c:v>45249</c:v>
                </c:pt>
                <c:pt idx="30">
                  <c:v>45256</c:v>
                </c:pt>
                <c:pt idx="31">
                  <c:v>45263</c:v>
                </c:pt>
                <c:pt idx="32">
                  <c:v>45270</c:v>
                </c:pt>
                <c:pt idx="33">
                  <c:v>45277</c:v>
                </c:pt>
                <c:pt idx="34">
                  <c:v>45284</c:v>
                </c:pt>
                <c:pt idx="35">
                  <c:v>45291</c:v>
                </c:pt>
                <c:pt idx="36">
                  <c:v>45298</c:v>
                </c:pt>
                <c:pt idx="37">
                  <c:v>45305</c:v>
                </c:pt>
                <c:pt idx="38">
                  <c:v>45312</c:v>
                </c:pt>
                <c:pt idx="39">
                  <c:v>45319</c:v>
                </c:pt>
                <c:pt idx="40">
                  <c:v>45354</c:v>
                </c:pt>
                <c:pt idx="41">
                  <c:v>45361</c:v>
                </c:pt>
                <c:pt idx="42">
                  <c:v>45368</c:v>
                </c:pt>
                <c:pt idx="43">
                  <c:v>45375</c:v>
                </c:pt>
                <c:pt idx="44">
                  <c:v>45389</c:v>
                </c:pt>
                <c:pt idx="45">
                  <c:v>45396</c:v>
                </c:pt>
                <c:pt idx="46">
                  <c:v>45403</c:v>
                </c:pt>
                <c:pt idx="47">
                  <c:v>45410</c:v>
                </c:pt>
                <c:pt idx="48">
                  <c:v>45417</c:v>
                </c:pt>
                <c:pt idx="49">
                  <c:v>45424</c:v>
                </c:pt>
                <c:pt idx="50">
                  <c:v>45431</c:v>
                </c:pt>
                <c:pt idx="51">
                  <c:v>45438</c:v>
                </c:pt>
                <c:pt idx="52">
                  <c:v>45445</c:v>
                </c:pt>
                <c:pt idx="53">
                  <c:v>45452</c:v>
                </c:pt>
                <c:pt idx="54">
                  <c:v>45459</c:v>
                </c:pt>
                <c:pt idx="55">
                  <c:v>45466</c:v>
                </c:pt>
                <c:pt idx="56">
                  <c:v>45473</c:v>
                </c:pt>
                <c:pt idx="57">
                  <c:v>45480</c:v>
                </c:pt>
                <c:pt idx="58">
                  <c:v>45487</c:v>
                </c:pt>
                <c:pt idx="59">
                  <c:v>45508</c:v>
                </c:pt>
                <c:pt idx="60">
                  <c:v>45515</c:v>
                </c:pt>
                <c:pt idx="61">
                  <c:v>45522</c:v>
                </c:pt>
                <c:pt idx="62">
                  <c:v>45529</c:v>
                </c:pt>
                <c:pt idx="63">
                  <c:v>45536</c:v>
                </c:pt>
                <c:pt idx="64">
                  <c:v>45543</c:v>
                </c:pt>
                <c:pt idx="65">
                  <c:v>45550</c:v>
                </c:pt>
                <c:pt idx="66">
                  <c:v>45557</c:v>
                </c:pt>
                <c:pt idx="67">
                  <c:v>45564</c:v>
                </c:pt>
                <c:pt idx="68">
                  <c:v>45578</c:v>
                </c:pt>
                <c:pt idx="69">
                  <c:v>45585</c:v>
                </c:pt>
                <c:pt idx="70">
                  <c:v>45592</c:v>
                </c:pt>
                <c:pt idx="71">
                  <c:v>45599</c:v>
                </c:pt>
                <c:pt idx="72">
                  <c:v>45606</c:v>
                </c:pt>
                <c:pt idx="73">
                  <c:v>45613</c:v>
                </c:pt>
                <c:pt idx="74">
                  <c:v>45620</c:v>
                </c:pt>
                <c:pt idx="75">
                  <c:v>45627</c:v>
                </c:pt>
                <c:pt idx="76">
                  <c:v>45634</c:v>
                </c:pt>
                <c:pt idx="77">
                  <c:v>45641</c:v>
                </c:pt>
                <c:pt idx="78">
                  <c:v>45648</c:v>
                </c:pt>
                <c:pt idx="79">
                  <c:v>45655</c:v>
                </c:pt>
                <c:pt idx="80">
                  <c:v>45662</c:v>
                </c:pt>
                <c:pt idx="81">
                  <c:v>45669</c:v>
                </c:pt>
                <c:pt idx="82">
                  <c:v>45676</c:v>
                </c:pt>
                <c:pt idx="83">
                  <c:v>45683</c:v>
                </c:pt>
              </c:numCache>
            </c:numRef>
          </c:cat>
          <c:val>
            <c:numRef>
              <c:f>Sheet1!$D$2:$D$85</c:f>
              <c:numCache>
                <c:formatCode>General</c:formatCode>
                <c:ptCount val="84"/>
                <c:pt idx="0">
                  <c:v>245941</c:v>
                </c:pt>
                <c:pt idx="1">
                  <c:v>284909</c:v>
                </c:pt>
                <c:pt idx="2">
                  <c:v>287557</c:v>
                </c:pt>
                <c:pt idx="3">
                  <c:v>278307</c:v>
                </c:pt>
                <c:pt idx="4">
                  <c:v>304580</c:v>
                </c:pt>
                <c:pt idx="5">
                  <c:v>324842</c:v>
                </c:pt>
                <c:pt idx="6">
                  <c:v>311173</c:v>
                </c:pt>
                <c:pt idx="7">
                  <c:v>281406</c:v>
                </c:pt>
                <c:pt idx="8">
                  <c:v>313294</c:v>
                </c:pt>
                <c:pt idx="9">
                  <c:v>274940</c:v>
                </c:pt>
                <c:pt idx="10">
                  <c:v>333720</c:v>
                </c:pt>
                <c:pt idx="11">
                  <c:v>294600</c:v>
                </c:pt>
                <c:pt idx="12">
                  <c:v>276710</c:v>
                </c:pt>
                <c:pt idx="13">
                  <c:v>292283</c:v>
                </c:pt>
                <c:pt idx="14">
                  <c:v>304507</c:v>
                </c:pt>
                <c:pt idx="15">
                  <c:v>352270</c:v>
                </c:pt>
                <c:pt idx="16">
                  <c:v>357571</c:v>
                </c:pt>
                <c:pt idx="17">
                  <c:v>349364</c:v>
                </c:pt>
                <c:pt idx="18">
                  <c:v>378173</c:v>
                </c:pt>
                <c:pt idx="19">
                  <c:v>302613</c:v>
                </c:pt>
                <c:pt idx="20">
                  <c:v>285159</c:v>
                </c:pt>
                <c:pt idx="21">
                  <c:v>318273</c:v>
                </c:pt>
                <c:pt idx="22">
                  <c:v>318513</c:v>
                </c:pt>
                <c:pt idx="23">
                  <c:v>312077</c:v>
                </c:pt>
                <c:pt idx="24">
                  <c:v>290203</c:v>
                </c:pt>
                <c:pt idx="25">
                  <c:v>292427</c:v>
                </c:pt>
                <c:pt idx="26">
                  <c:v>297288</c:v>
                </c:pt>
                <c:pt idx="27">
                  <c:v>340136</c:v>
                </c:pt>
                <c:pt idx="28">
                  <c:v>347453</c:v>
                </c:pt>
                <c:pt idx="29">
                  <c:v>324416</c:v>
                </c:pt>
                <c:pt idx="30">
                  <c:v>288450</c:v>
                </c:pt>
                <c:pt idx="31">
                  <c:v>270422</c:v>
                </c:pt>
                <c:pt idx="32">
                  <c:v>293094</c:v>
                </c:pt>
                <c:pt idx="33">
                  <c:v>292186</c:v>
                </c:pt>
                <c:pt idx="34">
                  <c:v>325707</c:v>
                </c:pt>
                <c:pt idx="35">
                  <c:v>252589</c:v>
                </c:pt>
                <c:pt idx="36">
                  <c:v>322134</c:v>
                </c:pt>
                <c:pt idx="37">
                  <c:v>336284</c:v>
                </c:pt>
                <c:pt idx="38">
                  <c:v>310477</c:v>
                </c:pt>
                <c:pt idx="39">
                  <c:v>303229</c:v>
                </c:pt>
                <c:pt idx="40">
                  <c:v>297813</c:v>
                </c:pt>
                <c:pt idx="41">
                  <c:v>311658</c:v>
                </c:pt>
                <c:pt idx="42">
                  <c:v>302148</c:v>
                </c:pt>
                <c:pt idx="43">
                  <c:v>272471</c:v>
                </c:pt>
                <c:pt idx="44">
                  <c:v>253662</c:v>
                </c:pt>
                <c:pt idx="45">
                  <c:v>303727</c:v>
                </c:pt>
                <c:pt idx="46">
                  <c:v>303202</c:v>
                </c:pt>
                <c:pt idx="47">
                  <c:v>260926</c:v>
                </c:pt>
                <c:pt idx="48">
                  <c:v>228238</c:v>
                </c:pt>
                <c:pt idx="49">
                  <c:v>213714</c:v>
                </c:pt>
                <c:pt idx="50">
                  <c:v>199537</c:v>
                </c:pt>
                <c:pt idx="51">
                  <c:v>209847</c:v>
                </c:pt>
                <c:pt idx="52">
                  <c:v>209642</c:v>
                </c:pt>
                <c:pt idx="53">
                  <c:v>241292</c:v>
                </c:pt>
                <c:pt idx="54">
                  <c:v>238884</c:v>
                </c:pt>
                <c:pt idx="55">
                  <c:v>234064</c:v>
                </c:pt>
                <c:pt idx="56">
                  <c:v>241366</c:v>
                </c:pt>
                <c:pt idx="57">
                  <c:v>245574</c:v>
                </c:pt>
                <c:pt idx="58">
                  <c:v>187707</c:v>
                </c:pt>
                <c:pt idx="59">
                  <c:v>197274</c:v>
                </c:pt>
                <c:pt idx="60">
                  <c:v>212649</c:v>
                </c:pt>
                <c:pt idx="61">
                  <c:v>208814</c:v>
                </c:pt>
                <c:pt idx="62">
                  <c:v>213404</c:v>
                </c:pt>
                <c:pt idx="63">
                  <c:v>195904</c:v>
                </c:pt>
                <c:pt idx="64">
                  <c:v>186348</c:v>
                </c:pt>
                <c:pt idx="65">
                  <c:v>185541</c:v>
                </c:pt>
                <c:pt idx="66">
                  <c:v>181601</c:v>
                </c:pt>
                <c:pt idx="67">
                  <c:v>188080</c:v>
                </c:pt>
                <c:pt idx="68">
                  <c:v>187890</c:v>
                </c:pt>
                <c:pt idx="69">
                  <c:v>200949</c:v>
                </c:pt>
                <c:pt idx="70">
                  <c:v>221561</c:v>
                </c:pt>
                <c:pt idx="71">
                  <c:v>247717</c:v>
                </c:pt>
                <c:pt idx="72">
                  <c:v>259638</c:v>
                </c:pt>
                <c:pt idx="73">
                  <c:v>249169</c:v>
                </c:pt>
                <c:pt idx="74">
                  <c:v>241771</c:v>
                </c:pt>
                <c:pt idx="75">
                  <c:v>222019</c:v>
                </c:pt>
                <c:pt idx="76">
                  <c:v>219175</c:v>
                </c:pt>
                <c:pt idx="77">
                  <c:v>225803</c:v>
                </c:pt>
                <c:pt idx="78">
                  <c:v>239089</c:v>
                </c:pt>
                <c:pt idx="79">
                  <c:v>202663</c:v>
                </c:pt>
                <c:pt idx="80">
                  <c:v>218991</c:v>
                </c:pt>
                <c:pt idx="81">
                  <c:v>281643</c:v>
                </c:pt>
                <c:pt idx="82">
                  <c:v>297186</c:v>
                </c:pt>
                <c:pt idx="83">
                  <c:v>269628</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85</c:f>
              <c:numCache>
                <c:formatCode>yyyy\-mm\-dd</c:formatCode>
                <c:ptCount val="84"/>
                <c:pt idx="0">
                  <c:v>44934</c:v>
                </c:pt>
                <c:pt idx="1">
                  <c:v>44941</c:v>
                </c:pt>
                <c:pt idx="2">
                  <c:v>44948</c:v>
                </c:pt>
                <c:pt idx="3">
                  <c:v>44955</c:v>
                </c:pt>
                <c:pt idx="4">
                  <c:v>44997</c:v>
                </c:pt>
                <c:pt idx="5">
                  <c:v>45004</c:v>
                </c:pt>
                <c:pt idx="6">
                  <c:v>45011</c:v>
                </c:pt>
                <c:pt idx="7">
                  <c:v>45018</c:v>
                </c:pt>
                <c:pt idx="8">
                  <c:v>45025</c:v>
                </c:pt>
                <c:pt idx="9">
                  <c:v>45032</c:v>
                </c:pt>
                <c:pt idx="10">
                  <c:v>45039</c:v>
                </c:pt>
                <c:pt idx="11">
                  <c:v>45046</c:v>
                </c:pt>
                <c:pt idx="12">
                  <c:v>45067</c:v>
                </c:pt>
                <c:pt idx="13">
                  <c:v>45074</c:v>
                </c:pt>
                <c:pt idx="14">
                  <c:v>45081</c:v>
                </c:pt>
                <c:pt idx="15">
                  <c:v>45088</c:v>
                </c:pt>
                <c:pt idx="16">
                  <c:v>45095</c:v>
                </c:pt>
                <c:pt idx="17">
                  <c:v>45102</c:v>
                </c:pt>
                <c:pt idx="18">
                  <c:v>45109</c:v>
                </c:pt>
                <c:pt idx="19">
                  <c:v>45116</c:v>
                </c:pt>
                <c:pt idx="20">
                  <c:v>45123</c:v>
                </c:pt>
                <c:pt idx="21">
                  <c:v>45165</c:v>
                </c:pt>
                <c:pt idx="22">
                  <c:v>45172</c:v>
                </c:pt>
                <c:pt idx="23">
                  <c:v>45179</c:v>
                </c:pt>
                <c:pt idx="24">
                  <c:v>45186</c:v>
                </c:pt>
                <c:pt idx="25">
                  <c:v>45221</c:v>
                </c:pt>
                <c:pt idx="26">
                  <c:v>45228</c:v>
                </c:pt>
                <c:pt idx="27">
                  <c:v>45235</c:v>
                </c:pt>
                <c:pt idx="28">
                  <c:v>45242</c:v>
                </c:pt>
                <c:pt idx="29">
                  <c:v>45249</c:v>
                </c:pt>
                <c:pt idx="30">
                  <c:v>45256</c:v>
                </c:pt>
                <c:pt idx="31">
                  <c:v>45263</c:v>
                </c:pt>
                <c:pt idx="32">
                  <c:v>45270</c:v>
                </c:pt>
                <c:pt idx="33">
                  <c:v>45277</c:v>
                </c:pt>
                <c:pt idx="34">
                  <c:v>45284</c:v>
                </c:pt>
                <c:pt idx="35">
                  <c:v>45291</c:v>
                </c:pt>
                <c:pt idx="36">
                  <c:v>45298</c:v>
                </c:pt>
                <c:pt idx="37">
                  <c:v>45305</c:v>
                </c:pt>
                <c:pt idx="38">
                  <c:v>45312</c:v>
                </c:pt>
                <c:pt idx="39">
                  <c:v>45319</c:v>
                </c:pt>
                <c:pt idx="40">
                  <c:v>45354</c:v>
                </c:pt>
                <c:pt idx="41">
                  <c:v>45361</c:v>
                </c:pt>
                <c:pt idx="42">
                  <c:v>45368</c:v>
                </c:pt>
                <c:pt idx="43">
                  <c:v>45375</c:v>
                </c:pt>
                <c:pt idx="44">
                  <c:v>45389</c:v>
                </c:pt>
                <c:pt idx="45">
                  <c:v>45396</c:v>
                </c:pt>
                <c:pt idx="46">
                  <c:v>45403</c:v>
                </c:pt>
                <c:pt idx="47">
                  <c:v>45410</c:v>
                </c:pt>
                <c:pt idx="48">
                  <c:v>45417</c:v>
                </c:pt>
                <c:pt idx="49">
                  <c:v>45424</c:v>
                </c:pt>
                <c:pt idx="50">
                  <c:v>45431</c:v>
                </c:pt>
                <c:pt idx="51">
                  <c:v>45438</c:v>
                </c:pt>
                <c:pt idx="52">
                  <c:v>45445</c:v>
                </c:pt>
                <c:pt idx="53">
                  <c:v>45452</c:v>
                </c:pt>
                <c:pt idx="54">
                  <c:v>45459</c:v>
                </c:pt>
                <c:pt idx="55">
                  <c:v>45466</c:v>
                </c:pt>
                <c:pt idx="56">
                  <c:v>45473</c:v>
                </c:pt>
                <c:pt idx="57">
                  <c:v>45480</c:v>
                </c:pt>
                <c:pt idx="58">
                  <c:v>45487</c:v>
                </c:pt>
                <c:pt idx="59">
                  <c:v>45508</c:v>
                </c:pt>
                <c:pt idx="60">
                  <c:v>45515</c:v>
                </c:pt>
                <c:pt idx="61">
                  <c:v>45522</c:v>
                </c:pt>
                <c:pt idx="62">
                  <c:v>45529</c:v>
                </c:pt>
                <c:pt idx="63">
                  <c:v>45536</c:v>
                </c:pt>
                <c:pt idx="64">
                  <c:v>45543</c:v>
                </c:pt>
                <c:pt idx="65">
                  <c:v>45550</c:v>
                </c:pt>
                <c:pt idx="66">
                  <c:v>45557</c:v>
                </c:pt>
                <c:pt idx="67">
                  <c:v>45564</c:v>
                </c:pt>
                <c:pt idx="68">
                  <c:v>45578</c:v>
                </c:pt>
                <c:pt idx="69">
                  <c:v>45585</c:v>
                </c:pt>
                <c:pt idx="70">
                  <c:v>45592</c:v>
                </c:pt>
                <c:pt idx="71">
                  <c:v>45599</c:v>
                </c:pt>
                <c:pt idx="72">
                  <c:v>45606</c:v>
                </c:pt>
                <c:pt idx="73">
                  <c:v>45613</c:v>
                </c:pt>
                <c:pt idx="74">
                  <c:v>45620</c:v>
                </c:pt>
                <c:pt idx="75">
                  <c:v>45627</c:v>
                </c:pt>
                <c:pt idx="76">
                  <c:v>45634</c:v>
                </c:pt>
                <c:pt idx="77">
                  <c:v>45641</c:v>
                </c:pt>
                <c:pt idx="78">
                  <c:v>45648</c:v>
                </c:pt>
                <c:pt idx="79">
                  <c:v>45655</c:v>
                </c:pt>
                <c:pt idx="80">
                  <c:v>45662</c:v>
                </c:pt>
                <c:pt idx="81">
                  <c:v>45669</c:v>
                </c:pt>
                <c:pt idx="82">
                  <c:v>45676</c:v>
                </c:pt>
                <c:pt idx="83">
                  <c:v>45683</c:v>
                </c:pt>
              </c:numCache>
            </c:numRef>
          </c:cat>
          <c:val>
            <c:numRef>
              <c:f>Sheet1!$E$2:$E$85</c:f>
              <c:numCache>
                <c:formatCode>General</c:formatCode>
                <c:ptCount val="84"/>
                <c:pt idx="0">
                  <c:v>273061</c:v>
                </c:pt>
                <c:pt idx="1">
                  <c:v>272544</c:v>
                </c:pt>
                <c:pt idx="2">
                  <c:v>271452</c:v>
                </c:pt>
                <c:pt idx="3">
                  <c:v>267374</c:v>
                </c:pt>
                <c:pt idx="4">
                  <c:v>276001</c:v>
                </c:pt>
                <c:pt idx="5">
                  <c:v>277482</c:v>
                </c:pt>
                <c:pt idx="6">
                  <c:v>275479</c:v>
                </c:pt>
                <c:pt idx="7">
                  <c:v>273403</c:v>
                </c:pt>
                <c:pt idx="8">
                  <c:v>293781</c:v>
                </c:pt>
                <c:pt idx="9">
                  <c:v>286800</c:v>
                </c:pt>
                <c:pt idx="10">
                  <c:v>281856</c:v>
                </c:pt>
                <c:pt idx="11">
                  <c:v>279698</c:v>
                </c:pt>
                <c:pt idx="12">
                  <c:v>280268</c:v>
                </c:pt>
                <c:pt idx="13">
                  <c:v>278355</c:v>
                </c:pt>
                <c:pt idx="14">
                  <c:v>272674</c:v>
                </c:pt>
                <c:pt idx="15">
                  <c:v>267175</c:v>
                </c:pt>
                <c:pt idx="16">
                  <c:v>272538</c:v>
                </c:pt>
                <c:pt idx="17">
                  <c:v>269708</c:v>
                </c:pt>
                <c:pt idx="18">
                  <c:v>279142</c:v>
                </c:pt>
                <c:pt idx="19">
                  <c:v>275873</c:v>
                </c:pt>
                <c:pt idx="20">
                  <c:v>278644</c:v>
                </c:pt>
                <c:pt idx="21">
                  <c:v>280802</c:v>
                </c:pt>
                <c:pt idx="22">
                  <c:v>280992</c:v>
                </c:pt>
                <c:pt idx="23">
                  <c:v>279993</c:v>
                </c:pt>
                <c:pt idx="24">
                  <c:v>280225</c:v>
                </c:pt>
                <c:pt idx="25">
                  <c:v>284582</c:v>
                </c:pt>
                <c:pt idx="26">
                  <c:v>288263</c:v>
                </c:pt>
                <c:pt idx="27">
                  <c:v>289689</c:v>
                </c:pt>
                <c:pt idx="28">
                  <c:v>286103</c:v>
                </c:pt>
                <c:pt idx="29">
                  <c:v>286457</c:v>
                </c:pt>
                <c:pt idx="30">
                  <c:v>283815</c:v>
                </c:pt>
                <c:pt idx="31">
                  <c:v>287810</c:v>
                </c:pt>
                <c:pt idx="32">
                  <c:v>282205</c:v>
                </c:pt>
                <c:pt idx="33">
                  <c:v>282066</c:v>
                </c:pt>
                <c:pt idx="34">
                  <c:v>282917</c:v>
                </c:pt>
                <c:pt idx="35">
                  <c:v>276095</c:v>
                </c:pt>
                <c:pt idx="36">
                  <c:v>283033</c:v>
                </c:pt>
                <c:pt idx="37">
                  <c:v>289568</c:v>
                </c:pt>
                <c:pt idx="38">
                  <c:v>277803</c:v>
                </c:pt>
                <c:pt idx="39">
                  <c:v>255136</c:v>
                </c:pt>
                <c:pt idx="40">
                  <c:v>276367</c:v>
                </c:pt>
                <c:pt idx="41">
                  <c:v>271915</c:v>
                </c:pt>
                <c:pt idx="42">
                  <c:v>269094</c:v>
                </c:pt>
                <c:pt idx="43">
                  <c:v>271550</c:v>
                </c:pt>
                <c:pt idx="44">
                  <c:v>264076</c:v>
                </c:pt>
                <c:pt idx="45">
                  <c:v>255558</c:v>
                </c:pt>
                <c:pt idx="46">
                  <c:v>247035</c:v>
                </c:pt>
                <c:pt idx="47">
                  <c:v>239011</c:v>
                </c:pt>
                <c:pt idx="48">
                  <c:v>231578</c:v>
                </c:pt>
                <c:pt idx="49">
                  <c:v>227447</c:v>
                </c:pt>
                <c:pt idx="50">
                  <c:v>219789</c:v>
                </c:pt>
                <c:pt idx="51">
                  <c:v>214212</c:v>
                </c:pt>
                <c:pt idx="52">
                  <c:v>211206</c:v>
                </c:pt>
                <c:pt idx="53">
                  <c:v>205213</c:v>
                </c:pt>
                <c:pt idx="54">
                  <c:v>199412</c:v>
                </c:pt>
                <c:pt idx="55">
                  <c:v>196266</c:v>
                </c:pt>
                <c:pt idx="56">
                  <c:v>182240</c:v>
                </c:pt>
                <c:pt idx="57">
                  <c:v>183931</c:v>
                </c:pt>
                <c:pt idx="58">
                  <c:v>185071</c:v>
                </c:pt>
                <c:pt idx="59">
                  <c:v>187572</c:v>
                </c:pt>
                <c:pt idx="60">
                  <c:v>191872</c:v>
                </c:pt>
                <c:pt idx="61">
                  <c:v>191294</c:v>
                </c:pt>
                <c:pt idx="62">
                  <c:v>192601</c:v>
                </c:pt>
                <c:pt idx="63">
                  <c:v>190990</c:v>
                </c:pt>
                <c:pt idx="64">
                  <c:v>191698</c:v>
                </c:pt>
                <c:pt idx="65">
                  <c:v>197462</c:v>
                </c:pt>
                <c:pt idx="66">
                  <c:v>197582</c:v>
                </c:pt>
                <c:pt idx="67">
                  <c:v>196351</c:v>
                </c:pt>
                <c:pt idx="68">
                  <c:v>201608</c:v>
                </c:pt>
                <c:pt idx="69">
                  <c:v>202387</c:v>
                </c:pt>
                <c:pt idx="70">
                  <c:v>205115</c:v>
                </c:pt>
                <c:pt idx="71">
                  <c:v>210108</c:v>
                </c:pt>
                <c:pt idx="72">
                  <c:v>191349</c:v>
                </c:pt>
                <c:pt idx="73">
                  <c:v>192860</c:v>
                </c:pt>
                <c:pt idx="74">
                  <c:v>204034</c:v>
                </c:pt>
                <c:pt idx="75">
                  <c:v>212856</c:v>
                </c:pt>
                <c:pt idx="76">
                  <c:v>204172</c:v>
                </c:pt>
                <c:pt idx="77">
                  <c:v>203796</c:v>
                </c:pt>
                <c:pt idx="78">
                  <c:v>205121</c:v>
                </c:pt>
                <c:pt idx="79">
                  <c:v>204556</c:v>
                </c:pt>
                <c:pt idx="80">
                  <c:v>201373</c:v>
                </c:pt>
                <c:pt idx="81">
                  <c:v>201270</c:v>
                </c:pt>
                <c:pt idx="82">
                  <c:v>204364</c:v>
                </c:pt>
                <c:pt idx="83">
                  <c:v>18931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85</c:f>
              <c:numCache>
                <c:formatCode>yyyy\-mm\-dd</c:formatCode>
                <c:ptCount val="84"/>
                <c:pt idx="0">
                  <c:v>44934</c:v>
                </c:pt>
                <c:pt idx="1">
                  <c:v>44941</c:v>
                </c:pt>
                <c:pt idx="2">
                  <c:v>44948</c:v>
                </c:pt>
                <c:pt idx="3">
                  <c:v>44955</c:v>
                </c:pt>
                <c:pt idx="4">
                  <c:v>44997</c:v>
                </c:pt>
                <c:pt idx="5">
                  <c:v>45004</c:v>
                </c:pt>
                <c:pt idx="6">
                  <c:v>45011</c:v>
                </c:pt>
                <c:pt idx="7">
                  <c:v>45018</c:v>
                </c:pt>
                <c:pt idx="8">
                  <c:v>45025</c:v>
                </c:pt>
                <c:pt idx="9">
                  <c:v>45032</c:v>
                </c:pt>
                <c:pt idx="10">
                  <c:v>45039</c:v>
                </c:pt>
                <c:pt idx="11">
                  <c:v>45046</c:v>
                </c:pt>
                <c:pt idx="12">
                  <c:v>45067</c:v>
                </c:pt>
                <c:pt idx="13">
                  <c:v>45074</c:v>
                </c:pt>
                <c:pt idx="14">
                  <c:v>45081</c:v>
                </c:pt>
                <c:pt idx="15">
                  <c:v>45088</c:v>
                </c:pt>
                <c:pt idx="16">
                  <c:v>45095</c:v>
                </c:pt>
                <c:pt idx="17">
                  <c:v>45102</c:v>
                </c:pt>
                <c:pt idx="18">
                  <c:v>45109</c:v>
                </c:pt>
                <c:pt idx="19">
                  <c:v>45116</c:v>
                </c:pt>
                <c:pt idx="20">
                  <c:v>45123</c:v>
                </c:pt>
                <c:pt idx="21">
                  <c:v>45165</c:v>
                </c:pt>
                <c:pt idx="22">
                  <c:v>45172</c:v>
                </c:pt>
                <c:pt idx="23">
                  <c:v>45179</c:v>
                </c:pt>
                <c:pt idx="24">
                  <c:v>45186</c:v>
                </c:pt>
                <c:pt idx="25">
                  <c:v>45221</c:v>
                </c:pt>
                <c:pt idx="26">
                  <c:v>45228</c:v>
                </c:pt>
                <c:pt idx="27">
                  <c:v>45235</c:v>
                </c:pt>
                <c:pt idx="28">
                  <c:v>45242</c:v>
                </c:pt>
                <c:pt idx="29">
                  <c:v>45249</c:v>
                </c:pt>
                <c:pt idx="30">
                  <c:v>45256</c:v>
                </c:pt>
                <c:pt idx="31">
                  <c:v>45263</c:v>
                </c:pt>
                <c:pt idx="32">
                  <c:v>45270</c:v>
                </c:pt>
                <c:pt idx="33">
                  <c:v>45277</c:v>
                </c:pt>
                <c:pt idx="34">
                  <c:v>45284</c:v>
                </c:pt>
                <c:pt idx="35">
                  <c:v>45291</c:v>
                </c:pt>
                <c:pt idx="36">
                  <c:v>45298</c:v>
                </c:pt>
                <c:pt idx="37">
                  <c:v>45305</c:v>
                </c:pt>
                <c:pt idx="38">
                  <c:v>45312</c:v>
                </c:pt>
                <c:pt idx="39">
                  <c:v>45319</c:v>
                </c:pt>
                <c:pt idx="40">
                  <c:v>45354</c:v>
                </c:pt>
                <c:pt idx="41">
                  <c:v>45361</c:v>
                </c:pt>
                <c:pt idx="42">
                  <c:v>45368</c:v>
                </c:pt>
                <c:pt idx="43">
                  <c:v>45375</c:v>
                </c:pt>
                <c:pt idx="44">
                  <c:v>45389</c:v>
                </c:pt>
                <c:pt idx="45">
                  <c:v>45396</c:v>
                </c:pt>
                <c:pt idx="46">
                  <c:v>45403</c:v>
                </c:pt>
                <c:pt idx="47">
                  <c:v>45410</c:v>
                </c:pt>
                <c:pt idx="48">
                  <c:v>45417</c:v>
                </c:pt>
                <c:pt idx="49">
                  <c:v>45424</c:v>
                </c:pt>
                <c:pt idx="50">
                  <c:v>45431</c:v>
                </c:pt>
                <c:pt idx="51">
                  <c:v>45438</c:v>
                </c:pt>
                <c:pt idx="52">
                  <c:v>45445</c:v>
                </c:pt>
                <c:pt idx="53">
                  <c:v>45452</c:v>
                </c:pt>
                <c:pt idx="54">
                  <c:v>45459</c:v>
                </c:pt>
                <c:pt idx="55">
                  <c:v>45466</c:v>
                </c:pt>
                <c:pt idx="56">
                  <c:v>45473</c:v>
                </c:pt>
                <c:pt idx="57">
                  <c:v>45480</c:v>
                </c:pt>
                <c:pt idx="58">
                  <c:v>45487</c:v>
                </c:pt>
                <c:pt idx="59">
                  <c:v>45508</c:v>
                </c:pt>
                <c:pt idx="60">
                  <c:v>45515</c:v>
                </c:pt>
                <c:pt idx="61">
                  <c:v>45522</c:v>
                </c:pt>
                <c:pt idx="62">
                  <c:v>45529</c:v>
                </c:pt>
                <c:pt idx="63">
                  <c:v>45536</c:v>
                </c:pt>
                <c:pt idx="64">
                  <c:v>45543</c:v>
                </c:pt>
                <c:pt idx="65">
                  <c:v>45550</c:v>
                </c:pt>
                <c:pt idx="66">
                  <c:v>45557</c:v>
                </c:pt>
                <c:pt idx="67">
                  <c:v>45564</c:v>
                </c:pt>
                <c:pt idx="68">
                  <c:v>45578</c:v>
                </c:pt>
                <c:pt idx="69">
                  <c:v>45585</c:v>
                </c:pt>
                <c:pt idx="70">
                  <c:v>45592</c:v>
                </c:pt>
                <c:pt idx="71">
                  <c:v>45599</c:v>
                </c:pt>
                <c:pt idx="72">
                  <c:v>45606</c:v>
                </c:pt>
                <c:pt idx="73">
                  <c:v>45613</c:v>
                </c:pt>
                <c:pt idx="74">
                  <c:v>45620</c:v>
                </c:pt>
                <c:pt idx="75">
                  <c:v>45627</c:v>
                </c:pt>
                <c:pt idx="76">
                  <c:v>45634</c:v>
                </c:pt>
                <c:pt idx="77">
                  <c:v>45641</c:v>
                </c:pt>
                <c:pt idx="78">
                  <c:v>45648</c:v>
                </c:pt>
                <c:pt idx="79">
                  <c:v>45655</c:v>
                </c:pt>
                <c:pt idx="80">
                  <c:v>45662</c:v>
                </c:pt>
                <c:pt idx="81">
                  <c:v>45669</c:v>
                </c:pt>
                <c:pt idx="82">
                  <c:v>45676</c:v>
                </c:pt>
                <c:pt idx="83">
                  <c:v>45683</c:v>
                </c:pt>
              </c:numCache>
            </c:numRef>
          </c:cat>
          <c:val>
            <c:numRef>
              <c:f>Sheet1!$F$2:$F$85</c:f>
              <c:numCache>
                <c:formatCode>General</c:formatCode>
                <c:ptCount val="84"/>
                <c:pt idx="0">
                  <c:v>0.34</c:v>
                </c:pt>
                <c:pt idx="1">
                  <c:v>0.14000000000000001</c:v>
                </c:pt>
                <c:pt idx="2">
                  <c:v>0.12</c:v>
                </c:pt>
                <c:pt idx="3">
                  <c:v>0.3</c:v>
                </c:pt>
                <c:pt idx="4">
                  <c:v>0.28999999999999998</c:v>
                </c:pt>
                <c:pt idx="5">
                  <c:v>0.41</c:v>
                </c:pt>
                <c:pt idx="6">
                  <c:v>0.35</c:v>
                </c:pt>
                <c:pt idx="7">
                  <c:v>0.35</c:v>
                </c:pt>
                <c:pt idx="8">
                  <c:v>0.28000000000000003</c:v>
                </c:pt>
                <c:pt idx="9">
                  <c:v>0.34</c:v>
                </c:pt>
                <c:pt idx="10">
                  <c:v>0.34</c:v>
                </c:pt>
                <c:pt idx="11">
                  <c:v>0.01</c:v>
                </c:pt>
                <c:pt idx="12">
                  <c:v>0.3</c:v>
                </c:pt>
                <c:pt idx="13">
                  <c:v>0.33</c:v>
                </c:pt>
                <c:pt idx="14">
                  <c:v>0.93</c:v>
                </c:pt>
                <c:pt idx="15">
                  <c:v>0.97</c:v>
                </c:pt>
                <c:pt idx="16">
                  <c:v>0.96</c:v>
                </c:pt>
                <c:pt idx="17">
                  <c:v>0.98</c:v>
                </c:pt>
                <c:pt idx="18">
                  <c:v>0.9</c:v>
                </c:pt>
                <c:pt idx="19">
                  <c:v>0.27</c:v>
                </c:pt>
                <c:pt idx="20">
                  <c:v>0.23</c:v>
                </c:pt>
                <c:pt idx="21">
                  <c:v>0.32</c:v>
                </c:pt>
                <c:pt idx="22">
                  <c:v>0.24</c:v>
                </c:pt>
                <c:pt idx="23">
                  <c:v>0.32</c:v>
                </c:pt>
                <c:pt idx="24">
                  <c:v>0.23</c:v>
                </c:pt>
                <c:pt idx="25">
                  <c:v>0.3</c:v>
                </c:pt>
                <c:pt idx="26">
                  <c:v>0.36</c:v>
                </c:pt>
                <c:pt idx="27">
                  <c:v>0.25</c:v>
                </c:pt>
                <c:pt idx="28">
                  <c:v>1</c:v>
                </c:pt>
                <c:pt idx="29">
                  <c:v>1</c:v>
                </c:pt>
                <c:pt idx="30">
                  <c:v>1</c:v>
                </c:pt>
                <c:pt idx="31">
                  <c:v>0.34</c:v>
                </c:pt>
                <c:pt idx="32">
                  <c:v>0.25</c:v>
                </c:pt>
                <c:pt idx="33">
                  <c:v>0.24</c:v>
                </c:pt>
                <c:pt idx="34">
                  <c:v>0.32</c:v>
                </c:pt>
                <c:pt idx="35">
                  <c:v>1</c:v>
                </c:pt>
                <c:pt idx="36">
                  <c:v>1</c:v>
                </c:pt>
                <c:pt idx="37">
                  <c:v>1</c:v>
                </c:pt>
                <c:pt idx="38">
                  <c:v>1</c:v>
                </c:pt>
                <c:pt idx="39">
                  <c:v>0.97</c:v>
                </c:pt>
                <c:pt idx="40">
                  <c:v>0.26</c:v>
                </c:pt>
                <c:pt idx="41">
                  <c:v>0.31</c:v>
                </c:pt>
                <c:pt idx="42">
                  <c:v>0.23</c:v>
                </c:pt>
                <c:pt idx="43">
                  <c:v>0.1</c:v>
                </c:pt>
                <c:pt idx="44">
                  <c:v>0.34</c:v>
                </c:pt>
                <c:pt idx="45">
                  <c:v>0.62</c:v>
                </c:pt>
                <c:pt idx="46">
                  <c:v>0.59</c:v>
                </c:pt>
                <c:pt idx="47">
                  <c:v>0.4</c:v>
                </c:pt>
                <c:pt idx="48">
                  <c:v>0.24</c:v>
                </c:pt>
                <c:pt idx="49">
                  <c:v>0.18</c:v>
                </c:pt>
                <c:pt idx="50">
                  <c:v>0.32</c:v>
                </c:pt>
                <c:pt idx="51">
                  <c:v>0.26</c:v>
                </c:pt>
                <c:pt idx="52">
                  <c:v>0.93</c:v>
                </c:pt>
                <c:pt idx="53">
                  <c:v>0.99</c:v>
                </c:pt>
                <c:pt idx="54">
                  <c:v>0.99</c:v>
                </c:pt>
                <c:pt idx="55">
                  <c:v>0.99</c:v>
                </c:pt>
                <c:pt idx="56">
                  <c:v>0.95</c:v>
                </c:pt>
                <c:pt idx="57">
                  <c:v>0.93</c:v>
                </c:pt>
                <c:pt idx="58">
                  <c:v>0.14000000000000001</c:v>
                </c:pt>
                <c:pt idx="59">
                  <c:v>0.26</c:v>
                </c:pt>
                <c:pt idx="60">
                  <c:v>0.28000000000000003</c:v>
                </c:pt>
                <c:pt idx="61">
                  <c:v>0.34</c:v>
                </c:pt>
                <c:pt idx="62">
                  <c:v>0.28000000000000003</c:v>
                </c:pt>
                <c:pt idx="63">
                  <c:v>7.0000000000000007E-2</c:v>
                </c:pt>
                <c:pt idx="64">
                  <c:v>0.08</c:v>
                </c:pt>
                <c:pt idx="65">
                  <c:v>7.0000000000000007E-2</c:v>
                </c:pt>
                <c:pt idx="66">
                  <c:v>0.08</c:v>
                </c:pt>
                <c:pt idx="67">
                  <c:v>0.08</c:v>
                </c:pt>
                <c:pt idx="68">
                  <c:v>0</c:v>
                </c:pt>
                <c:pt idx="69">
                  <c:v>0.26</c:v>
                </c:pt>
                <c:pt idx="70">
                  <c:v>0.28999999999999998</c:v>
                </c:pt>
                <c:pt idx="71">
                  <c:v>1</c:v>
                </c:pt>
                <c:pt idx="72">
                  <c:v>1</c:v>
                </c:pt>
                <c:pt idx="73">
                  <c:v>1</c:v>
                </c:pt>
                <c:pt idx="74">
                  <c:v>1</c:v>
                </c:pt>
                <c:pt idx="75">
                  <c:v>1</c:v>
                </c:pt>
                <c:pt idx="76">
                  <c:v>0.87</c:v>
                </c:pt>
                <c:pt idx="77">
                  <c:v>0.26</c:v>
                </c:pt>
                <c:pt idx="78">
                  <c:v>0.34</c:v>
                </c:pt>
                <c:pt idx="79">
                  <c:v>0.36</c:v>
                </c:pt>
                <c:pt idx="80">
                  <c:v>0.93</c:v>
                </c:pt>
                <c:pt idx="81">
                  <c:v>1</c:v>
                </c:pt>
                <c:pt idx="82">
                  <c:v>1</c:v>
                </c:pt>
                <c:pt idx="83">
                  <c:v>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105</c:f>
              <c:numCache>
                <c:formatCode>yyyy\-mm\-dd</c:formatCode>
                <c:ptCount val="104"/>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30</c:v>
                </c:pt>
                <c:pt idx="27">
                  <c:v>45151</c:v>
                </c:pt>
                <c:pt idx="28">
                  <c:v>45158</c:v>
                </c:pt>
                <c:pt idx="29">
                  <c:v>45165</c:v>
                </c:pt>
                <c:pt idx="30">
                  <c:v>45172</c:v>
                </c:pt>
                <c:pt idx="31">
                  <c:v>45179</c:v>
                </c:pt>
                <c:pt idx="32">
                  <c:v>45186</c:v>
                </c:pt>
                <c:pt idx="33">
                  <c:v>45193</c:v>
                </c:pt>
                <c:pt idx="34">
                  <c:v>45200</c:v>
                </c:pt>
                <c:pt idx="35">
                  <c:v>45207</c:v>
                </c:pt>
                <c:pt idx="36">
                  <c:v>45214</c:v>
                </c:pt>
                <c:pt idx="37">
                  <c:v>45221</c:v>
                </c:pt>
                <c:pt idx="38">
                  <c:v>45228</c:v>
                </c:pt>
                <c:pt idx="39">
                  <c:v>45235</c:v>
                </c:pt>
                <c:pt idx="40">
                  <c:v>45242</c:v>
                </c:pt>
                <c:pt idx="41">
                  <c:v>45249</c:v>
                </c:pt>
                <c:pt idx="42">
                  <c:v>45256</c:v>
                </c:pt>
                <c:pt idx="43">
                  <c:v>45263</c:v>
                </c:pt>
                <c:pt idx="44">
                  <c:v>45270</c:v>
                </c:pt>
                <c:pt idx="45">
                  <c:v>45277</c:v>
                </c:pt>
                <c:pt idx="46">
                  <c:v>45284</c:v>
                </c:pt>
                <c:pt idx="47">
                  <c:v>45291</c:v>
                </c:pt>
                <c:pt idx="48">
                  <c:v>45298</c:v>
                </c:pt>
                <c:pt idx="49">
                  <c:v>45305</c:v>
                </c:pt>
                <c:pt idx="50">
                  <c:v>45312</c:v>
                </c:pt>
                <c:pt idx="51">
                  <c:v>45319</c:v>
                </c:pt>
                <c:pt idx="52">
                  <c:v>45326</c:v>
                </c:pt>
                <c:pt idx="53">
                  <c:v>45333</c:v>
                </c:pt>
                <c:pt idx="54">
                  <c:v>45340</c:v>
                </c:pt>
                <c:pt idx="55">
                  <c:v>45347</c:v>
                </c:pt>
                <c:pt idx="56">
                  <c:v>45354</c:v>
                </c:pt>
                <c:pt idx="57">
                  <c:v>45361</c:v>
                </c:pt>
                <c:pt idx="58">
                  <c:v>45368</c:v>
                </c:pt>
                <c:pt idx="59">
                  <c:v>45375</c:v>
                </c:pt>
                <c:pt idx="60">
                  <c:v>45382</c:v>
                </c:pt>
                <c:pt idx="61">
                  <c:v>45389</c:v>
                </c:pt>
                <c:pt idx="62">
                  <c:v>45396</c:v>
                </c:pt>
                <c:pt idx="63">
                  <c:v>45403</c:v>
                </c:pt>
                <c:pt idx="64">
                  <c:v>45410</c:v>
                </c:pt>
                <c:pt idx="65">
                  <c:v>45417</c:v>
                </c:pt>
                <c:pt idx="66">
                  <c:v>45424</c:v>
                </c:pt>
                <c:pt idx="67">
                  <c:v>45431</c:v>
                </c:pt>
                <c:pt idx="68">
                  <c:v>45438</c:v>
                </c:pt>
                <c:pt idx="69">
                  <c:v>45445</c:v>
                </c:pt>
                <c:pt idx="70">
                  <c:v>45452</c:v>
                </c:pt>
                <c:pt idx="71">
                  <c:v>45459</c:v>
                </c:pt>
                <c:pt idx="72">
                  <c:v>45466</c:v>
                </c:pt>
                <c:pt idx="73">
                  <c:v>45473</c:v>
                </c:pt>
                <c:pt idx="74">
                  <c:v>45480</c:v>
                </c:pt>
                <c:pt idx="75">
                  <c:v>45487</c:v>
                </c:pt>
                <c:pt idx="76">
                  <c:v>45494</c:v>
                </c:pt>
                <c:pt idx="77">
                  <c:v>45501</c:v>
                </c:pt>
                <c:pt idx="78">
                  <c:v>45508</c:v>
                </c:pt>
                <c:pt idx="79">
                  <c:v>45515</c:v>
                </c:pt>
                <c:pt idx="80">
                  <c:v>45522</c:v>
                </c:pt>
                <c:pt idx="81">
                  <c:v>45529</c:v>
                </c:pt>
                <c:pt idx="82">
                  <c:v>45536</c:v>
                </c:pt>
                <c:pt idx="83">
                  <c:v>45543</c:v>
                </c:pt>
                <c:pt idx="84">
                  <c:v>45550</c:v>
                </c:pt>
                <c:pt idx="85">
                  <c:v>45557</c:v>
                </c:pt>
                <c:pt idx="86">
                  <c:v>45564</c:v>
                </c:pt>
                <c:pt idx="87">
                  <c:v>45571</c:v>
                </c:pt>
                <c:pt idx="88">
                  <c:v>45578</c:v>
                </c:pt>
                <c:pt idx="89">
                  <c:v>45585</c:v>
                </c:pt>
                <c:pt idx="90">
                  <c:v>45592</c:v>
                </c:pt>
                <c:pt idx="91">
                  <c:v>45599</c:v>
                </c:pt>
                <c:pt idx="92">
                  <c:v>45606</c:v>
                </c:pt>
                <c:pt idx="93">
                  <c:v>45613</c:v>
                </c:pt>
                <c:pt idx="94">
                  <c:v>45620</c:v>
                </c:pt>
                <c:pt idx="95">
                  <c:v>45627</c:v>
                </c:pt>
                <c:pt idx="96">
                  <c:v>45634</c:v>
                </c:pt>
                <c:pt idx="97">
                  <c:v>45641</c:v>
                </c:pt>
                <c:pt idx="98">
                  <c:v>45648</c:v>
                </c:pt>
                <c:pt idx="99">
                  <c:v>45655</c:v>
                </c:pt>
                <c:pt idx="100">
                  <c:v>45662</c:v>
                </c:pt>
                <c:pt idx="101">
                  <c:v>45669</c:v>
                </c:pt>
                <c:pt idx="102">
                  <c:v>45676</c:v>
                </c:pt>
                <c:pt idx="103">
                  <c:v>45683</c:v>
                </c:pt>
              </c:numCache>
            </c:numRef>
          </c:cat>
          <c:val>
            <c:numRef>
              <c:f>Sheet1!$B$2:$B$105</c:f>
              <c:numCache>
                <c:formatCode>General</c:formatCode>
                <c:ptCount val="104"/>
                <c:pt idx="0">
                  <c:v>124887</c:v>
                </c:pt>
                <c:pt idx="1">
                  <c:v>88325</c:v>
                </c:pt>
                <c:pt idx="2">
                  <c:v>89322</c:v>
                </c:pt>
                <c:pt idx="3">
                  <c:v>59592</c:v>
                </c:pt>
                <c:pt idx="4">
                  <c:v>45985</c:v>
                </c:pt>
                <c:pt idx="5">
                  <c:v>63369</c:v>
                </c:pt>
                <c:pt idx="6">
                  <c:v>73309</c:v>
                </c:pt>
                <c:pt idx="7">
                  <c:v>128560</c:v>
                </c:pt>
                <c:pt idx="8">
                  <c:v>91762</c:v>
                </c:pt>
                <c:pt idx="9">
                  <c:v>91581</c:v>
                </c:pt>
                <c:pt idx="10">
                  <c:v>106666</c:v>
                </c:pt>
                <c:pt idx="11">
                  <c:v>114310</c:v>
                </c:pt>
                <c:pt idx="12">
                  <c:v>31424</c:v>
                </c:pt>
                <c:pt idx="13">
                  <c:v>68736</c:v>
                </c:pt>
                <c:pt idx="14">
                  <c:v>94095</c:v>
                </c:pt>
                <c:pt idx="15">
                  <c:v>121812</c:v>
                </c:pt>
                <c:pt idx="16">
                  <c:v>38957</c:v>
                </c:pt>
                <c:pt idx="17">
                  <c:v>9496</c:v>
                </c:pt>
                <c:pt idx="18">
                  <c:v>5832</c:v>
                </c:pt>
                <c:pt idx="19">
                  <c:v>4267</c:v>
                </c:pt>
                <c:pt idx="20">
                  <c:v>4756</c:v>
                </c:pt>
                <c:pt idx="21">
                  <c:v>3469</c:v>
                </c:pt>
                <c:pt idx="22">
                  <c:v>2581</c:v>
                </c:pt>
                <c:pt idx="23">
                  <c:v>1622</c:v>
                </c:pt>
                <c:pt idx="24">
                  <c:v>3609</c:v>
                </c:pt>
                <c:pt idx="25">
                  <c:v>4457</c:v>
                </c:pt>
                <c:pt idx="26">
                  <c:v>145023</c:v>
                </c:pt>
                <c:pt idx="27">
                  <c:v>197993</c:v>
                </c:pt>
                <c:pt idx="28">
                  <c:v>417496</c:v>
                </c:pt>
                <c:pt idx="29">
                  <c:v>425979</c:v>
                </c:pt>
                <c:pt idx="30">
                  <c:v>431490</c:v>
                </c:pt>
                <c:pt idx="31">
                  <c:v>404046</c:v>
                </c:pt>
                <c:pt idx="32">
                  <c:v>371595</c:v>
                </c:pt>
                <c:pt idx="33">
                  <c:v>363183</c:v>
                </c:pt>
                <c:pt idx="34">
                  <c:v>368295</c:v>
                </c:pt>
                <c:pt idx="35">
                  <c:v>402877</c:v>
                </c:pt>
                <c:pt idx="36">
                  <c:v>452050</c:v>
                </c:pt>
                <c:pt idx="37">
                  <c:v>455627</c:v>
                </c:pt>
                <c:pt idx="38">
                  <c:v>432227</c:v>
                </c:pt>
                <c:pt idx="39">
                  <c:v>109570</c:v>
                </c:pt>
                <c:pt idx="40">
                  <c:v>92929</c:v>
                </c:pt>
                <c:pt idx="41">
                  <c:v>111800</c:v>
                </c:pt>
                <c:pt idx="42">
                  <c:v>173588</c:v>
                </c:pt>
                <c:pt idx="43">
                  <c:v>190142</c:v>
                </c:pt>
                <c:pt idx="44">
                  <c:v>285756</c:v>
                </c:pt>
                <c:pt idx="45">
                  <c:v>347454</c:v>
                </c:pt>
                <c:pt idx="46">
                  <c:v>588849</c:v>
                </c:pt>
                <c:pt idx="47">
                  <c:v>619477</c:v>
                </c:pt>
                <c:pt idx="48">
                  <c:v>22478</c:v>
                </c:pt>
                <c:pt idx="49">
                  <c:v>46048</c:v>
                </c:pt>
                <c:pt idx="50">
                  <c:v>22951</c:v>
                </c:pt>
                <c:pt idx="51">
                  <c:v>11239</c:v>
                </c:pt>
                <c:pt idx="52">
                  <c:v>40758</c:v>
                </c:pt>
                <c:pt idx="53">
                  <c:v>73442</c:v>
                </c:pt>
                <c:pt idx="54">
                  <c:v>123274</c:v>
                </c:pt>
                <c:pt idx="55">
                  <c:v>254506</c:v>
                </c:pt>
                <c:pt idx="56">
                  <c:v>165008</c:v>
                </c:pt>
                <c:pt idx="57">
                  <c:v>116548</c:v>
                </c:pt>
                <c:pt idx="58">
                  <c:v>94911</c:v>
                </c:pt>
                <c:pt idx="59">
                  <c:v>191597</c:v>
                </c:pt>
                <c:pt idx="60">
                  <c:v>136729</c:v>
                </c:pt>
                <c:pt idx="61">
                  <c:v>126928</c:v>
                </c:pt>
                <c:pt idx="62">
                  <c:v>132441</c:v>
                </c:pt>
                <c:pt idx="63">
                  <c:v>184920</c:v>
                </c:pt>
                <c:pt idx="64">
                  <c:v>120792</c:v>
                </c:pt>
                <c:pt idx="65">
                  <c:v>123232</c:v>
                </c:pt>
                <c:pt idx="66">
                  <c:v>111693</c:v>
                </c:pt>
                <c:pt idx="67">
                  <c:v>119126</c:v>
                </c:pt>
                <c:pt idx="68">
                  <c:v>121233</c:v>
                </c:pt>
                <c:pt idx="69">
                  <c:v>1146</c:v>
                </c:pt>
                <c:pt idx="70">
                  <c:v>1941</c:v>
                </c:pt>
                <c:pt idx="71">
                  <c:v>1636</c:v>
                </c:pt>
                <c:pt idx="72">
                  <c:v>3440</c:v>
                </c:pt>
                <c:pt idx="73">
                  <c:v>1163</c:v>
                </c:pt>
                <c:pt idx="74">
                  <c:v>3053</c:v>
                </c:pt>
                <c:pt idx="75">
                  <c:v>28894</c:v>
                </c:pt>
                <c:pt idx="76">
                  <c:v>53244</c:v>
                </c:pt>
                <c:pt idx="77">
                  <c:v>54768</c:v>
                </c:pt>
                <c:pt idx="78">
                  <c:v>52939</c:v>
                </c:pt>
                <c:pt idx="79">
                  <c:v>15422</c:v>
                </c:pt>
                <c:pt idx="80">
                  <c:v>13768</c:v>
                </c:pt>
                <c:pt idx="81">
                  <c:v>1571</c:v>
                </c:pt>
                <c:pt idx="82">
                  <c:v>8979</c:v>
                </c:pt>
                <c:pt idx="83">
                  <c:v>1787</c:v>
                </c:pt>
                <c:pt idx="84">
                  <c:v>1979</c:v>
                </c:pt>
                <c:pt idx="85">
                  <c:v>1757</c:v>
                </c:pt>
                <c:pt idx="86">
                  <c:v>28269</c:v>
                </c:pt>
                <c:pt idx="87">
                  <c:v>69306</c:v>
                </c:pt>
                <c:pt idx="88">
                  <c:v>133393</c:v>
                </c:pt>
                <c:pt idx="89">
                  <c:v>187532</c:v>
                </c:pt>
                <c:pt idx="90">
                  <c:v>132265</c:v>
                </c:pt>
                <c:pt idx="91">
                  <c:v>73051</c:v>
                </c:pt>
                <c:pt idx="92">
                  <c:v>92917</c:v>
                </c:pt>
                <c:pt idx="93">
                  <c:v>162888</c:v>
                </c:pt>
                <c:pt idx="94">
                  <c:v>294214</c:v>
                </c:pt>
                <c:pt idx="95">
                  <c:v>404954</c:v>
                </c:pt>
                <c:pt idx="96">
                  <c:v>486127</c:v>
                </c:pt>
                <c:pt idx="97">
                  <c:v>521417</c:v>
                </c:pt>
                <c:pt idx="98">
                  <c:v>642249</c:v>
                </c:pt>
                <c:pt idx="99">
                  <c:v>904039</c:v>
                </c:pt>
                <c:pt idx="100">
                  <c:v>177058</c:v>
                </c:pt>
                <c:pt idx="101">
                  <c:v>153752</c:v>
                </c:pt>
                <c:pt idx="102">
                  <c:v>151608</c:v>
                </c:pt>
                <c:pt idx="103">
                  <c:v>136604</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105</c:f>
              <c:numCache>
                <c:formatCode>yyyy\-mm\-dd</c:formatCode>
                <c:ptCount val="104"/>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30</c:v>
                </c:pt>
                <c:pt idx="27">
                  <c:v>45151</c:v>
                </c:pt>
                <c:pt idx="28">
                  <c:v>45158</c:v>
                </c:pt>
                <c:pt idx="29">
                  <c:v>45165</c:v>
                </c:pt>
                <c:pt idx="30">
                  <c:v>45172</c:v>
                </c:pt>
                <c:pt idx="31">
                  <c:v>45179</c:v>
                </c:pt>
                <c:pt idx="32">
                  <c:v>45186</c:v>
                </c:pt>
                <c:pt idx="33">
                  <c:v>45193</c:v>
                </c:pt>
                <c:pt idx="34">
                  <c:v>45200</c:v>
                </c:pt>
                <c:pt idx="35">
                  <c:v>45207</c:v>
                </c:pt>
                <c:pt idx="36">
                  <c:v>45214</c:v>
                </c:pt>
                <c:pt idx="37">
                  <c:v>45221</c:v>
                </c:pt>
                <c:pt idx="38">
                  <c:v>45228</c:v>
                </c:pt>
                <c:pt idx="39">
                  <c:v>45235</c:v>
                </c:pt>
                <c:pt idx="40">
                  <c:v>45242</c:v>
                </c:pt>
                <c:pt idx="41">
                  <c:v>45249</c:v>
                </c:pt>
                <c:pt idx="42">
                  <c:v>45256</c:v>
                </c:pt>
                <c:pt idx="43">
                  <c:v>45263</c:v>
                </c:pt>
                <c:pt idx="44">
                  <c:v>45270</c:v>
                </c:pt>
                <c:pt idx="45">
                  <c:v>45277</c:v>
                </c:pt>
                <c:pt idx="46">
                  <c:v>45284</c:v>
                </c:pt>
                <c:pt idx="47">
                  <c:v>45291</c:v>
                </c:pt>
                <c:pt idx="48">
                  <c:v>45298</c:v>
                </c:pt>
                <c:pt idx="49">
                  <c:v>45305</c:v>
                </c:pt>
                <c:pt idx="50">
                  <c:v>45312</c:v>
                </c:pt>
                <c:pt idx="51">
                  <c:v>45319</c:v>
                </c:pt>
                <c:pt idx="52">
                  <c:v>45326</c:v>
                </c:pt>
                <c:pt idx="53">
                  <c:v>45333</c:v>
                </c:pt>
                <c:pt idx="54">
                  <c:v>45340</c:v>
                </c:pt>
                <c:pt idx="55">
                  <c:v>45347</c:v>
                </c:pt>
                <c:pt idx="56">
                  <c:v>45354</c:v>
                </c:pt>
                <c:pt idx="57">
                  <c:v>45361</c:v>
                </c:pt>
                <c:pt idx="58">
                  <c:v>45368</c:v>
                </c:pt>
                <c:pt idx="59">
                  <c:v>45375</c:v>
                </c:pt>
                <c:pt idx="60">
                  <c:v>45382</c:v>
                </c:pt>
                <c:pt idx="61">
                  <c:v>45389</c:v>
                </c:pt>
                <c:pt idx="62">
                  <c:v>45396</c:v>
                </c:pt>
                <c:pt idx="63">
                  <c:v>45403</c:v>
                </c:pt>
                <c:pt idx="64">
                  <c:v>45410</c:v>
                </c:pt>
                <c:pt idx="65">
                  <c:v>45417</c:v>
                </c:pt>
                <c:pt idx="66">
                  <c:v>45424</c:v>
                </c:pt>
                <c:pt idx="67">
                  <c:v>45431</c:v>
                </c:pt>
                <c:pt idx="68">
                  <c:v>45438</c:v>
                </c:pt>
                <c:pt idx="69">
                  <c:v>45445</c:v>
                </c:pt>
                <c:pt idx="70">
                  <c:v>45452</c:v>
                </c:pt>
                <c:pt idx="71">
                  <c:v>45459</c:v>
                </c:pt>
                <c:pt idx="72">
                  <c:v>45466</c:v>
                </c:pt>
                <c:pt idx="73">
                  <c:v>45473</c:v>
                </c:pt>
                <c:pt idx="74">
                  <c:v>45480</c:v>
                </c:pt>
                <c:pt idx="75">
                  <c:v>45487</c:v>
                </c:pt>
                <c:pt idx="76">
                  <c:v>45494</c:v>
                </c:pt>
                <c:pt idx="77">
                  <c:v>45501</c:v>
                </c:pt>
                <c:pt idx="78">
                  <c:v>45508</c:v>
                </c:pt>
                <c:pt idx="79">
                  <c:v>45515</c:v>
                </c:pt>
                <c:pt idx="80">
                  <c:v>45522</c:v>
                </c:pt>
                <c:pt idx="81">
                  <c:v>45529</c:v>
                </c:pt>
                <c:pt idx="82">
                  <c:v>45536</c:v>
                </c:pt>
                <c:pt idx="83">
                  <c:v>45543</c:v>
                </c:pt>
                <c:pt idx="84">
                  <c:v>45550</c:v>
                </c:pt>
                <c:pt idx="85">
                  <c:v>45557</c:v>
                </c:pt>
                <c:pt idx="86">
                  <c:v>45564</c:v>
                </c:pt>
                <c:pt idx="87">
                  <c:v>45571</c:v>
                </c:pt>
                <c:pt idx="88">
                  <c:v>45578</c:v>
                </c:pt>
                <c:pt idx="89">
                  <c:v>45585</c:v>
                </c:pt>
                <c:pt idx="90">
                  <c:v>45592</c:v>
                </c:pt>
                <c:pt idx="91">
                  <c:v>45599</c:v>
                </c:pt>
                <c:pt idx="92">
                  <c:v>45606</c:v>
                </c:pt>
                <c:pt idx="93">
                  <c:v>45613</c:v>
                </c:pt>
                <c:pt idx="94">
                  <c:v>45620</c:v>
                </c:pt>
                <c:pt idx="95">
                  <c:v>45627</c:v>
                </c:pt>
                <c:pt idx="96">
                  <c:v>45634</c:v>
                </c:pt>
                <c:pt idx="97">
                  <c:v>45641</c:v>
                </c:pt>
                <c:pt idx="98">
                  <c:v>45648</c:v>
                </c:pt>
                <c:pt idx="99">
                  <c:v>45655</c:v>
                </c:pt>
                <c:pt idx="100">
                  <c:v>45662</c:v>
                </c:pt>
                <c:pt idx="101">
                  <c:v>45669</c:v>
                </c:pt>
                <c:pt idx="102">
                  <c:v>45676</c:v>
                </c:pt>
                <c:pt idx="103">
                  <c:v>45683</c:v>
                </c:pt>
              </c:numCache>
            </c:numRef>
          </c:cat>
          <c:val>
            <c:numRef>
              <c:f>Sheet1!$C$2:$C$105</c:f>
              <c:numCache>
                <c:formatCode>General</c:formatCode>
                <c:ptCount val="104"/>
                <c:pt idx="0">
                  <c:v>626766</c:v>
                </c:pt>
                <c:pt idx="1">
                  <c:v>621705</c:v>
                </c:pt>
                <c:pt idx="2">
                  <c:v>610980</c:v>
                </c:pt>
                <c:pt idx="3">
                  <c:v>587925</c:v>
                </c:pt>
                <c:pt idx="4">
                  <c:v>610084</c:v>
                </c:pt>
                <c:pt idx="5">
                  <c:v>618129</c:v>
                </c:pt>
                <c:pt idx="6">
                  <c:v>588858</c:v>
                </c:pt>
                <c:pt idx="7">
                  <c:v>607789</c:v>
                </c:pt>
                <c:pt idx="8">
                  <c:v>649406</c:v>
                </c:pt>
                <c:pt idx="9">
                  <c:v>601290</c:v>
                </c:pt>
                <c:pt idx="10">
                  <c:v>589178</c:v>
                </c:pt>
                <c:pt idx="11">
                  <c:v>598106</c:v>
                </c:pt>
                <c:pt idx="12">
                  <c:v>621773</c:v>
                </c:pt>
                <c:pt idx="13">
                  <c:v>650118</c:v>
                </c:pt>
                <c:pt idx="14">
                  <c:v>553651</c:v>
                </c:pt>
                <c:pt idx="15">
                  <c:v>610655</c:v>
                </c:pt>
                <c:pt idx="16">
                  <c:v>616402</c:v>
                </c:pt>
                <c:pt idx="17">
                  <c:v>681321</c:v>
                </c:pt>
                <c:pt idx="18">
                  <c:v>641213</c:v>
                </c:pt>
                <c:pt idx="19">
                  <c:v>637139</c:v>
                </c:pt>
                <c:pt idx="20">
                  <c:v>690797</c:v>
                </c:pt>
                <c:pt idx="21">
                  <c:v>711570</c:v>
                </c:pt>
                <c:pt idx="22">
                  <c:v>719989</c:v>
                </c:pt>
                <c:pt idx="23">
                  <c:v>695446</c:v>
                </c:pt>
                <c:pt idx="24">
                  <c:v>680424</c:v>
                </c:pt>
                <c:pt idx="25">
                  <c:v>698011</c:v>
                </c:pt>
                <c:pt idx="26">
                  <c:v>618005</c:v>
                </c:pt>
                <c:pt idx="27">
                  <c:v>520388</c:v>
                </c:pt>
                <c:pt idx="28">
                  <c:v>316209</c:v>
                </c:pt>
                <c:pt idx="29">
                  <c:v>287762</c:v>
                </c:pt>
                <c:pt idx="30">
                  <c:v>296424</c:v>
                </c:pt>
                <c:pt idx="31">
                  <c:v>315252</c:v>
                </c:pt>
                <c:pt idx="32">
                  <c:v>305756</c:v>
                </c:pt>
                <c:pt idx="33">
                  <c:v>299212</c:v>
                </c:pt>
                <c:pt idx="34">
                  <c:v>295075</c:v>
                </c:pt>
                <c:pt idx="35">
                  <c:v>300768</c:v>
                </c:pt>
                <c:pt idx="36">
                  <c:v>271068</c:v>
                </c:pt>
                <c:pt idx="37">
                  <c:v>272350</c:v>
                </c:pt>
                <c:pt idx="38">
                  <c:v>277988</c:v>
                </c:pt>
                <c:pt idx="39">
                  <c:v>628455</c:v>
                </c:pt>
                <c:pt idx="40">
                  <c:v>657886</c:v>
                </c:pt>
                <c:pt idx="41">
                  <c:v>629083</c:v>
                </c:pt>
                <c:pt idx="42">
                  <c:v>583973</c:v>
                </c:pt>
                <c:pt idx="43">
                  <c:v>622282</c:v>
                </c:pt>
                <c:pt idx="44">
                  <c:v>635226</c:v>
                </c:pt>
                <c:pt idx="45">
                  <c:v>623274</c:v>
                </c:pt>
                <c:pt idx="46">
                  <c:v>673706</c:v>
                </c:pt>
                <c:pt idx="47">
                  <c:v>499243</c:v>
                </c:pt>
                <c:pt idx="48">
                  <c:v>551895</c:v>
                </c:pt>
                <c:pt idx="49">
                  <c:v>500677</c:v>
                </c:pt>
                <c:pt idx="50">
                  <c:v>534065</c:v>
                </c:pt>
                <c:pt idx="51">
                  <c:v>587107</c:v>
                </c:pt>
                <c:pt idx="52">
                  <c:v>587613</c:v>
                </c:pt>
                <c:pt idx="53">
                  <c:v>565257</c:v>
                </c:pt>
                <c:pt idx="54">
                  <c:v>480333</c:v>
                </c:pt>
                <c:pt idx="55">
                  <c:v>468627</c:v>
                </c:pt>
                <c:pt idx="56">
                  <c:v>511941</c:v>
                </c:pt>
                <c:pt idx="57">
                  <c:v>537177</c:v>
                </c:pt>
                <c:pt idx="58">
                  <c:v>522787</c:v>
                </c:pt>
                <c:pt idx="59">
                  <c:v>477986</c:v>
                </c:pt>
                <c:pt idx="60">
                  <c:v>512094</c:v>
                </c:pt>
                <c:pt idx="61">
                  <c:v>512537</c:v>
                </c:pt>
                <c:pt idx="62">
                  <c:v>484247</c:v>
                </c:pt>
                <c:pt idx="63">
                  <c:v>488318</c:v>
                </c:pt>
                <c:pt idx="64">
                  <c:v>488224</c:v>
                </c:pt>
                <c:pt idx="65">
                  <c:v>516622</c:v>
                </c:pt>
                <c:pt idx="66">
                  <c:v>513517</c:v>
                </c:pt>
                <c:pt idx="67">
                  <c:v>482039</c:v>
                </c:pt>
                <c:pt idx="68">
                  <c:v>546661</c:v>
                </c:pt>
                <c:pt idx="69">
                  <c:v>610194</c:v>
                </c:pt>
                <c:pt idx="70">
                  <c:v>658376</c:v>
                </c:pt>
                <c:pt idx="71">
                  <c:v>620936</c:v>
                </c:pt>
                <c:pt idx="72">
                  <c:v>618776</c:v>
                </c:pt>
                <c:pt idx="73">
                  <c:v>616212</c:v>
                </c:pt>
                <c:pt idx="74">
                  <c:v>666232</c:v>
                </c:pt>
                <c:pt idx="75">
                  <c:v>591752</c:v>
                </c:pt>
                <c:pt idx="76">
                  <c:v>575596</c:v>
                </c:pt>
                <c:pt idx="77">
                  <c:v>561891</c:v>
                </c:pt>
                <c:pt idx="78">
                  <c:v>586620</c:v>
                </c:pt>
                <c:pt idx="79">
                  <c:v>610780</c:v>
                </c:pt>
                <c:pt idx="80">
                  <c:v>605599</c:v>
                </c:pt>
                <c:pt idx="81">
                  <c:v>608238</c:v>
                </c:pt>
                <c:pt idx="82">
                  <c:v>598287</c:v>
                </c:pt>
                <c:pt idx="83">
                  <c:v>614485</c:v>
                </c:pt>
                <c:pt idx="84">
                  <c:v>573532</c:v>
                </c:pt>
                <c:pt idx="85">
                  <c:v>576262</c:v>
                </c:pt>
                <c:pt idx="86">
                  <c:v>540592</c:v>
                </c:pt>
                <c:pt idx="87">
                  <c:v>592284</c:v>
                </c:pt>
                <c:pt idx="88">
                  <c:v>477479</c:v>
                </c:pt>
                <c:pt idx="89">
                  <c:v>465499</c:v>
                </c:pt>
                <c:pt idx="90">
                  <c:v>507940</c:v>
                </c:pt>
                <c:pt idx="91">
                  <c:v>572316</c:v>
                </c:pt>
                <c:pt idx="92">
                  <c:v>594214</c:v>
                </c:pt>
                <c:pt idx="93">
                  <c:v>515734</c:v>
                </c:pt>
                <c:pt idx="94">
                  <c:v>396720</c:v>
                </c:pt>
                <c:pt idx="95">
                  <c:v>330944</c:v>
                </c:pt>
                <c:pt idx="96">
                  <c:v>362273</c:v>
                </c:pt>
                <c:pt idx="97">
                  <c:v>391348</c:v>
                </c:pt>
                <c:pt idx="98">
                  <c:v>446137</c:v>
                </c:pt>
                <c:pt idx="99">
                  <c:v>410877</c:v>
                </c:pt>
                <c:pt idx="100">
                  <c:v>399989</c:v>
                </c:pt>
                <c:pt idx="101">
                  <c:v>373381</c:v>
                </c:pt>
                <c:pt idx="102">
                  <c:v>395564</c:v>
                </c:pt>
                <c:pt idx="103">
                  <c:v>356837</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105</c:f>
              <c:numCache>
                <c:formatCode>yyyy\-mm\-dd</c:formatCode>
                <c:ptCount val="104"/>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30</c:v>
                </c:pt>
                <c:pt idx="27">
                  <c:v>45151</c:v>
                </c:pt>
                <c:pt idx="28">
                  <c:v>45158</c:v>
                </c:pt>
                <c:pt idx="29">
                  <c:v>45165</c:v>
                </c:pt>
                <c:pt idx="30">
                  <c:v>45172</c:v>
                </c:pt>
                <c:pt idx="31">
                  <c:v>45179</c:v>
                </c:pt>
                <c:pt idx="32">
                  <c:v>45186</c:v>
                </c:pt>
                <c:pt idx="33">
                  <c:v>45193</c:v>
                </c:pt>
                <c:pt idx="34">
                  <c:v>45200</c:v>
                </c:pt>
                <c:pt idx="35">
                  <c:v>45207</c:v>
                </c:pt>
                <c:pt idx="36">
                  <c:v>45214</c:v>
                </c:pt>
                <c:pt idx="37">
                  <c:v>45221</c:v>
                </c:pt>
                <c:pt idx="38">
                  <c:v>45228</c:v>
                </c:pt>
                <c:pt idx="39">
                  <c:v>45235</c:v>
                </c:pt>
                <c:pt idx="40">
                  <c:v>45242</c:v>
                </c:pt>
                <c:pt idx="41">
                  <c:v>45249</c:v>
                </c:pt>
                <c:pt idx="42">
                  <c:v>45256</c:v>
                </c:pt>
                <c:pt idx="43">
                  <c:v>45263</c:v>
                </c:pt>
                <c:pt idx="44">
                  <c:v>45270</c:v>
                </c:pt>
                <c:pt idx="45">
                  <c:v>45277</c:v>
                </c:pt>
                <c:pt idx="46">
                  <c:v>45284</c:v>
                </c:pt>
                <c:pt idx="47">
                  <c:v>45291</c:v>
                </c:pt>
                <c:pt idx="48">
                  <c:v>45298</c:v>
                </c:pt>
                <c:pt idx="49">
                  <c:v>45305</c:v>
                </c:pt>
                <c:pt idx="50">
                  <c:v>45312</c:v>
                </c:pt>
                <c:pt idx="51">
                  <c:v>45319</c:v>
                </c:pt>
                <c:pt idx="52">
                  <c:v>45326</c:v>
                </c:pt>
                <c:pt idx="53">
                  <c:v>45333</c:v>
                </c:pt>
                <c:pt idx="54">
                  <c:v>45340</c:v>
                </c:pt>
                <c:pt idx="55">
                  <c:v>45347</c:v>
                </c:pt>
                <c:pt idx="56">
                  <c:v>45354</c:v>
                </c:pt>
                <c:pt idx="57">
                  <c:v>45361</c:v>
                </c:pt>
                <c:pt idx="58">
                  <c:v>45368</c:v>
                </c:pt>
                <c:pt idx="59">
                  <c:v>45375</c:v>
                </c:pt>
                <c:pt idx="60">
                  <c:v>45382</c:v>
                </c:pt>
                <c:pt idx="61">
                  <c:v>45389</c:v>
                </c:pt>
                <c:pt idx="62">
                  <c:v>45396</c:v>
                </c:pt>
                <c:pt idx="63">
                  <c:v>45403</c:v>
                </c:pt>
                <c:pt idx="64">
                  <c:v>45410</c:v>
                </c:pt>
                <c:pt idx="65">
                  <c:v>45417</c:v>
                </c:pt>
                <c:pt idx="66">
                  <c:v>45424</c:v>
                </c:pt>
                <c:pt idx="67">
                  <c:v>45431</c:v>
                </c:pt>
                <c:pt idx="68">
                  <c:v>45438</c:v>
                </c:pt>
                <c:pt idx="69">
                  <c:v>45445</c:v>
                </c:pt>
                <c:pt idx="70">
                  <c:v>45452</c:v>
                </c:pt>
                <c:pt idx="71">
                  <c:v>45459</c:v>
                </c:pt>
                <c:pt idx="72">
                  <c:v>45466</c:v>
                </c:pt>
                <c:pt idx="73">
                  <c:v>45473</c:v>
                </c:pt>
                <c:pt idx="74">
                  <c:v>45480</c:v>
                </c:pt>
                <c:pt idx="75">
                  <c:v>45487</c:v>
                </c:pt>
                <c:pt idx="76">
                  <c:v>45494</c:v>
                </c:pt>
                <c:pt idx="77">
                  <c:v>45501</c:v>
                </c:pt>
                <c:pt idx="78">
                  <c:v>45508</c:v>
                </c:pt>
                <c:pt idx="79">
                  <c:v>45515</c:v>
                </c:pt>
                <c:pt idx="80">
                  <c:v>45522</c:v>
                </c:pt>
                <c:pt idx="81">
                  <c:v>45529</c:v>
                </c:pt>
                <c:pt idx="82">
                  <c:v>45536</c:v>
                </c:pt>
                <c:pt idx="83">
                  <c:v>45543</c:v>
                </c:pt>
                <c:pt idx="84">
                  <c:v>45550</c:v>
                </c:pt>
                <c:pt idx="85">
                  <c:v>45557</c:v>
                </c:pt>
                <c:pt idx="86">
                  <c:v>45564</c:v>
                </c:pt>
                <c:pt idx="87">
                  <c:v>45571</c:v>
                </c:pt>
                <c:pt idx="88">
                  <c:v>45578</c:v>
                </c:pt>
                <c:pt idx="89">
                  <c:v>45585</c:v>
                </c:pt>
                <c:pt idx="90">
                  <c:v>45592</c:v>
                </c:pt>
                <c:pt idx="91">
                  <c:v>45599</c:v>
                </c:pt>
                <c:pt idx="92">
                  <c:v>45606</c:v>
                </c:pt>
                <c:pt idx="93">
                  <c:v>45613</c:v>
                </c:pt>
                <c:pt idx="94">
                  <c:v>45620</c:v>
                </c:pt>
                <c:pt idx="95">
                  <c:v>45627</c:v>
                </c:pt>
                <c:pt idx="96">
                  <c:v>45634</c:v>
                </c:pt>
                <c:pt idx="97">
                  <c:v>45641</c:v>
                </c:pt>
                <c:pt idx="98">
                  <c:v>45648</c:v>
                </c:pt>
                <c:pt idx="99">
                  <c:v>45655</c:v>
                </c:pt>
                <c:pt idx="100">
                  <c:v>45662</c:v>
                </c:pt>
                <c:pt idx="101">
                  <c:v>45669</c:v>
                </c:pt>
                <c:pt idx="102">
                  <c:v>45676</c:v>
                </c:pt>
                <c:pt idx="103">
                  <c:v>45683</c:v>
                </c:pt>
              </c:numCache>
            </c:numRef>
          </c:cat>
          <c:val>
            <c:numRef>
              <c:f>Sheet1!$D$2:$D$105</c:f>
              <c:numCache>
                <c:formatCode>General</c:formatCode>
                <c:ptCount val="104"/>
                <c:pt idx="0">
                  <c:v>751653</c:v>
                </c:pt>
                <c:pt idx="1">
                  <c:v>710030</c:v>
                </c:pt>
                <c:pt idx="2">
                  <c:v>700302</c:v>
                </c:pt>
                <c:pt idx="3">
                  <c:v>647517</c:v>
                </c:pt>
                <c:pt idx="4">
                  <c:v>656069</c:v>
                </c:pt>
                <c:pt idx="5">
                  <c:v>681498</c:v>
                </c:pt>
                <c:pt idx="6">
                  <c:v>662167</c:v>
                </c:pt>
                <c:pt idx="7">
                  <c:v>736349</c:v>
                </c:pt>
                <c:pt idx="8">
                  <c:v>741168</c:v>
                </c:pt>
                <c:pt idx="9">
                  <c:v>692871</c:v>
                </c:pt>
                <c:pt idx="10">
                  <c:v>695844</c:v>
                </c:pt>
                <c:pt idx="11">
                  <c:v>712416</c:v>
                </c:pt>
                <c:pt idx="12">
                  <c:v>653197</c:v>
                </c:pt>
                <c:pt idx="13">
                  <c:v>718854</c:v>
                </c:pt>
                <c:pt idx="14">
                  <c:v>647746</c:v>
                </c:pt>
                <c:pt idx="15">
                  <c:v>732467</c:v>
                </c:pt>
                <c:pt idx="16">
                  <c:v>655359</c:v>
                </c:pt>
                <c:pt idx="17">
                  <c:v>690817</c:v>
                </c:pt>
                <c:pt idx="18">
                  <c:v>647045</c:v>
                </c:pt>
                <c:pt idx="19">
                  <c:v>641406</c:v>
                </c:pt>
                <c:pt idx="20">
                  <c:v>695553</c:v>
                </c:pt>
                <c:pt idx="21">
                  <c:v>715039</c:v>
                </c:pt>
                <c:pt idx="22">
                  <c:v>722570</c:v>
                </c:pt>
                <c:pt idx="23">
                  <c:v>697068</c:v>
                </c:pt>
                <c:pt idx="24">
                  <c:v>684033</c:v>
                </c:pt>
                <c:pt idx="25">
                  <c:v>702468</c:v>
                </c:pt>
                <c:pt idx="26">
                  <c:v>763028</c:v>
                </c:pt>
                <c:pt idx="27">
                  <c:v>718381</c:v>
                </c:pt>
                <c:pt idx="28">
                  <c:v>733705</c:v>
                </c:pt>
                <c:pt idx="29">
                  <c:v>713741</c:v>
                </c:pt>
                <c:pt idx="30">
                  <c:v>727914</c:v>
                </c:pt>
                <c:pt idx="31">
                  <c:v>719298</c:v>
                </c:pt>
                <c:pt idx="32">
                  <c:v>677351</c:v>
                </c:pt>
                <c:pt idx="33">
                  <c:v>662395</c:v>
                </c:pt>
                <c:pt idx="34">
                  <c:v>663370</c:v>
                </c:pt>
                <c:pt idx="35">
                  <c:v>703645</c:v>
                </c:pt>
                <c:pt idx="36">
                  <c:v>723118</c:v>
                </c:pt>
                <c:pt idx="37">
                  <c:v>727977</c:v>
                </c:pt>
                <c:pt idx="38">
                  <c:v>710215</c:v>
                </c:pt>
                <c:pt idx="39">
                  <c:v>738025</c:v>
                </c:pt>
                <c:pt idx="40">
                  <c:v>750815</c:v>
                </c:pt>
                <c:pt idx="41">
                  <c:v>740883</c:v>
                </c:pt>
                <c:pt idx="42">
                  <c:v>757561</c:v>
                </c:pt>
                <c:pt idx="43">
                  <c:v>812424</c:v>
                </c:pt>
                <c:pt idx="44">
                  <c:v>920982</c:v>
                </c:pt>
                <c:pt idx="45">
                  <c:v>970728</c:v>
                </c:pt>
                <c:pt idx="46">
                  <c:v>1262555</c:v>
                </c:pt>
                <c:pt idx="47">
                  <c:v>1118720</c:v>
                </c:pt>
                <c:pt idx="48">
                  <c:v>574373</c:v>
                </c:pt>
                <c:pt idx="49">
                  <c:v>546725</c:v>
                </c:pt>
                <c:pt idx="50">
                  <c:v>557016</c:v>
                </c:pt>
                <c:pt idx="51">
                  <c:v>598346</c:v>
                </c:pt>
                <c:pt idx="52">
                  <c:v>628371</c:v>
                </c:pt>
                <c:pt idx="53">
                  <c:v>638699</c:v>
                </c:pt>
                <c:pt idx="54">
                  <c:v>603607</c:v>
                </c:pt>
                <c:pt idx="55">
                  <c:v>723133</c:v>
                </c:pt>
                <c:pt idx="56">
                  <c:v>676949</c:v>
                </c:pt>
                <c:pt idx="57">
                  <c:v>653725</c:v>
                </c:pt>
                <c:pt idx="58">
                  <c:v>617698</c:v>
                </c:pt>
                <c:pt idx="59">
                  <c:v>669583</c:v>
                </c:pt>
                <c:pt idx="60">
                  <c:v>648823</c:v>
                </c:pt>
                <c:pt idx="61">
                  <c:v>639465</c:v>
                </c:pt>
                <c:pt idx="62">
                  <c:v>616688</c:v>
                </c:pt>
                <c:pt idx="63">
                  <c:v>673238</c:v>
                </c:pt>
                <c:pt idx="64">
                  <c:v>609016</c:v>
                </c:pt>
                <c:pt idx="65">
                  <c:v>639854</c:v>
                </c:pt>
                <c:pt idx="66">
                  <c:v>625210</c:v>
                </c:pt>
                <c:pt idx="67">
                  <c:v>601165</c:v>
                </c:pt>
                <c:pt idx="68">
                  <c:v>667894</c:v>
                </c:pt>
                <c:pt idx="69">
                  <c:v>611340</c:v>
                </c:pt>
                <c:pt idx="70">
                  <c:v>660317</c:v>
                </c:pt>
                <c:pt idx="71">
                  <c:v>622572</c:v>
                </c:pt>
                <c:pt idx="72">
                  <c:v>622216</c:v>
                </c:pt>
                <c:pt idx="73">
                  <c:v>617375</c:v>
                </c:pt>
                <c:pt idx="74">
                  <c:v>669285</c:v>
                </c:pt>
                <c:pt idx="75">
                  <c:v>620646</c:v>
                </c:pt>
                <c:pt idx="76">
                  <c:v>628840</c:v>
                </c:pt>
                <c:pt idx="77">
                  <c:v>616659</c:v>
                </c:pt>
                <c:pt idx="78">
                  <c:v>639559</c:v>
                </c:pt>
                <c:pt idx="79">
                  <c:v>626202</c:v>
                </c:pt>
                <c:pt idx="80">
                  <c:v>619367</c:v>
                </c:pt>
                <c:pt idx="81">
                  <c:v>609809</c:v>
                </c:pt>
                <c:pt idx="82">
                  <c:v>607266</c:v>
                </c:pt>
                <c:pt idx="83">
                  <c:v>616272</c:v>
                </c:pt>
                <c:pt idx="84">
                  <c:v>575511</c:v>
                </c:pt>
                <c:pt idx="85">
                  <c:v>578019</c:v>
                </c:pt>
                <c:pt idx="86">
                  <c:v>568861</c:v>
                </c:pt>
                <c:pt idx="87">
                  <c:v>661590</c:v>
                </c:pt>
                <c:pt idx="88">
                  <c:v>610872</c:v>
                </c:pt>
                <c:pt idx="89">
                  <c:v>653031</c:v>
                </c:pt>
                <c:pt idx="90">
                  <c:v>640205</c:v>
                </c:pt>
                <c:pt idx="91">
                  <c:v>645367</c:v>
                </c:pt>
                <c:pt idx="92">
                  <c:v>687131</c:v>
                </c:pt>
                <c:pt idx="93">
                  <c:v>678622</c:v>
                </c:pt>
                <c:pt idx="94">
                  <c:v>690934</c:v>
                </c:pt>
                <c:pt idx="95">
                  <c:v>735898</c:v>
                </c:pt>
                <c:pt idx="96">
                  <c:v>848400</c:v>
                </c:pt>
                <c:pt idx="97">
                  <c:v>912765</c:v>
                </c:pt>
                <c:pt idx="98">
                  <c:v>1088386</c:v>
                </c:pt>
                <c:pt idx="99">
                  <c:v>1314916</c:v>
                </c:pt>
                <c:pt idx="100">
                  <c:v>577047</c:v>
                </c:pt>
                <c:pt idx="101">
                  <c:v>527133</c:v>
                </c:pt>
                <c:pt idx="102">
                  <c:v>547172</c:v>
                </c:pt>
                <c:pt idx="103">
                  <c:v>493441</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105</c:f>
              <c:numCache>
                <c:formatCode>yyyy\-mm\-dd</c:formatCode>
                <c:ptCount val="104"/>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30</c:v>
                </c:pt>
                <c:pt idx="27">
                  <c:v>45151</c:v>
                </c:pt>
                <c:pt idx="28">
                  <c:v>45158</c:v>
                </c:pt>
                <c:pt idx="29">
                  <c:v>45165</c:v>
                </c:pt>
                <c:pt idx="30">
                  <c:v>45172</c:v>
                </c:pt>
                <c:pt idx="31">
                  <c:v>45179</c:v>
                </c:pt>
                <c:pt idx="32">
                  <c:v>45186</c:v>
                </c:pt>
                <c:pt idx="33">
                  <c:v>45193</c:v>
                </c:pt>
                <c:pt idx="34">
                  <c:v>45200</c:v>
                </c:pt>
                <c:pt idx="35">
                  <c:v>45207</c:v>
                </c:pt>
                <c:pt idx="36">
                  <c:v>45214</c:v>
                </c:pt>
                <c:pt idx="37">
                  <c:v>45221</c:v>
                </c:pt>
                <c:pt idx="38">
                  <c:v>45228</c:v>
                </c:pt>
                <c:pt idx="39">
                  <c:v>45235</c:v>
                </c:pt>
                <c:pt idx="40">
                  <c:v>45242</c:v>
                </c:pt>
                <c:pt idx="41">
                  <c:v>45249</c:v>
                </c:pt>
                <c:pt idx="42">
                  <c:v>45256</c:v>
                </c:pt>
                <c:pt idx="43">
                  <c:v>45263</c:v>
                </c:pt>
                <c:pt idx="44">
                  <c:v>45270</c:v>
                </c:pt>
                <c:pt idx="45">
                  <c:v>45277</c:v>
                </c:pt>
                <c:pt idx="46">
                  <c:v>45284</c:v>
                </c:pt>
                <c:pt idx="47">
                  <c:v>45291</c:v>
                </c:pt>
                <c:pt idx="48">
                  <c:v>45298</c:v>
                </c:pt>
                <c:pt idx="49">
                  <c:v>45305</c:v>
                </c:pt>
                <c:pt idx="50">
                  <c:v>45312</c:v>
                </c:pt>
                <c:pt idx="51">
                  <c:v>45319</c:v>
                </c:pt>
                <c:pt idx="52">
                  <c:v>45326</c:v>
                </c:pt>
                <c:pt idx="53">
                  <c:v>45333</c:v>
                </c:pt>
                <c:pt idx="54">
                  <c:v>45340</c:v>
                </c:pt>
                <c:pt idx="55">
                  <c:v>45347</c:v>
                </c:pt>
                <c:pt idx="56">
                  <c:v>45354</c:v>
                </c:pt>
                <c:pt idx="57">
                  <c:v>45361</c:v>
                </c:pt>
                <c:pt idx="58">
                  <c:v>45368</c:v>
                </c:pt>
                <c:pt idx="59">
                  <c:v>45375</c:v>
                </c:pt>
                <c:pt idx="60">
                  <c:v>45382</c:v>
                </c:pt>
                <c:pt idx="61">
                  <c:v>45389</c:v>
                </c:pt>
                <c:pt idx="62">
                  <c:v>45396</c:v>
                </c:pt>
                <c:pt idx="63">
                  <c:v>45403</c:v>
                </c:pt>
                <c:pt idx="64">
                  <c:v>45410</c:v>
                </c:pt>
                <c:pt idx="65">
                  <c:v>45417</c:v>
                </c:pt>
                <c:pt idx="66">
                  <c:v>45424</c:v>
                </c:pt>
                <c:pt idx="67">
                  <c:v>45431</c:v>
                </c:pt>
                <c:pt idx="68">
                  <c:v>45438</c:v>
                </c:pt>
                <c:pt idx="69">
                  <c:v>45445</c:v>
                </c:pt>
                <c:pt idx="70">
                  <c:v>45452</c:v>
                </c:pt>
                <c:pt idx="71">
                  <c:v>45459</c:v>
                </c:pt>
                <c:pt idx="72">
                  <c:v>45466</c:v>
                </c:pt>
                <c:pt idx="73">
                  <c:v>45473</c:v>
                </c:pt>
                <c:pt idx="74">
                  <c:v>45480</c:v>
                </c:pt>
                <c:pt idx="75">
                  <c:v>45487</c:v>
                </c:pt>
                <c:pt idx="76">
                  <c:v>45494</c:v>
                </c:pt>
                <c:pt idx="77">
                  <c:v>45501</c:v>
                </c:pt>
                <c:pt idx="78">
                  <c:v>45508</c:v>
                </c:pt>
                <c:pt idx="79">
                  <c:v>45515</c:v>
                </c:pt>
                <c:pt idx="80">
                  <c:v>45522</c:v>
                </c:pt>
                <c:pt idx="81">
                  <c:v>45529</c:v>
                </c:pt>
                <c:pt idx="82">
                  <c:v>45536</c:v>
                </c:pt>
                <c:pt idx="83">
                  <c:v>45543</c:v>
                </c:pt>
                <c:pt idx="84">
                  <c:v>45550</c:v>
                </c:pt>
                <c:pt idx="85">
                  <c:v>45557</c:v>
                </c:pt>
                <c:pt idx="86">
                  <c:v>45564</c:v>
                </c:pt>
                <c:pt idx="87">
                  <c:v>45571</c:v>
                </c:pt>
                <c:pt idx="88">
                  <c:v>45578</c:v>
                </c:pt>
                <c:pt idx="89">
                  <c:v>45585</c:v>
                </c:pt>
                <c:pt idx="90">
                  <c:v>45592</c:v>
                </c:pt>
                <c:pt idx="91">
                  <c:v>45599</c:v>
                </c:pt>
                <c:pt idx="92">
                  <c:v>45606</c:v>
                </c:pt>
                <c:pt idx="93">
                  <c:v>45613</c:v>
                </c:pt>
                <c:pt idx="94">
                  <c:v>45620</c:v>
                </c:pt>
                <c:pt idx="95">
                  <c:v>45627</c:v>
                </c:pt>
                <c:pt idx="96">
                  <c:v>45634</c:v>
                </c:pt>
                <c:pt idx="97">
                  <c:v>45641</c:v>
                </c:pt>
                <c:pt idx="98">
                  <c:v>45648</c:v>
                </c:pt>
                <c:pt idx="99">
                  <c:v>45655</c:v>
                </c:pt>
                <c:pt idx="100">
                  <c:v>45662</c:v>
                </c:pt>
                <c:pt idx="101">
                  <c:v>45669</c:v>
                </c:pt>
                <c:pt idx="102">
                  <c:v>45676</c:v>
                </c:pt>
                <c:pt idx="103">
                  <c:v>45683</c:v>
                </c:pt>
              </c:numCache>
            </c:numRef>
          </c:cat>
          <c:val>
            <c:numRef>
              <c:f>Sheet1!$E$2:$E$105</c:f>
              <c:numCache>
                <c:formatCode>General</c:formatCode>
                <c:ptCount val="104"/>
                <c:pt idx="0">
                  <c:v>646874</c:v>
                </c:pt>
                <c:pt idx="1">
                  <c:v>646543</c:v>
                </c:pt>
                <c:pt idx="2">
                  <c:v>650649</c:v>
                </c:pt>
                <c:pt idx="3">
                  <c:v>651505</c:v>
                </c:pt>
                <c:pt idx="4">
                  <c:v>657913</c:v>
                </c:pt>
                <c:pt idx="5">
                  <c:v>664984</c:v>
                </c:pt>
                <c:pt idx="6">
                  <c:v>673792</c:v>
                </c:pt>
                <c:pt idx="7">
                  <c:v>687853</c:v>
                </c:pt>
                <c:pt idx="8">
                  <c:v>698272</c:v>
                </c:pt>
                <c:pt idx="9">
                  <c:v>699315</c:v>
                </c:pt>
                <c:pt idx="10">
                  <c:v>696426</c:v>
                </c:pt>
                <c:pt idx="11">
                  <c:v>693913</c:v>
                </c:pt>
                <c:pt idx="12">
                  <c:v>693893</c:v>
                </c:pt>
                <c:pt idx="13">
                  <c:v>685055</c:v>
                </c:pt>
                <c:pt idx="14">
                  <c:v>685146</c:v>
                </c:pt>
                <c:pt idx="15">
                  <c:v>680463</c:v>
                </c:pt>
                <c:pt idx="16">
                  <c:v>671385</c:v>
                </c:pt>
                <c:pt idx="17">
                  <c:v>676532</c:v>
                </c:pt>
                <c:pt idx="18">
                  <c:v>676889</c:v>
                </c:pt>
                <c:pt idx="19">
                  <c:v>686102</c:v>
                </c:pt>
                <c:pt idx="20">
                  <c:v>683069</c:v>
                </c:pt>
                <c:pt idx="21">
                  <c:v>686842</c:v>
                </c:pt>
                <c:pt idx="22">
                  <c:v>688503</c:v>
                </c:pt>
                <c:pt idx="23">
                  <c:v>698317</c:v>
                </c:pt>
                <c:pt idx="24">
                  <c:v>706702</c:v>
                </c:pt>
                <c:pt idx="25">
                  <c:v>714359</c:v>
                </c:pt>
                <c:pt idx="26">
                  <c:v>720297</c:v>
                </c:pt>
                <c:pt idx="27">
                  <c:v>729515</c:v>
                </c:pt>
                <c:pt idx="28">
                  <c:v>731430</c:v>
                </c:pt>
                <c:pt idx="29">
                  <c:v>719751</c:v>
                </c:pt>
                <c:pt idx="30">
                  <c:v>726665</c:v>
                </c:pt>
                <c:pt idx="31">
                  <c:v>719525</c:v>
                </c:pt>
                <c:pt idx="32">
                  <c:v>716568</c:v>
                </c:pt>
                <c:pt idx="33">
                  <c:v>709531</c:v>
                </c:pt>
                <c:pt idx="34">
                  <c:v>707294</c:v>
                </c:pt>
                <c:pt idx="35">
                  <c:v>704787</c:v>
                </c:pt>
                <c:pt idx="36">
                  <c:v>740247</c:v>
                </c:pt>
                <c:pt idx="37">
                  <c:v>754628</c:v>
                </c:pt>
                <c:pt idx="38">
                  <c:v>726384</c:v>
                </c:pt>
                <c:pt idx="39">
                  <c:v>705309</c:v>
                </c:pt>
                <c:pt idx="40">
                  <c:v>711487</c:v>
                </c:pt>
                <c:pt idx="41">
                  <c:v>733969</c:v>
                </c:pt>
                <c:pt idx="42">
                  <c:v>732333</c:v>
                </c:pt>
                <c:pt idx="43">
                  <c:v>741066</c:v>
                </c:pt>
                <c:pt idx="44">
                  <c:v>720335</c:v>
                </c:pt>
                <c:pt idx="45">
                  <c:v>703063</c:v>
                </c:pt>
                <c:pt idx="46">
                  <c:v>688556</c:v>
                </c:pt>
                <c:pt idx="47">
                  <c:v>738252</c:v>
                </c:pt>
                <c:pt idx="48">
                  <c:v>686010</c:v>
                </c:pt>
                <c:pt idx="49">
                  <c:v>650865</c:v>
                </c:pt>
                <c:pt idx="50">
                  <c:v>607425</c:v>
                </c:pt>
                <c:pt idx="51">
                  <c:v>573505</c:v>
                </c:pt>
                <c:pt idx="52">
                  <c:v>594195</c:v>
                </c:pt>
                <c:pt idx="53">
                  <c:v>620613</c:v>
                </c:pt>
                <c:pt idx="54">
                  <c:v>630169</c:v>
                </c:pt>
                <c:pt idx="55">
                  <c:v>639497</c:v>
                </c:pt>
                <c:pt idx="56">
                  <c:v>651644</c:v>
                </c:pt>
                <c:pt idx="57">
                  <c:v>654628</c:v>
                </c:pt>
                <c:pt idx="58">
                  <c:v>654525</c:v>
                </c:pt>
                <c:pt idx="59">
                  <c:v>654318</c:v>
                </c:pt>
                <c:pt idx="60">
                  <c:v>649784</c:v>
                </c:pt>
                <c:pt idx="61">
                  <c:v>643324</c:v>
                </c:pt>
                <c:pt idx="62">
                  <c:v>640854</c:v>
                </c:pt>
                <c:pt idx="63">
                  <c:v>637791</c:v>
                </c:pt>
                <c:pt idx="64">
                  <c:v>625957</c:v>
                </c:pt>
                <c:pt idx="65">
                  <c:v>628914</c:v>
                </c:pt>
                <c:pt idx="66">
                  <c:v>626196</c:v>
                </c:pt>
                <c:pt idx="67">
                  <c:v>631234</c:v>
                </c:pt>
                <c:pt idx="68">
                  <c:v>629755</c:v>
                </c:pt>
                <c:pt idx="69">
                  <c:v>629780</c:v>
                </c:pt>
                <c:pt idx="70">
                  <c:v>627531</c:v>
                </c:pt>
                <c:pt idx="71">
                  <c:v>633621</c:v>
                </c:pt>
                <c:pt idx="72">
                  <c:v>635940</c:v>
                </c:pt>
                <c:pt idx="73">
                  <c:v>631905</c:v>
                </c:pt>
                <c:pt idx="74">
                  <c:v>632428</c:v>
                </c:pt>
                <c:pt idx="75">
                  <c:v>629399</c:v>
                </c:pt>
                <c:pt idx="76">
                  <c:v>629902</c:v>
                </c:pt>
                <c:pt idx="77">
                  <c:v>629056</c:v>
                </c:pt>
                <c:pt idx="78">
                  <c:v>629367</c:v>
                </c:pt>
                <c:pt idx="79">
                  <c:v>621033</c:v>
                </c:pt>
                <c:pt idx="80">
                  <c:v>620495</c:v>
                </c:pt>
                <c:pt idx="81">
                  <c:v>614155</c:v>
                </c:pt>
                <c:pt idx="82">
                  <c:v>609181</c:v>
                </c:pt>
                <c:pt idx="83">
                  <c:v>600555</c:v>
                </c:pt>
                <c:pt idx="84">
                  <c:v>604323</c:v>
                </c:pt>
                <c:pt idx="85">
                  <c:v>602905</c:v>
                </c:pt>
                <c:pt idx="86">
                  <c:v>607651</c:v>
                </c:pt>
                <c:pt idx="87">
                  <c:v>613206</c:v>
                </c:pt>
                <c:pt idx="88">
                  <c:v>615163</c:v>
                </c:pt>
                <c:pt idx="89">
                  <c:v>623840</c:v>
                </c:pt>
                <c:pt idx="90">
                  <c:v>629871</c:v>
                </c:pt>
                <c:pt idx="91">
                  <c:v>640079</c:v>
                </c:pt>
                <c:pt idx="92">
                  <c:v>630829</c:v>
                </c:pt>
                <c:pt idx="93">
                  <c:v>642802</c:v>
                </c:pt>
                <c:pt idx="94">
                  <c:v>646183</c:v>
                </c:pt>
                <c:pt idx="95">
                  <c:v>647165</c:v>
                </c:pt>
                <c:pt idx="96">
                  <c:v>657041</c:v>
                </c:pt>
                <c:pt idx="97">
                  <c:v>607777</c:v>
                </c:pt>
                <c:pt idx="98">
                  <c:v>588368</c:v>
                </c:pt>
                <c:pt idx="99">
                  <c:v>581141</c:v>
                </c:pt>
                <c:pt idx="100">
                  <c:v>594936</c:v>
                </c:pt>
                <c:pt idx="101">
                  <c:v>568696</c:v>
                </c:pt>
                <c:pt idx="102">
                  <c:v>566377</c:v>
                </c:pt>
                <c:pt idx="103">
                  <c:v>541533</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105</c:f>
              <c:numCache>
                <c:formatCode>yyyy\-mm\-dd</c:formatCode>
                <c:ptCount val="104"/>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30</c:v>
                </c:pt>
                <c:pt idx="27">
                  <c:v>45151</c:v>
                </c:pt>
                <c:pt idx="28">
                  <c:v>45158</c:v>
                </c:pt>
                <c:pt idx="29">
                  <c:v>45165</c:v>
                </c:pt>
                <c:pt idx="30">
                  <c:v>45172</c:v>
                </c:pt>
                <c:pt idx="31">
                  <c:v>45179</c:v>
                </c:pt>
                <c:pt idx="32">
                  <c:v>45186</c:v>
                </c:pt>
                <c:pt idx="33">
                  <c:v>45193</c:v>
                </c:pt>
                <c:pt idx="34">
                  <c:v>45200</c:v>
                </c:pt>
                <c:pt idx="35">
                  <c:v>45207</c:v>
                </c:pt>
                <c:pt idx="36">
                  <c:v>45214</c:v>
                </c:pt>
                <c:pt idx="37">
                  <c:v>45221</c:v>
                </c:pt>
                <c:pt idx="38">
                  <c:v>45228</c:v>
                </c:pt>
                <c:pt idx="39">
                  <c:v>45235</c:v>
                </c:pt>
                <c:pt idx="40">
                  <c:v>45242</c:v>
                </c:pt>
                <c:pt idx="41">
                  <c:v>45249</c:v>
                </c:pt>
                <c:pt idx="42">
                  <c:v>45256</c:v>
                </c:pt>
                <c:pt idx="43">
                  <c:v>45263</c:v>
                </c:pt>
                <c:pt idx="44">
                  <c:v>45270</c:v>
                </c:pt>
                <c:pt idx="45">
                  <c:v>45277</c:v>
                </c:pt>
                <c:pt idx="46">
                  <c:v>45284</c:v>
                </c:pt>
                <c:pt idx="47">
                  <c:v>45291</c:v>
                </c:pt>
                <c:pt idx="48">
                  <c:v>45298</c:v>
                </c:pt>
                <c:pt idx="49">
                  <c:v>45305</c:v>
                </c:pt>
                <c:pt idx="50">
                  <c:v>45312</c:v>
                </c:pt>
                <c:pt idx="51">
                  <c:v>45319</c:v>
                </c:pt>
                <c:pt idx="52">
                  <c:v>45326</c:v>
                </c:pt>
                <c:pt idx="53">
                  <c:v>45333</c:v>
                </c:pt>
                <c:pt idx="54">
                  <c:v>45340</c:v>
                </c:pt>
                <c:pt idx="55">
                  <c:v>45347</c:v>
                </c:pt>
                <c:pt idx="56">
                  <c:v>45354</c:v>
                </c:pt>
                <c:pt idx="57">
                  <c:v>45361</c:v>
                </c:pt>
                <c:pt idx="58">
                  <c:v>45368</c:v>
                </c:pt>
                <c:pt idx="59">
                  <c:v>45375</c:v>
                </c:pt>
                <c:pt idx="60">
                  <c:v>45382</c:v>
                </c:pt>
                <c:pt idx="61">
                  <c:v>45389</c:v>
                </c:pt>
                <c:pt idx="62">
                  <c:v>45396</c:v>
                </c:pt>
                <c:pt idx="63">
                  <c:v>45403</c:v>
                </c:pt>
                <c:pt idx="64">
                  <c:v>45410</c:v>
                </c:pt>
                <c:pt idx="65">
                  <c:v>45417</c:v>
                </c:pt>
                <c:pt idx="66">
                  <c:v>45424</c:v>
                </c:pt>
                <c:pt idx="67">
                  <c:v>45431</c:v>
                </c:pt>
                <c:pt idx="68">
                  <c:v>45438</c:v>
                </c:pt>
                <c:pt idx="69">
                  <c:v>45445</c:v>
                </c:pt>
                <c:pt idx="70">
                  <c:v>45452</c:v>
                </c:pt>
                <c:pt idx="71">
                  <c:v>45459</c:v>
                </c:pt>
                <c:pt idx="72">
                  <c:v>45466</c:v>
                </c:pt>
                <c:pt idx="73">
                  <c:v>45473</c:v>
                </c:pt>
                <c:pt idx="74">
                  <c:v>45480</c:v>
                </c:pt>
                <c:pt idx="75">
                  <c:v>45487</c:v>
                </c:pt>
                <c:pt idx="76">
                  <c:v>45494</c:v>
                </c:pt>
                <c:pt idx="77">
                  <c:v>45501</c:v>
                </c:pt>
                <c:pt idx="78">
                  <c:v>45508</c:v>
                </c:pt>
                <c:pt idx="79">
                  <c:v>45515</c:v>
                </c:pt>
                <c:pt idx="80">
                  <c:v>45522</c:v>
                </c:pt>
                <c:pt idx="81">
                  <c:v>45529</c:v>
                </c:pt>
                <c:pt idx="82">
                  <c:v>45536</c:v>
                </c:pt>
                <c:pt idx="83">
                  <c:v>45543</c:v>
                </c:pt>
                <c:pt idx="84">
                  <c:v>45550</c:v>
                </c:pt>
                <c:pt idx="85">
                  <c:v>45557</c:v>
                </c:pt>
                <c:pt idx="86">
                  <c:v>45564</c:v>
                </c:pt>
                <c:pt idx="87">
                  <c:v>45571</c:v>
                </c:pt>
                <c:pt idx="88">
                  <c:v>45578</c:v>
                </c:pt>
                <c:pt idx="89">
                  <c:v>45585</c:v>
                </c:pt>
                <c:pt idx="90">
                  <c:v>45592</c:v>
                </c:pt>
                <c:pt idx="91">
                  <c:v>45599</c:v>
                </c:pt>
                <c:pt idx="92">
                  <c:v>45606</c:v>
                </c:pt>
                <c:pt idx="93">
                  <c:v>45613</c:v>
                </c:pt>
                <c:pt idx="94">
                  <c:v>45620</c:v>
                </c:pt>
                <c:pt idx="95">
                  <c:v>45627</c:v>
                </c:pt>
                <c:pt idx="96">
                  <c:v>45634</c:v>
                </c:pt>
                <c:pt idx="97">
                  <c:v>45641</c:v>
                </c:pt>
                <c:pt idx="98">
                  <c:v>45648</c:v>
                </c:pt>
                <c:pt idx="99">
                  <c:v>45655</c:v>
                </c:pt>
                <c:pt idx="100">
                  <c:v>45662</c:v>
                </c:pt>
                <c:pt idx="101">
                  <c:v>45669</c:v>
                </c:pt>
                <c:pt idx="102">
                  <c:v>45676</c:v>
                </c:pt>
                <c:pt idx="103">
                  <c:v>45683</c:v>
                </c:pt>
              </c:numCache>
            </c:numRef>
          </c:cat>
          <c:val>
            <c:numRef>
              <c:f>Sheet1!$F$2:$F$105</c:f>
              <c:numCache>
                <c:formatCode>General</c:formatCode>
                <c:ptCount val="104"/>
                <c:pt idx="0">
                  <c:v>0.2</c:v>
                </c:pt>
                <c:pt idx="1">
                  <c:v>0.15</c:v>
                </c:pt>
                <c:pt idx="2">
                  <c:v>0.16</c:v>
                </c:pt>
                <c:pt idx="3">
                  <c:v>0.12</c:v>
                </c:pt>
                <c:pt idx="4">
                  <c:v>0.09</c:v>
                </c:pt>
                <c:pt idx="5">
                  <c:v>0.11</c:v>
                </c:pt>
                <c:pt idx="6">
                  <c:v>0.12</c:v>
                </c:pt>
                <c:pt idx="7">
                  <c:v>0.19</c:v>
                </c:pt>
                <c:pt idx="8">
                  <c:v>0.14000000000000001</c:v>
                </c:pt>
                <c:pt idx="9">
                  <c:v>0.14000000000000001</c:v>
                </c:pt>
                <c:pt idx="10">
                  <c:v>0.16</c:v>
                </c:pt>
                <c:pt idx="11">
                  <c:v>0.17</c:v>
                </c:pt>
                <c:pt idx="12">
                  <c:v>0.03</c:v>
                </c:pt>
                <c:pt idx="13">
                  <c:v>0.1</c:v>
                </c:pt>
                <c:pt idx="14">
                  <c:v>0.15</c:v>
                </c:pt>
                <c:pt idx="15">
                  <c:v>0.14000000000000001</c:v>
                </c:pt>
                <c:pt idx="16">
                  <c:v>0.04</c:v>
                </c:pt>
                <c:pt idx="17">
                  <c:v>0.01</c:v>
                </c:pt>
                <c:pt idx="18">
                  <c:v>0.01</c:v>
                </c:pt>
                <c:pt idx="19">
                  <c:v>0.01</c:v>
                </c:pt>
                <c:pt idx="20">
                  <c:v>0.01</c:v>
                </c:pt>
                <c:pt idx="21">
                  <c:v>0</c:v>
                </c:pt>
                <c:pt idx="22">
                  <c:v>0</c:v>
                </c:pt>
                <c:pt idx="23">
                  <c:v>0</c:v>
                </c:pt>
                <c:pt idx="24">
                  <c:v>0.01</c:v>
                </c:pt>
                <c:pt idx="25">
                  <c:v>0.01</c:v>
                </c:pt>
                <c:pt idx="26">
                  <c:v>0.18</c:v>
                </c:pt>
                <c:pt idx="27">
                  <c:v>0.35</c:v>
                </c:pt>
                <c:pt idx="28">
                  <c:v>0.78</c:v>
                </c:pt>
                <c:pt idx="29">
                  <c:v>0.81</c:v>
                </c:pt>
                <c:pt idx="30">
                  <c:v>0.81</c:v>
                </c:pt>
                <c:pt idx="31">
                  <c:v>0.8</c:v>
                </c:pt>
                <c:pt idx="32">
                  <c:v>0.8</c:v>
                </c:pt>
                <c:pt idx="33">
                  <c:v>0.79</c:v>
                </c:pt>
                <c:pt idx="34">
                  <c:v>0.79</c:v>
                </c:pt>
                <c:pt idx="35">
                  <c:v>0.79</c:v>
                </c:pt>
                <c:pt idx="36">
                  <c:v>0.81</c:v>
                </c:pt>
                <c:pt idx="37">
                  <c:v>0.8</c:v>
                </c:pt>
                <c:pt idx="38">
                  <c:v>0.79</c:v>
                </c:pt>
                <c:pt idx="39">
                  <c:v>0.08</c:v>
                </c:pt>
                <c:pt idx="40">
                  <c:v>0.08</c:v>
                </c:pt>
                <c:pt idx="41">
                  <c:v>0.1</c:v>
                </c:pt>
                <c:pt idx="42">
                  <c:v>0.16</c:v>
                </c:pt>
                <c:pt idx="43">
                  <c:v>0.17</c:v>
                </c:pt>
                <c:pt idx="44">
                  <c:v>0.25</c:v>
                </c:pt>
                <c:pt idx="45">
                  <c:v>0.27</c:v>
                </c:pt>
                <c:pt idx="46">
                  <c:v>0.36</c:v>
                </c:pt>
                <c:pt idx="47">
                  <c:v>0.55000000000000004</c:v>
                </c:pt>
                <c:pt idx="48">
                  <c:v>0.05</c:v>
                </c:pt>
                <c:pt idx="49">
                  <c:v>0.1</c:v>
                </c:pt>
                <c:pt idx="50">
                  <c:v>0.05</c:v>
                </c:pt>
                <c:pt idx="51">
                  <c:v>0.02</c:v>
                </c:pt>
                <c:pt idx="52">
                  <c:v>0.05</c:v>
                </c:pt>
                <c:pt idx="53">
                  <c:v>7.0000000000000007E-2</c:v>
                </c:pt>
                <c:pt idx="54">
                  <c:v>0.16</c:v>
                </c:pt>
                <c:pt idx="55">
                  <c:v>0.34</c:v>
                </c:pt>
                <c:pt idx="56">
                  <c:v>0.19</c:v>
                </c:pt>
                <c:pt idx="57">
                  <c:v>0.11</c:v>
                </c:pt>
                <c:pt idx="58">
                  <c:v>0.09</c:v>
                </c:pt>
                <c:pt idx="59">
                  <c:v>0.3</c:v>
                </c:pt>
                <c:pt idx="60">
                  <c:v>0.22</c:v>
                </c:pt>
                <c:pt idx="61">
                  <c:v>0.21</c:v>
                </c:pt>
                <c:pt idx="62">
                  <c:v>0.23</c:v>
                </c:pt>
                <c:pt idx="63">
                  <c:v>0.3</c:v>
                </c:pt>
                <c:pt idx="64">
                  <c:v>0.21</c:v>
                </c:pt>
                <c:pt idx="65">
                  <c:v>0.21</c:v>
                </c:pt>
                <c:pt idx="66">
                  <c:v>0.19</c:v>
                </c:pt>
                <c:pt idx="67">
                  <c:v>0.22</c:v>
                </c:pt>
                <c:pt idx="68">
                  <c:v>0.22</c:v>
                </c:pt>
                <c:pt idx="69">
                  <c:v>0</c:v>
                </c:pt>
                <c:pt idx="70">
                  <c:v>0</c:v>
                </c:pt>
                <c:pt idx="71">
                  <c:v>0</c:v>
                </c:pt>
                <c:pt idx="72">
                  <c:v>0.01</c:v>
                </c:pt>
                <c:pt idx="73">
                  <c:v>0</c:v>
                </c:pt>
                <c:pt idx="74">
                  <c:v>0</c:v>
                </c:pt>
                <c:pt idx="75">
                  <c:v>0.03</c:v>
                </c:pt>
                <c:pt idx="76">
                  <c:v>0.05</c:v>
                </c:pt>
                <c:pt idx="77">
                  <c:v>0.05</c:v>
                </c:pt>
                <c:pt idx="78">
                  <c:v>0.05</c:v>
                </c:pt>
                <c:pt idx="79">
                  <c:v>0.01</c:v>
                </c:pt>
                <c:pt idx="80">
                  <c:v>0.01</c:v>
                </c:pt>
                <c:pt idx="81">
                  <c:v>0</c:v>
                </c:pt>
                <c:pt idx="82">
                  <c:v>0.01</c:v>
                </c:pt>
                <c:pt idx="83">
                  <c:v>0</c:v>
                </c:pt>
                <c:pt idx="84">
                  <c:v>0</c:v>
                </c:pt>
                <c:pt idx="85">
                  <c:v>0</c:v>
                </c:pt>
                <c:pt idx="86">
                  <c:v>0.04</c:v>
                </c:pt>
                <c:pt idx="87">
                  <c:v>0.1</c:v>
                </c:pt>
                <c:pt idx="88">
                  <c:v>0.24</c:v>
                </c:pt>
                <c:pt idx="89">
                  <c:v>0.28999999999999998</c:v>
                </c:pt>
                <c:pt idx="90">
                  <c:v>0.19</c:v>
                </c:pt>
                <c:pt idx="91">
                  <c:v>0.09</c:v>
                </c:pt>
                <c:pt idx="92">
                  <c:v>0.1</c:v>
                </c:pt>
                <c:pt idx="93">
                  <c:v>0.18</c:v>
                </c:pt>
                <c:pt idx="94">
                  <c:v>0.3</c:v>
                </c:pt>
                <c:pt idx="95">
                  <c:v>0.44</c:v>
                </c:pt>
                <c:pt idx="96">
                  <c:v>0.5</c:v>
                </c:pt>
                <c:pt idx="97">
                  <c:v>0.45</c:v>
                </c:pt>
                <c:pt idx="98">
                  <c:v>0.45</c:v>
                </c:pt>
                <c:pt idx="99">
                  <c:v>0.64</c:v>
                </c:pt>
                <c:pt idx="100">
                  <c:v>0.2</c:v>
                </c:pt>
                <c:pt idx="101">
                  <c:v>0.18</c:v>
                </c:pt>
                <c:pt idx="102">
                  <c:v>0.17</c:v>
                </c:pt>
                <c:pt idx="103">
                  <c:v>0.17</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84</c:f>
              <c:numCache>
                <c:formatCode>yyyy\-mm\-dd</c:formatCode>
                <c:ptCount val="83"/>
                <c:pt idx="0">
                  <c:v>44934</c:v>
                </c:pt>
                <c:pt idx="1">
                  <c:v>44941</c:v>
                </c:pt>
                <c:pt idx="2">
                  <c:v>44948</c:v>
                </c:pt>
                <c:pt idx="3">
                  <c:v>44955</c:v>
                </c:pt>
                <c:pt idx="4">
                  <c:v>44962</c:v>
                </c:pt>
                <c:pt idx="5">
                  <c:v>44969</c:v>
                </c:pt>
                <c:pt idx="6">
                  <c:v>44976</c:v>
                </c:pt>
                <c:pt idx="7">
                  <c:v>44983</c:v>
                </c:pt>
                <c:pt idx="8">
                  <c:v>44990</c:v>
                </c:pt>
                <c:pt idx="9">
                  <c:v>44997</c:v>
                </c:pt>
                <c:pt idx="10">
                  <c:v>45011</c:v>
                </c:pt>
                <c:pt idx="11">
                  <c:v>45018</c:v>
                </c:pt>
                <c:pt idx="12">
                  <c:v>45025</c:v>
                </c:pt>
                <c:pt idx="13">
                  <c:v>45032</c:v>
                </c:pt>
                <c:pt idx="14">
                  <c:v>45039</c:v>
                </c:pt>
                <c:pt idx="15">
                  <c:v>45046</c:v>
                </c:pt>
                <c:pt idx="16">
                  <c:v>45053</c:v>
                </c:pt>
                <c:pt idx="17">
                  <c:v>45060</c:v>
                </c:pt>
                <c:pt idx="18">
                  <c:v>45067</c:v>
                </c:pt>
                <c:pt idx="19">
                  <c:v>45074</c:v>
                </c:pt>
                <c:pt idx="20">
                  <c:v>45081</c:v>
                </c:pt>
                <c:pt idx="21">
                  <c:v>45088</c:v>
                </c:pt>
                <c:pt idx="22">
                  <c:v>45095</c:v>
                </c:pt>
                <c:pt idx="23">
                  <c:v>45102</c:v>
                </c:pt>
                <c:pt idx="24">
                  <c:v>45109</c:v>
                </c:pt>
                <c:pt idx="25">
                  <c:v>45116</c:v>
                </c:pt>
                <c:pt idx="26">
                  <c:v>45123</c:v>
                </c:pt>
                <c:pt idx="27">
                  <c:v>45130</c:v>
                </c:pt>
                <c:pt idx="28">
                  <c:v>45137</c:v>
                </c:pt>
                <c:pt idx="29">
                  <c:v>45144</c:v>
                </c:pt>
                <c:pt idx="30">
                  <c:v>45151</c:v>
                </c:pt>
                <c:pt idx="31">
                  <c:v>45165</c:v>
                </c:pt>
                <c:pt idx="32">
                  <c:v>45172</c:v>
                </c:pt>
                <c:pt idx="33">
                  <c:v>45179</c:v>
                </c:pt>
                <c:pt idx="34">
                  <c:v>45186</c:v>
                </c:pt>
                <c:pt idx="35">
                  <c:v>45200</c:v>
                </c:pt>
                <c:pt idx="36">
                  <c:v>45207</c:v>
                </c:pt>
                <c:pt idx="37">
                  <c:v>45214</c:v>
                </c:pt>
                <c:pt idx="38">
                  <c:v>45221</c:v>
                </c:pt>
                <c:pt idx="39">
                  <c:v>45228</c:v>
                </c:pt>
                <c:pt idx="40">
                  <c:v>45235</c:v>
                </c:pt>
                <c:pt idx="41">
                  <c:v>45256</c:v>
                </c:pt>
                <c:pt idx="42">
                  <c:v>45270</c:v>
                </c:pt>
                <c:pt idx="43">
                  <c:v>45277</c:v>
                </c:pt>
                <c:pt idx="44">
                  <c:v>45284</c:v>
                </c:pt>
                <c:pt idx="45">
                  <c:v>45291</c:v>
                </c:pt>
                <c:pt idx="46">
                  <c:v>45298</c:v>
                </c:pt>
                <c:pt idx="47">
                  <c:v>45305</c:v>
                </c:pt>
                <c:pt idx="48">
                  <c:v>45312</c:v>
                </c:pt>
                <c:pt idx="49">
                  <c:v>45319</c:v>
                </c:pt>
                <c:pt idx="50">
                  <c:v>45326</c:v>
                </c:pt>
                <c:pt idx="51">
                  <c:v>45333</c:v>
                </c:pt>
                <c:pt idx="52">
                  <c:v>45340</c:v>
                </c:pt>
                <c:pt idx="53">
                  <c:v>45347</c:v>
                </c:pt>
                <c:pt idx="54">
                  <c:v>45354</c:v>
                </c:pt>
                <c:pt idx="55">
                  <c:v>45361</c:v>
                </c:pt>
                <c:pt idx="56">
                  <c:v>45368</c:v>
                </c:pt>
                <c:pt idx="57">
                  <c:v>45375</c:v>
                </c:pt>
                <c:pt idx="58">
                  <c:v>45382</c:v>
                </c:pt>
                <c:pt idx="59">
                  <c:v>45389</c:v>
                </c:pt>
                <c:pt idx="60">
                  <c:v>45396</c:v>
                </c:pt>
                <c:pt idx="61">
                  <c:v>45403</c:v>
                </c:pt>
                <c:pt idx="62">
                  <c:v>45410</c:v>
                </c:pt>
                <c:pt idx="63">
                  <c:v>45417</c:v>
                </c:pt>
                <c:pt idx="64">
                  <c:v>45424</c:v>
                </c:pt>
                <c:pt idx="65">
                  <c:v>45431</c:v>
                </c:pt>
                <c:pt idx="66">
                  <c:v>45438</c:v>
                </c:pt>
                <c:pt idx="67">
                  <c:v>45445</c:v>
                </c:pt>
                <c:pt idx="68">
                  <c:v>45452</c:v>
                </c:pt>
                <c:pt idx="69">
                  <c:v>45459</c:v>
                </c:pt>
                <c:pt idx="70">
                  <c:v>45466</c:v>
                </c:pt>
                <c:pt idx="71">
                  <c:v>45494</c:v>
                </c:pt>
                <c:pt idx="72">
                  <c:v>45522</c:v>
                </c:pt>
                <c:pt idx="73">
                  <c:v>45564</c:v>
                </c:pt>
                <c:pt idx="74">
                  <c:v>45592</c:v>
                </c:pt>
                <c:pt idx="75">
                  <c:v>45613</c:v>
                </c:pt>
                <c:pt idx="76">
                  <c:v>45641</c:v>
                </c:pt>
                <c:pt idx="77">
                  <c:v>45648</c:v>
                </c:pt>
                <c:pt idx="78">
                  <c:v>45655</c:v>
                </c:pt>
                <c:pt idx="79">
                  <c:v>45662</c:v>
                </c:pt>
                <c:pt idx="80">
                  <c:v>45669</c:v>
                </c:pt>
                <c:pt idx="81">
                  <c:v>45676</c:v>
                </c:pt>
                <c:pt idx="82">
                  <c:v>45683</c:v>
                </c:pt>
              </c:numCache>
            </c:numRef>
          </c:cat>
          <c:val>
            <c:numRef>
              <c:f>Sheet1!$B$2:$B$84</c:f>
              <c:numCache>
                <c:formatCode>General</c:formatCode>
                <c:ptCount val="83"/>
                <c:pt idx="0">
                  <c:v>7593</c:v>
                </c:pt>
                <c:pt idx="1">
                  <c:v>9952</c:v>
                </c:pt>
                <c:pt idx="2">
                  <c:v>7382</c:v>
                </c:pt>
                <c:pt idx="3">
                  <c:v>3239</c:v>
                </c:pt>
                <c:pt idx="4">
                  <c:v>2822</c:v>
                </c:pt>
                <c:pt idx="5">
                  <c:v>1461</c:v>
                </c:pt>
                <c:pt idx="6">
                  <c:v>1403</c:v>
                </c:pt>
                <c:pt idx="7">
                  <c:v>1490</c:v>
                </c:pt>
                <c:pt idx="8">
                  <c:v>1696</c:v>
                </c:pt>
                <c:pt idx="9">
                  <c:v>1381</c:v>
                </c:pt>
                <c:pt idx="10">
                  <c:v>3540</c:v>
                </c:pt>
                <c:pt idx="11">
                  <c:v>2955</c:v>
                </c:pt>
                <c:pt idx="12">
                  <c:v>582</c:v>
                </c:pt>
                <c:pt idx="13">
                  <c:v>15105</c:v>
                </c:pt>
                <c:pt idx="14">
                  <c:v>14072</c:v>
                </c:pt>
                <c:pt idx="15">
                  <c:v>6536</c:v>
                </c:pt>
                <c:pt idx="16">
                  <c:v>5267</c:v>
                </c:pt>
                <c:pt idx="17">
                  <c:v>4067</c:v>
                </c:pt>
                <c:pt idx="18">
                  <c:v>2819</c:v>
                </c:pt>
                <c:pt idx="19">
                  <c:v>2712</c:v>
                </c:pt>
                <c:pt idx="20">
                  <c:v>10898</c:v>
                </c:pt>
                <c:pt idx="21">
                  <c:v>2457</c:v>
                </c:pt>
                <c:pt idx="22">
                  <c:v>1868</c:v>
                </c:pt>
                <c:pt idx="23">
                  <c:v>3463</c:v>
                </c:pt>
                <c:pt idx="24">
                  <c:v>1913</c:v>
                </c:pt>
                <c:pt idx="25">
                  <c:v>1839</c:v>
                </c:pt>
                <c:pt idx="26">
                  <c:v>2594</c:v>
                </c:pt>
                <c:pt idx="27">
                  <c:v>23808</c:v>
                </c:pt>
                <c:pt idx="28">
                  <c:v>16059</c:v>
                </c:pt>
                <c:pt idx="29">
                  <c:v>7567</c:v>
                </c:pt>
                <c:pt idx="30">
                  <c:v>5638</c:v>
                </c:pt>
                <c:pt idx="31">
                  <c:v>6871</c:v>
                </c:pt>
                <c:pt idx="32">
                  <c:v>6174</c:v>
                </c:pt>
                <c:pt idx="33">
                  <c:v>6679</c:v>
                </c:pt>
                <c:pt idx="34">
                  <c:v>15220</c:v>
                </c:pt>
                <c:pt idx="35">
                  <c:v>22989</c:v>
                </c:pt>
                <c:pt idx="36">
                  <c:v>20781</c:v>
                </c:pt>
                <c:pt idx="37">
                  <c:v>16464</c:v>
                </c:pt>
                <c:pt idx="38">
                  <c:v>15075</c:v>
                </c:pt>
                <c:pt idx="39">
                  <c:v>12672</c:v>
                </c:pt>
                <c:pt idx="40">
                  <c:v>10767</c:v>
                </c:pt>
                <c:pt idx="41">
                  <c:v>7170</c:v>
                </c:pt>
                <c:pt idx="42">
                  <c:v>5041</c:v>
                </c:pt>
                <c:pt idx="43">
                  <c:v>8409</c:v>
                </c:pt>
                <c:pt idx="44">
                  <c:v>12711</c:v>
                </c:pt>
                <c:pt idx="45">
                  <c:v>7758</c:v>
                </c:pt>
                <c:pt idx="46">
                  <c:v>27703</c:v>
                </c:pt>
                <c:pt idx="47">
                  <c:v>56138</c:v>
                </c:pt>
                <c:pt idx="48">
                  <c:v>55878</c:v>
                </c:pt>
                <c:pt idx="49">
                  <c:v>60364</c:v>
                </c:pt>
                <c:pt idx="50">
                  <c:v>61069</c:v>
                </c:pt>
                <c:pt idx="51">
                  <c:v>67074</c:v>
                </c:pt>
                <c:pt idx="52">
                  <c:v>55250</c:v>
                </c:pt>
                <c:pt idx="53">
                  <c:v>26780</c:v>
                </c:pt>
                <c:pt idx="54">
                  <c:v>5346</c:v>
                </c:pt>
                <c:pt idx="55">
                  <c:v>4340</c:v>
                </c:pt>
                <c:pt idx="56">
                  <c:v>4140</c:v>
                </c:pt>
                <c:pt idx="57">
                  <c:v>3826</c:v>
                </c:pt>
                <c:pt idx="58">
                  <c:v>4367</c:v>
                </c:pt>
                <c:pt idx="59">
                  <c:v>23726</c:v>
                </c:pt>
                <c:pt idx="60">
                  <c:v>36589</c:v>
                </c:pt>
                <c:pt idx="61">
                  <c:v>37800</c:v>
                </c:pt>
                <c:pt idx="62">
                  <c:v>36540</c:v>
                </c:pt>
                <c:pt idx="63">
                  <c:v>41151</c:v>
                </c:pt>
                <c:pt idx="64">
                  <c:v>54459</c:v>
                </c:pt>
                <c:pt idx="65">
                  <c:v>62173</c:v>
                </c:pt>
                <c:pt idx="66">
                  <c:v>64406</c:v>
                </c:pt>
                <c:pt idx="67">
                  <c:v>61798</c:v>
                </c:pt>
                <c:pt idx="68">
                  <c:v>64032</c:v>
                </c:pt>
                <c:pt idx="69">
                  <c:v>69147</c:v>
                </c:pt>
                <c:pt idx="70">
                  <c:v>40199</c:v>
                </c:pt>
                <c:pt idx="71">
                  <c:v>18143</c:v>
                </c:pt>
                <c:pt idx="72">
                  <c:v>31514</c:v>
                </c:pt>
                <c:pt idx="73">
                  <c:v>8453</c:v>
                </c:pt>
                <c:pt idx="74">
                  <c:v>15348</c:v>
                </c:pt>
                <c:pt idx="75">
                  <c:v>7496</c:v>
                </c:pt>
                <c:pt idx="76">
                  <c:v>29761</c:v>
                </c:pt>
                <c:pt idx="77">
                  <c:v>39292</c:v>
                </c:pt>
                <c:pt idx="78">
                  <c:v>26064</c:v>
                </c:pt>
                <c:pt idx="79">
                  <c:v>26092</c:v>
                </c:pt>
                <c:pt idx="80">
                  <c:v>21629</c:v>
                </c:pt>
                <c:pt idx="81">
                  <c:v>25804</c:v>
                </c:pt>
                <c:pt idx="82">
                  <c:v>24495</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84</c:f>
              <c:numCache>
                <c:formatCode>yyyy\-mm\-dd</c:formatCode>
                <c:ptCount val="83"/>
                <c:pt idx="0">
                  <c:v>44934</c:v>
                </c:pt>
                <c:pt idx="1">
                  <c:v>44941</c:v>
                </c:pt>
                <c:pt idx="2">
                  <c:v>44948</c:v>
                </c:pt>
                <c:pt idx="3">
                  <c:v>44955</c:v>
                </c:pt>
                <c:pt idx="4">
                  <c:v>44962</c:v>
                </c:pt>
                <c:pt idx="5">
                  <c:v>44969</c:v>
                </c:pt>
                <c:pt idx="6">
                  <c:v>44976</c:v>
                </c:pt>
                <c:pt idx="7">
                  <c:v>44983</c:v>
                </c:pt>
                <c:pt idx="8">
                  <c:v>44990</c:v>
                </c:pt>
                <c:pt idx="9">
                  <c:v>44997</c:v>
                </c:pt>
                <c:pt idx="10">
                  <c:v>45011</c:v>
                </c:pt>
                <c:pt idx="11">
                  <c:v>45018</c:v>
                </c:pt>
                <c:pt idx="12">
                  <c:v>45025</c:v>
                </c:pt>
                <c:pt idx="13">
                  <c:v>45032</c:v>
                </c:pt>
                <c:pt idx="14">
                  <c:v>45039</c:v>
                </c:pt>
                <c:pt idx="15">
                  <c:v>45046</c:v>
                </c:pt>
                <c:pt idx="16">
                  <c:v>45053</c:v>
                </c:pt>
                <c:pt idx="17">
                  <c:v>45060</c:v>
                </c:pt>
                <c:pt idx="18">
                  <c:v>45067</c:v>
                </c:pt>
                <c:pt idx="19">
                  <c:v>45074</c:v>
                </c:pt>
                <c:pt idx="20">
                  <c:v>45081</c:v>
                </c:pt>
                <c:pt idx="21">
                  <c:v>45088</c:v>
                </c:pt>
                <c:pt idx="22">
                  <c:v>45095</c:v>
                </c:pt>
                <c:pt idx="23">
                  <c:v>45102</c:v>
                </c:pt>
                <c:pt idx="24">
                  <c:v>45109</c:v>
                </c:pt>
                <c:pt idx="25">
                  <c:v>45116</c:v>
                </c:pt>
                <c:pt idx="26">
                  <c:v>45123</c:v>
                </c:pt>
                <c:pt idx="27">
                  <c:v>45130</c:v>
                </c:pt>
                <c:pt idx="28">
                  <c:v>45137</c:v>
                </c:pt>
                <c:pt idx="29">
                  <c:v>45144</c:v>
                </c:pt>
                <c:pt idx="30">
                  <c:v>45151</c:v>
                </c:pt>
                <c:pt idx="31">
                  <c:v>45165</c:v>
                </c:pt>
                <c:pt idx="32">
                  <c:v>45172</c:v>
                </c:pt>
                <c:pt idx="33">
                  <c:v>45179</c:v>
                </c:pt>
                <c:pt idx="34">
                  <c:v>45186</c:v>
                </c:pt>
                <c:pt idx="35">
                  <c:v>45200</c:v>
                </c:pt>
                <c:pt idx="36">
                  <c:v>45207</c:v>
                </c:pt>
                <c:pt idx="37">
                  <c:v>45214</c:v>
                </c:pt>
                <c:pt idx="38">
                  <c:v>45221</c:v>
                </c:pt>
                <c:pt idx="39">
                  <c:v>45228</c:v>
                </c:pt>
                <c:pt idx="40">
                  <c:v>45235</c:v>
                </c:pt>
                <c:pt idx="41">
                  <c:v>45256</c:v>
                </c:pt>
                <c:pt idx="42">
                  <c:v>45270</c:v>
                </c:pt>
                <c:pt idx="43">
                  <c:v>45277</c:v>
                </c:pt>
                <c:pt idx="44">
                  <c:v>45284</c:v>
                </c:pt>
                <c:pt idx="45">
                  <c:v>45291</c:v>
                </c:pt>
                <c:pt idx="46">
                  <c:v>45298</c:v>
                </c:pt>
                <c:pt idx="47">
                  <c:v>45305</c:v>
                </c:pt>
                <c:pt idx="48">
                  <c:v>45312</c:v>
                </c:pt>
                <c:pt idx="49">
                  <c:v>45319</c:v>
                </c:pt>
                <c:pt idx="50">
                  <c:v>45326</c:v>
                </c:pt>
                <c:pt idx="51">
                  <c:v>45333</c:v>
                </c:pt>
                <c:pt idx="52">
                  <c:v>45340</c:v>
                </c:pt>
                <c:pt idx="53">
                  <c:v>45347</c:v>
                </c:pt>
                <c:pt idx="54">
                  <c:v>45354</c:v>
                </c:pt>
                <c:pt idx="55">
                  <c:v>45361</c:v>
                </c:pt>
                <c:pt idx="56">
                  <c:v>45368</c:v>
                </c:pt>
                <c:pt idx="57">
                  <c:v>45375</c:v>
                </c:pt>
                <c:pt idx="58">
                  <c:v>45382</c:v>
                </c:pt>
                <c:pt idx="59">
                  <c:v>45389</c:v>
                </c:pt>
                <c:pt idx="60">
                  <c:v>45396</c:v>
                </c:pt>
                <c:pt idx="61">
                  <c:v>45403</c:v>
                </c:pt>
                <c:pt idx="62">
                  <c:v>45410</c:v>
                </c:pt>
                <c:pt idx="63">
                  <c:v>45417</c:v>
                </c:pt>
                <c:pt idx="64">
                  <c:v>45424</c:v>
                </c:pt>
                <c:pt idx="65">
                  <c:v>45431</c:v>
                </c:pt>
                <c:pt idx="66">
                  <c:v>45438</c:v>
                </c:pt>
                <c:pt idx="67">
                  <c:v>45445</c:v>
                </c:pt>
                <c:pt idx="68">
                  <c:v>45452</c:v>
                </c:pt>
                <c:pt idx="69">
                  <c:v>45459</c:v>
                </c:pt>
                <c:pt idx="70">
                  <c:v>45466</c:v>
                </c:pt>
                <c:pt idx="71">
                  <c:v>45494</c:v>
                </c:pt>
                <c:pt idx="72">
                  <c:v>45522</c:v>
                </c:pt>
                <c:pt idx="73">
                  <c:v>45564</c:v>
                </c:pt>
                <c:pt idx="74">
                  <c:v>45592</c:v>
                </c:pt>
                <c:pt idx="75">
                  <c:v>45613</c:v>
                </c:pt>
                <c:pt idx="76">
                  <c:v>45641</c:v>
                </c:pt>
                <c:pt idx="77">
                  <c:v>45648</c:v>
                </c:pt>
                <c:pt idx="78">
                  <c:v>45655</c:v>
                </c:pt>
                <c:pt idx="79">
                  <c:v>45662</c:v>
                </c:pt>
                <c:pt idx="80">
                  <c:v>45669</c:v>
                </c:pt>
                <c:pt idx="81">
                  <c:v>45676</c:v>
                </c:pt>
                <c:pt idx="82">
                  <c:v>45683</c:v>
                </c:pt>
              </c:numCache>
            </c:numRef>
          </c:cat>
          <c:val>
            <c:numRef>
              <c:f>Sheet1!$C$2:$C$84</c:f>
              <c:numCache>
                <c:formatCode>General</c:formatCode>
                <c:ptCount val="83"/>
                <c:pt idx="0">
                  <c:v>546805</c:v>
                </c:pt>
                <c:pt idx="1">
                  <c:v>541854</c:v>
                </c:pt>
                <c:pt idx="2">
                  <c:v>549084</c:v>
                </c:pt>
                <c:pt idx="3">
                  <c:v>543531</c:v>
                </c:pt>
                <c:pt idx="4">
                  <c:v>571784</c:v>
                </c:pt>
                <c:pt idx="5">
                  <c:v>568973</c:v>
                </c:pt>
                <c:pt idx="6">
                  <c:v>546207</c:v>
                </c:pt>
                <c:pt idx="7">
                  <c:v>571146</c:v>
                </c:pt>
                <c:pt idx="8">
                  <c:v>587385</c:v>
                </c:pt>
                <c:pt idx="9">
                  <c:v>570020</c:v>
                </c:pt>
                <c:pt idx="10">
                  <c:v>510062</c:v>
                </c:pt>
                <c:pt idx="11">
                  <c:v>494761</c:v>
                </c:pt>
                <c:pt idx="12">
                  <c:v>535542</c:v>
                </c:pt>
                <c:pt idx="13">
                  <c:v>484335</c:v>
                </c:pt>
                <c:pt idx="14">
                  <c:v>573213</c:v>
                </c:pt>
                <c:pt idx="15">
                  <c:v>620914</c:v>
                </c:pt>
                <c:pt idx="16">
                  <c:v>690774</c:v>
                </c:pt>
                <c:pt idx="17">
                  <c:v>655346</c:v>
                </c:pt>
                <c:pt idx="18">
                  <c:v>647336</c:v>
                </c:pt>
                <c:pt idx="19">
                  <c:v>668711</c:v>
                </c:pt>
                <c:pt idx="20">
                  <c:v>709802</c:v>
                </c:pt>
                <c:pt idx="21">
                  <c:v>740149</c:v>
                </c:pt>
                <c:pt idx="22">
                  <c:v>717687</c:v>
                </c:pt>
                <c:pt idx="23">
                  <c:v>697752</c:v>
                </c:pt>
                <c:pt idx="24">
                  <c:v>711286</c:v>
                </c:pt>
                <c:pt idx="25">
                  <c:v>739186</c:v>
                </c:pt>
                <c:pt idx="26">
                  <c:v>715914</c:v>
                </c:pt>
                <c:pt idx="27">
                  <c:v>696391</c:v>
                </c:pt>
                <c:pt idx="28">
                  <c:v>700690</c:v>
                </c:pt>
                <c:pt idx="29">
                  <c:v>767697</c:v>
                </c:pt>
                <c:pt idx="30">
                  <c:v>726044</c:v>
                </c:pt>
                <c:pt idx="31">
                  <c:v>697320</c:v>
                </c:pt>
                <c:pt idx="32">
                  <c:v>706714</c:v>
                </c:pt>
                <c:pt idx="33">
                  <c:v>694548</c:v>
                </c:pt>
                <c:pt idx="34">
                  <c:v>658075</c:v>
                </c:pt>
                <c:pt idx="35">
                  <c:v>644093</c:v>
                </c:pt>
                <c:pt idx="36">
                  <c:v>670673</c:v>
                </c:pt>
                <c:pt idx="37">
                  <c:v>634782</c:v>
                </c:pt>
                <c:pt idx="38">
                  <c:v>625652</c:v>
                </c:pt>
                <c:pt idx="39">
                  <c:v>621324</c:v>
                </c:pt>
                <c:pt idx="40">
                  <c:v>644009</c:v>
                </c:pt>
                <c:pt idx="41">
                  <c:v>584979</c:v>
                </c:pt>
                <c:pt idx="42">
                  <c:v>674566</c:v>
                </c:pt>
                <c:pt idx="43">
                  <c:v>650247</c:v>
                </c:pt>
                <c:pt idx="44">
                  <c:v>727682</c:v>
                </c:pt>
                <c:pt idx="45">
                  <c:v>581079</c:v>
                </c:pt>
                <c:pt idx="46">
                  <c:v>627486</c:v>
                </c:pt>
                <c:pt idx="47">
                  <c:v>564306</c:v>
                </c:pt>
                <c:pt idx="48">
                  <c:v>540285</c:v>
                </c:pt>
                <c:pt idx="49">
                  <c:v>574037</c:v>
                </c:pt>
                <c:pt idx="50">
                  <c:v>602292</c:v>
                </c:pt>
                <c:pt idx="51">
                  <c:v>589394</c:v>
                </c:pt>
                <c:pt idx="52">
                  <c:v>583968</c:v>
                </c:pt>
                <c:pt idx="53">
                  <c:v>654908</c:v>
                </c:pt>
                <c:pt idx="54">
                  <c:v>692294</c:v>
                </c:pt>
                <c:pt idx="55">
                  <c:v>681667</c:v>
                </c:pt>
                <c:pt idx="56">
                  <c:v>663618</c:v>
                </c:pt>
                <c:pt idx="57">
                  <c:v>652613</c:v>
                </c:pt>
                <c:pt idx="58">
                  <c:v>674257</c:v>
                </c:pt>
                <c:pt idx="59">
                  <c:v>687202</c:v>
                </c:pt>
                <c:pt idx="60">
                  <c:v>630702</c:v>
                </c:pt>
                <c:pt idx="61">
                  <c:v>600564</c:v>
                </c:pt>
                <c:pt idx="62">
                  <c:v>545251</c:v>
                </c:pt>
                <c:pt idx="63">
                  <c:v>592129</c:v>
                </c:pt>
                <c:pt idx="64">
                  <c:v>628375</c:v>
                </c:pt>
                <c:pt idx="65">
                  <c:v>617590</c:v>
                </c:pt>
                <c:pt idx="66">
                  <c:v>657381</c:v>
                </c:pt>
                <c:pt idx="67">
                  <c:v>654651</c:v>
                </c:pt>
                <c:pt idx="68">
                  <c:v>726893</c:v>
                </c:pt>
                <c:pt idx="69">
                  <c:v>671089</c:v>
                </c:pt>
                <c:pt idx="70">
                  <c:v>700349</c:v>
                </c:pt>
                <c:pt idx="71">
                  <c:v>682243</c:v>
                </c:pt>
                <c:pt idx="72">
                  <c:v>703557</c:v>
                </c:pt>
                <c:pt idx="73">
                  <c:v>652903</c:v>
                </c:pt>
                <c:pt idx="74">
                  <c:v>634519</c:v>
                </c:pt>
                <c:pt idx="75">
                  <c:v>618783</c:v>
                </c:pt>
                <c:pt idx="76">
                  <c:v>617394</c:v>
                </c:pt>
                <c:pt idx="77">
                  <c:v>633674</c:v>
                </c:pt>
                <c:pt idx="78">
                  <c:v>570149</c:v>
                </c:pt>
                <c:pt idx="79">
                  <c:v>573440</c:v>
                </c:pt>
                <c:pt idx="80">
                  <c:v>516165</c:v>
                </c:pt>
                <c:pt idx="81">
                  <c:v>558761</c:v>
                </c:pt>
                <c:pt idx="82">
                  <c:v>538245</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84</c:f>
              <c:numCache>
                <c:formatCode>yyyy\-mm\-dd</c:formatCode>
                <c:ptCount val="83"/>
                <c:pt idx="0">
                  <c:v>44934</c:v>
                </c:pt>
                <c:pt idx="1">
                  <c:v>44941</c:v>
                </c:pt>
                <c:pt idx="2">
                  <c:v>44948</c:v>
                </c:pt>
                <c:pt idx="3">
                  <c:v>44955</c:v>
                </c:pt>
                <c:pt idx="4">
                  <c:v>44962</c:v>
                </c:pt>
                <c:pt idx="5">
                  <c:v>44969</c:v>
                </c:pt>
                <c:pt idx="6">
                  <c:v>44976</c:v>
                </c:pt>
                <c:pt idx="7">
                  <c:v>44983</c:v>
                </c:pt>
                <c:pt idx="8">
                  <c:v>44990</c:v>
                </c:pt>
                <c:pt idx="9">
                  <c:v>44997</c:v>
                </c:pt>
                <c:pt idx="10">
                  <c:v>45011</c:v>
                </c:pt>
                <c:pt idx="11">
                  <c:v>45018</c:v>
                </c:pt>
                <c:pt idx="12">
                  <c:v>45025</c:v>
                </c:pt>
                <c:pt idx="13">
                  <c:v>45032</c:v>
                </c:pt>
                <c:pt idx="14">
                  <c:v>45039</c:v>
                </c:pt>
                <c:pt idx="15">
                  <c:v>45046</c:v>
                </c:pt>
                <c:pt idx="16">
                  <c:v>45053</c:v>
                </c:pt>
                <c:pt idx="17">
                  <c:v>45060</c:v>
                </c:pt>
                <c:pt idx="18">
                  <c:v>45067</c:v>
                </c:pt>
                <c:pt idx="19">
                  <c:v>45074</c:v>
                </c:pt>
                <c:pt idx="20">
                  <c:v>45081</c:v>
                </c:pt>
                <c:pt idx="21">
                  <c:v>45088</c:v>
                </c:pt>
                <c:pt idx="22">
                  <c:v>45095</c:v>
                </c:pt>
                <c:pt idx="23">
                  <c:v>45102</c:v>
                </c:pt>
                <c:pt idx="24">
                  <c:v>45109</c:v>
                </c:pt>
                <c:pt idx="25">
                  <c:v>45116</c:v>
                </c:pt>
                <c:pt idx="26">
                  <c:v>45123</c:v>
                </c:pt>
                <c:pt idx="27">
                  <c:v>45130</c:v>
                </c:pt>
                <c:pt idx="28">
                  <c:v>45137</c:v>
                </c:pt>
                <c:pt idx="29">
                  <c:v>45144</c:v>
                </c:pt>
                <c:pt idx="30">
                  <c:v>45151</c:v>
                </c:pt>
                <c:pt idx="31">
                  <c:v>45165</c:v>
                </c:pt>
                <c:pt idx="32">
                  <c:v>45172</c:v>
                </c:pt>
                <c:pt idx="33">
                  <c:v>45179</c:v>
                </c:pt>
                <c:pt idx="34">
                  <c:v>45186</c:v>
                </c:pt>
                <c:pt idx="35">
                  <c:v>45200</c:v>
                </c:pt>
                <c:pt idx="36">
                  <c:v>45207</c:v>
                </c:pt>
                <c:pt idx="37">
                  <c:v>45214</c:v>
                </c:pt>
                <c:pt idx="38">
                  <c:v>45221</c:v>
                </c:pt>
                <c:pt idx="39">
                  <c:v>45228</c:v>
                </c:pt>
                <c:pt idx="40">
                  <c:v>45235</c:v>
                </c:pt>
                <c:pt idx="41">
                  <c:v>45256</c:v>
                </c:pt>
                <c:pt idx="42">
                  <c:v>45270</c:v>
                </c:pt>
                <c:pt idx="43">
                  <c:v>45277</c:v>
                </c:pt>
                <c:pt idx="44">
                  <c:v>45284</c:v>
                </c:pt>
                <c:pt idx="45">
                  <c:v>45291</c:v>
                </c:pt>
                <c:pt idx="46">
                  <c:v>45298</c:v>
                </c:pt>
                <c:pt idx="47">
                  <c:v>45305</c:v>
                </c:pt>
                <c:pt idx="48">
                  <c:v>45312</c:v>
                </c:pt>
                <c:pt idx="49">
                  <c:v>45319</c:v>
                </c:pt>
                <c:pt idx="50">
                  <c:v>45326</c:v>
                </c:pt>
                <c:pt idx="51">
                  <c:v>45333</c:v>
                </c:pt>
                <c:pt idx="52">
                  <c:v>45340</c:v>
                </c:pt>
                <c:pt idx="53">
                  <c:v>45347</c:v>
                </c:pt>
                <c:pt idx="54">
                  <c:v>45354</c:v>
                </c:pt>
                <c:pt idx="55">
                  <c:v>45361</c:v>
                </c:pt>
                <c:pt idx="56">
                  <c:v>45368</c:v>
                </c:pt>
                <c:pt idx="57">
                  <c:v>45375</c:v>
                </c:pt>
                <c:pt idx="58">
                  <c:v>45382</c:v>
                </c:pt>
                <c:pt idx="59">
                  <c:v>45389</c:v>
                </c:pt>
                <c:pt idx="60">
                  <c:v>45396</c:v>
                </c:pt>
                <c:pt idx="61">
                  <c:v>45403</c:v>
                </c:pt>
                <c:pt idx="62">
                  <c:v>45410</c:v>
                </c:pt>
                <c:pt idx="63">
                  <c:v>45417</c:v>
                </c:pt>
                <c:pt idx="64">
                  <c:v>45424</c:v>
                </c:pt>
                <c:pt idx="65">
                  <c:v>45431</c:v>
                </c:pt>
                <c:pt idx="66">
                  <c:v>45438</c:v>
                </c:pt>
                <c:pt idx="67">
                  <c:v>45445</c:v>
                </c:pt>
                <c:pt idx="68">
                  <c:v>45452</c:v>
                </c:pt>
                <c:pt idx="69">
                  <c:v>45459</c:v>
                </c:pt>
                <c:pt idx="70">
                  <c:v>45466</c:v>
                </c:pt>
                <c:pt idx="71">
                  <c:v>45494</c:v>
                </c:pt>
                <c:pt idx="72">
                  <c:v>45522</c:v>
                </c:pt>
                <c:pt idx="73">
                  <c:v>45564</c:v>
                </c:pt>
                <c:pt idx="74">
                  <c:v>45592</c:v>
                </c:pt>
                <c:pt idx="75">
                  <c:v>45613</c:v>
                </c:pt>
                <c:pt idx="76">
                  <c:v>45641</c:v>
                </c:pt>
                <c:pt idx="77">
                  <c:v>45648</c:v>
                </c:pt>
                <c:pt idx="78">
                  <c:v>45655</c:v>
                </c:pt>
                <c:pt idx="79">
                  <c:v>45662</c:v>
                </c:pt>
                <c:pt idx="80">
                  <c:v>45669</c:v>
                </c:pt>
                <c:pt idx="81">
                  <c:v>45676</c:v>
                </c:pt>
                <c:pt idx="82">
                  <c:v>45683</c:v>
                </c:pt>
              </c:numCache>
            </c:numRef>
          </c:cat>
          <c:val>
            <c:numRef>
              <c:f>Sheet1!$D$2:$D$84</c:f>
              <c:numCache>
                <c:formatCode>General</c:formatCode>
                <c:ptCount val="83"/>
                <c:pt idx="0">
                  <c:v>554398</c:v>
                </c:pt>
                <c:pt idx="1">
                  <c:v>551806</c:v>
                </c:pt>
                <c:pt idx="2">
                  <c:v>556466</c:v>
                </c:pt>
                <c:pt idx="3">
                  <c:v>546770</c:v>
                </c:pt>
                <c:pt idx="4">
                  <c:v>574606</c:v>
                </c:pt>
                <c:pt idx="5">
                  <c:v>570434</c:v>
                </c:pt>
                <c:pt idx="6">
                  <c:v>547610</c:v>
                </c:pt>
                <c:pt idx="7">
                  <c:v>572636</c:v>
                </c:pt>
                <c:pt idx="8">
                  <c:v>589081</c:v>
                </c:pt>
                <c:pt idx="9">
                  <c:v>571401</c:v>
                </c:pt>
                <c:pt idx="10">
                  <c:v>513602</c:v>
                </c:pt>
                <c:pt idx="11">
                  <c:v>497716</c:v>
                </c:pt>
                <c:pt idx="12">
                  <c:v>536124</c:v>
                </c:pt>
                <c:pt idx="13">
                  <c:v>499440</c:v>
                </c:pt>
                <c:pt idx="14">
                  <c:v>587285</c:v>
                </c:pt>
                <c:pt idx="15">
                  <c:v>627450</c:v>
                </c:pt>
                <c:pt idx="16">
                  <c:v>696041</c:v>
                </c:pt>
                <c:pt idx="17">
                  <c:v>659413</c:v>
                </c:pt>
                <c:pt idx="18">
                  <c:v>650155</c:v>
                </c:pt>
                <c:pt idx="19">
                  <c:v>671423</c:v>
                </c:pt>
                <c:pt idx="20">
                  <c:v>720700</c:v>
                </c:pt>
                <c:pt idx="21">
                  <c:v>742606</c:v>
                </c:pt>
                <c:pt idx="22">
                  <c:v>719555</c:v>
                </c:pt>
                <c:pt idx="23">
                  <c:v>701215</c:v>
                </c:pt>
                <c:pt idx="24">
                  <c:v>713199</c:v>
                </c:pt>
                <c:pt idx="25">
                  <c:v>741025</c:v>
                </c:pt>
                <c:pt idx="26">
                  <c:v>718508</c:v>
                </c:pt>
                <c:pt idx="27">
                  <c:v>720199</c:v>
                </c:pt>
                <c:pt idx="28">
                  <c:v>716749</c:v>
                </c:pt>
                <c:pt idx="29">
                  <c:v>775264</c:v>
                </c:pt>
                <c:pt idx="30">
                  <c:v>731682</c:v>
                </c:pt>
                <c:pt idx="31">
                  <c:v>704191</c:v>
                </c:pt>
                <c:pt idx="32">
                  <c:v>712888</c:v>
                </c:pt>
                <c:pt idx="33">
                  <c:v>701227</c:v>
                </c:pt>
                <c:pt idx="34">
                  <c:v>673295</c:v>
                </c:pt>
                <c:pt idx="35">
                  <c:v>667082</c:v>
                </c:pt>
                <c:pt idx="36">
                  <c:v>691454</c:v>
                </c:pt>
                <c:pt idx="37">
                  <c:v>651246</c:v>
                </c:pt>
                <c:pt idx="38">
                  <c:v>640727</c:v>
                </c:pt>
                <c:pt idx="39">
                  <c:v>633996</c:v>
                </c:pt>
                <c:pt idx="40">
                  <c:v>654776</c:v>
                </c:pt>
                <c:pt idx="41">
                  <c:v>592149</c:v>
                </c:pt>
                <c:pt idx="42">
                  <c:v>679607</c:v>
                </c:pt>
                <c:pt idx="43">
                  <c:v>658656</c:v>
                </c:pt>
                <c:pt idx="44">
                  <c:v>740393</c:v>
                </c:pt>
                <c:pt idx="45">
                  <c:v>588837</c:v>
                </c:pt>
                <c:pt idx="46">
                  <c:v>655189</c:v>
                </c:pt>
                <c:pt idx="47">
                  <c:v>620444</c:v>
                </c:pt>
                <c:pt idx="48">
                  <c:v>596163</c:v>
                </c:pt>
                <c:pt idx="49">
                  <c:v>634401</c:v>
                </c:pt>
                <c:pt idx="50">
                  <c:v>663361</c:v>
                </c:pt>
                <c:pt idx="51">
                  <c:v>656468</c:v>
                </c:pt>
                <c:pt idx="52">
                  <c:v>639218</c:v>
                </c:pt>
                <c:pt idx="53">
                  <c:v>681688</c:v>
                </c:pt>
                <c:pt idx="54">
                  <c:v>697640</c:v>
                </c:pt>
                <c:pt idx="55">
                  <c:v>686007</c:v>
                </c:pt>
                <c:pt idx="56">
                  <c:v>667758</c:v>
                </c:pt>
                <c:pt idx="57">
                  <c:v>656439</c:v>
                </c:pt>
                <c:pt idx="58">
                  <c:v>678624</c:v>
                </c:pt>
                <c:pt idx="59">
                  <c:v>710928</c:v>
                </c:pt>
                <c:pt idx="60">
                  <c:v>667291</c:v>
                </c:pt>
                <c:pt idx="61">
                  <c:v>638364</c:v>
                </c:pt>
                <c:pt idx="62">
                  <c:v>581791</c:v>
                </c:pt>
                <c:pt idx="63">
                  <c:v>633280</c:v>
                </c:pt>
                <c:pt idx="64">
                  <c:v>682834</c:v>
                </c:pt>
                <c:pt idx="65">
                  <c:v>679763</c:v>
                </c:pt>
                <c:pt idx="66">
                  <c:v>721787</c:v>
                </c:pt>
                <c:pt idx="67">
                  <c:v>716449</c:v>
                </c:pt>
                <c:pt idx="68">
                  <c:v>790925</c:v>
                </c:pt>
                <c:pt idx="69">
                  <c:v>740236</c:v>
                </c:pt>
                <c:pt idx="70">
                  <c:v>740548</c:v>
                </c:pt>
                <c:pt idx="71">
                  <c:v>700386</c:v>
                </c:pt>
                <c:pt idx="72">
                  <c:v>735071</c:v>
                </c:pt>
                <c:pt idx="73">
                  <c:v>661356</c:v>
                </c:pt>
                <c:pt idx="74">
                  <c:v>649867</c:v>
                </c:pt>
                <c:pt idx="75">
                  <c:v>626279</c:v>
                </c:pt>
                <c:pt idx="76">
                  <c:v>647155</c:v>
                </c:pt>
                <c:pt idx="77">
                  <c:v>672966</c:v>
                </c:pt>
                <c:pt idx="78">
                  <c:v>596213</c:v>
                </c:pt>
                <c:pt idx="79">
                  <c:v>599532</c:v>
                </c:pt>
                <c:pt idx="80">
                  <c:v>537794</c:v>
                </c:pt>
                <c:pt idx="81">
                  <c:v>584565</c:v>
                </c:pt>
                <c:pt idx="82">
                  <c:v>562740</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84</c:f>
              <c:numCache>
                <c:formatCode>yyyy\-mm\-dd</c:formatCode>
                <c:ptCount val="83"/>
                <c:pt idx="0">
                  <c:v>44934</c:v>
                </c:pt>
                <c:pt idx="1">
                  <c:v>44941</c:v>
                </c:pt>
                <c:pt idx="2">
                  <c:v>44948</c:v>
                </c:pt>
                <c:pt idx="3">
                  <c:v>44955</c:v>
                </c:pt>
                <c:pt idx="4">
                  <c:v>44962</c:v>
                </c:pt>
                <c:pt idx="5">
                  <c:v>44969</c:v>
                </c:pt>
                <c:pt idx="6">
                  <c:v>44976</c:v>
                </c:pt>
                <c:pt idx="7">
                  <c:v>44983</c:v>
                </c:pt>
                <c:pt idx="8">
                  <c:v>44990</c:v>
                </c:pt>
                <c:pt idx="9">
                  <c:v>44997</c:v>
                </c:pt>
                <c:pt idx="10">
                  <c:v>45011</c:v>
                </c:pt>
                <c:pt idx="11">
                  <c:v>45018</c:v>
                </c:pt>
                <c:pt idx="12">
                  <c:v>45025</c:v>
                </c:pt>
                <c:pt idx="13">
                  <c:v>45032</c:v>
                </c:pt>
                <c:pt idx="14">
                  <c:v>45039</c:v>
                </c:pt>
                <c:pt idx="15">
                  <c:v>45046</c:v>
                </c:pt>
                <c:pt idx="16">
                  <c:v>45053</c:v>
                </c:pt>
                <c:pt idx="17">
                  <c:v>45060</c:v>
                </c:pt>
                <c:pt idx="18">
                  <c:v>45067</c:v>
                </c:pt>
                <c:pt idx="19">
                  <c:v>45074</c:v>
                </c:pt>
                <c:pt idx="20">
                  <c:v>45081</c:v>
                </c:pt>
                <c:pt idx="21">
                  <c:v>45088</c:v>
                </c:pt>
                <c:pt idx="22">
                  <c:v>45095</c:v>
                </c:pt>
                <c:pt idx="23">
                  <c:v>45102</c:v>
                </c:pt>
                <c:pt idx="24">
                  <c:v>45109</c:v>
                </c:pt>
                <c:pt idx="25">
                  <c:v>45116</c:v>
                </c:pt>
                <c:pt idx="26">
                  <c:v>45123</c:v>
                </c:pt>
                <c:pt idx="27">
                  <c:v>45130</c:v>
                </c:pt>
                <c:pt idx="28">
                  <c:v>45137</c:v>
                </c:pt>
                <c:pt idx="29">
                  <c:v>45144</c:v>
                </c:pt>
                <c:pt idx="30">
                  <c:v>45151</c:v>
                </c:pt>
                <c:pt idx="31">
                  <c:v>45165</c:v>
                </c:pt>
                <c:pt idx="32">
                  <c:v>45172</c:v>
                </c:pt>
                <c:pt idx="33">
                  <c:v>45179</c:v>
                </c:pt>
                <c:pt idx="34">
                  <c:v>45186</c:v>
                </c:pt>
                <c:pt idx="35">
                  <c:v>45200</c:v>
                </c:pt>
                <c:pt idx="36">
                  <c:v>45207</c:v>
                </c:pt>
                <c:pt idx="37">
                  <c:v>45214</c:v>
                </c:pt>
                <c:pt idx="38">
                  <c:v>45221</c:v>
                </c:pt>
                <c:pt idx="39">
                  <c:v>45228</c:v>
                </c:pt>
                <c:pt idx="40">
                  <c:v>45235</c:v>
                </c:pt>
                <c:pt idx="41">
                  <c:v>45256</c:v>
                </c:pt>
                <c:pt idx="42">
                  <c:v>45270</c:v>
                </c:pt>
                <c:pt idx="43">
                  <c:v>45277</c:v>
                </c:pt>
                <c:pt idx="44">
                  <c:v>45284</c:v>
                </c:pt>
                <c:pt idx="45">
                  <c:v>45291</c:v>
                </c:pt>
                <c:pt idx="46">
                  <c:v>45298</c:v>
                </c:pt>
                <c:pt idx="47">
                  <c:v>45305</c:v>
                </c:pt>
                <c:pt idx="48">
                  <c:v>45312</c:v>
                </c:pt>
                <c:pt idx="49">
                  <c:v>45319</c:v>
                </c:pt>
                <c:pt idx="50">
                  <c:v>45326</c:v>
                </c:pt>
                <c:pt idx="51">
                  <c:v>45333</c:v>
                </c:pt>
                <c:pt idx="52">
                  <c:v>45340</c:v>
                </c:pt>
                <c:pt idx="53">
                  <c:v>45347</c:v>
                </c:pt>
                <c:pt idx="54">
                  <c:v>45354</c:v>
                </c:pt>
                <c:pt idx="55">
                  <c:v>45361</c:v>
                </c:pt>
                <c:pt idx="56">
                  <c:v>45368</c:v>
                </c:pt>
                <c:pt idx="57">
                  <c:v>45375</c:v>
                </c:pt>
                <c:pt idx="58">
                  <c:v>45382</c:v>
                </c:pt>
                <c:pt idx="59">
                  <c:v>45389</c:v>
                </c:pt>
                <c:pt idx="60">
                  <c:v>45396</c:v>
                </c:pt>
                <c:pt idx="61">
                  <c:v>45403</c:v>
                </c:pt>
                <c:pt idx="62">
                  <c:v>45410</c:v>
                </c:pt>
                <c:pt idx="63">
                  <c:v>45417</c:v>
                </c:pt>
                <c:pt idx="64">
                  <c:v>45424</c:v>
                </c:pt>
                <c:pt idx="65">
                  <c:v>45431</c:v>
                </c:pt>
                <c:pt idx="66">
                  <c:v>45438</c:v>
                </c:pt>
                <c:pt idx="67">
                  <c:v>45445</c:v>
                </c:pt>
                <c:pt idx="68">
                  <c:v>45452</c:v>
                </c:pt>
                <c:pt idx="69">
                  <c:v>45459</c:v>
                </c:pt>
                <c:pt idx="70">
                  <c:v>45466</c:v>
                </c:pt>
                <c:pt idx="71">
                  <c:v>45494</c:v>
                </c:pt>
                <c:pt idx="72">
                  <c:v>45522</c:v>
                </c:pt>
                <c:pt idx="73">
                  <c:v>45564</c:v>
                </c:pt>
                <c:pt idx="74">
                  <c:v>45592</c:v>
                </c:pt>
                <c:pt idx="75">
                  <c:v>45613</c:v>
                </c:pt>
                <c:pt idx="76">
                  <c:v>45641</c:v>
                </c:pt>
                <c:pt idx="77">
                  <c:v>45648</c:v>
                </c:pt>
                <c:pt idx="78">
                  <c:v>45655</c:v>
                </c:pt>
                <c:pt idx="79">
                  <c:v>45662</c:v>
                </c:pt>
                <c:pt idx="80">
                  <c:v>45669</c:v>
                </c:pt>
                <c:pt idx="81">
                  <c:v>45676</c:v>
                </c:pt>
                <c:pt idx="82">
                  <c:v>45683</c:v>
                </c:pt>
              </c:numCache>
            </c:numRef>
          </c:cat>
          <c:val>
            <c:numRef>
              <c:f>Sheet1!$E$2:$E$84</c:f>
              <c:numCache>
                <c:formatCode>General</c:formatCode>
                <c:ptCount val="83"/>
                <c:pt idx="0">
                  <c:v>545911</c:v>
                </c:pt>
                <c:pt idx="1">
                  <c:v>551221</c:v>
                </c:pt>
                <c:pt idx="2">
                  <c:v>553221</c:v>
                </c:pt>
                <c:pt idx="3">
                  <c:v>551739</c:v>
                </c:pt>
                <c:pt idx="4">
                  <c:v>554169</c:v>
                </c:pt>
                <c:pt idx="5">
                  <c:v>560759</c:v>
                </c:pt>
                <c:pt idx="6">
                  <c:v>565025</c:v>
                </c:pt>
                <c:pt idx="7">
                  <c:v>562542</c:v>
                </c:pt>
                <c:pt idx="8">
                  <c:v>558765</c:v>
                </c:pt>
                <c:pt idx="9">
                  <c:v>549174</c:v>
                </c:pt>
                <c:pt idx="10">
                  <c:v>536542</c:v>
                </c:pt>
                <c:pt idx="11">
                  <c:v>526913</c:v>
                </c:pt>
                <c:pt idx="12">
                  <c:v>510597</c:v>
                </c:pt>
                <c:pt idx="13">
                  <c:v>626182</c:v>
                </c:pt>
                <c:pt idx="14">
                  <c:v>632221</c:v>
                </c:pt>
                <c:pt idx="15">
                  <c:v>627088</c:v>
                </c:pt>
                <c:pt idx="16">
                  <c:v>634011</c:v>
                </c:pt>
                <c:pt idx="17">
                  <c:v>638942</c:v>
                </c:pt>
                <c:pt idx="18">
                  <c:v>670494</c:v>
                </c:pt>
                <c:pt idx="19">
                  <c:v>687406</c:v>
                </c:pt>
                <c:pt idx="20">
                  <c:v>696554</c:v>
                </c:pt>
                <c:pt idx="21">
                  <c:v>698269</c:v>
                </c:pt>
                <c:pt idx="22">
                  <c:v>705347</c:v>
                </c:pt>
                <c:pt idx="23">
                  <c:v>707748</c:v>
                </c:pt>
                <c:pt idx="24">
                  <c:v>707792</c:v>
                </c:pt>
                <c:pt idx="25">
                  <c:v>722125</c:v>
                </c:pt>
                <c:pt idx="26">
                  <c:v>747621</c:v>
                </c:pt>
                <c:pt idx="27">
                  <c:v>743745</c:v>
                </c:pt>
                <c:pt idx="28">
                  <c:v>740888</c:v>
                </c:pt>
                <c:pt idx="29">
                  <c:v>733341</c:v>
                </c:pt>
                <c:pt idx="30">
                  <c:v>726314</c:v>
                </c:pt>
                <c:pt idx="31">
                  <c:v>718096</c:v>
                </c:pt>
                <c:pt idx="32">
                  <c:v>712654</c:v>
                </c:pt>
                <c:pt idx="33">
                  <c:v>698925</c:v>
                </c:pt>
                <c:pt idx="34">
                  <c:v>693805</c:v>
                </c:pt>
                <c:pt idx="35">
                  <c:v>676791</c:v>
                </c:pt>
                <c:pt idx="36">
                  <c:v>666875</c:v>
                </c:pt>
                <c:pt idx="37">
                  <c:v>661167</c:v>
                </c:pt>
                <c:pt idx="38">
                  <c:v>659989</c:v>
                </c:pt>
                <c:pt idx="39">
                  <c:v>654305</c:v>
                </c:pt>
                <c:pt idx="40">
                  <c:v>644955</c:v>
                </c:pt>
                <c:pt idx="41">
                  <c:v>645006</c:v>
                </c:pt>
                <c:pt idx="42">
                  <c:v>650352</c:v>
                </c:pt>
                <c:pt idx="43">
                  <c:v>649568</c:v>
                </c:pt>
                <c:pt idx="44">
                  <c:v>650638</c:v>
                </c:pt>
                <c:pt idx="45">
                  <c:v>652878</c:v>
                </c:pt>
                <c:pt idx="46">
                  <c:v>652884</c:v>
                </c:pt>
                <c:pt idx="47">
                  <c:v>650859</c:v>
                </c:pt>
                <c:pt idx="48">
                  <c:v>652234</c:v>
                </c:pt>
                <c:pt idx="49">
                  <c:v>641794</c:v>
                </c:pt>
                <c:pt idx="50">
                  <c:v>655143</c:v>
                </c:pt>
                <c:pt idx="51">
                  <c:v>661877</c:v>
                </c:pt>
                <c:pt idx="52">
                  <c:v>668440</c:v>
                </c:pt>
                <c:pt idx="53">
                  <c:v>677289</c:v>
                </c:pt>
                <c:pt idx="54">
                  <c:v>680012</c:v>
                </c:pt>
                <c:pt idx="55">
                  <c:v>682012</c:v>
                </c:pt>
                <c:pt idx="56">
                  <c:v>688210</c:v>
                </c:pt>
                <c:pt idx="57">
                  <c:v>685635</c:v>
                </c:pt>
                <c:pt idx="58">
                  <c:v>674138</c:v>
                </c:pt>
                <c:pt idx="59">
                  <c:v>659356</c:v>
                </c:pt>
                <c:pt idx="60">
                  <c:v>651651</c:v>
                </c:pt>
                <c:pt idx="61">
                  <c:v>652714</c:v>
                </c:pt>
                <c:pt idx="62">
                  <c:v>655211</c:v>
                </c:pt>
                <c:pt idx="63">
                  <c:v>660043</c:v>
                </c:pt>
                <c:pt idx="64">
                  <c:v>660725</c:v>
                </c:pt>
                <c:pt idx="65">
                  <c:v>675425</c:v>
                </c:pt>
                <c:pt idx="66">
                  <c:v>687892</c:v>
                </c:pt>
                <c:pt idx="67">
                  <c:v>708201</c:v>
                </c:pt>
                <c:pt idx="68">
                  <c:v>730009</c:v>
                </c:pt>
                <c:pt idx="69">
                  <c:v>743254</c:v>
                </c:pt>
                <c:pt idx="70">
                  <c:v>744194</c:v>
                </c:pt>
                <c:pt idx="71">
                  <c:v>726608</c:v>
                </c:pt>
                <c:pt idx="72">
                  <c:v>717977</c:v>
                </c:pt>
                <c:pt idx="73">
                  <c:v>690081</c:v>
                </c:pt>
                <c:pt idx="74">
                  <c:v>666266</c:v>
                </c:pt>
                <c:pt idx="75">
                  <c:v>642301</c:v>
                </c:pt>
                <c:pt idx="76">
                  <c:v>629985</c:v>
                </c:pt>
                <c:pt idx="77">
                  <c:v>623603</c:v>
                </c:pt>
                <c:pt idx="78">
                  <c:v>614062</c:v>
                </c:pt>
                <c:pt idx="79">
                  <c:v>609434</c:v>
                </c:pt>
                <c:pt idx="80">
                  <c:v>582450</c:v>
                </c:pt>
                <c:pt idx="81">
                  <c:v>608372</c:v>
                </c:pt>
                <c:pt idx="82">
                  <c:v>592564</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84</c:f>
              <c:numCache>
                <c:formatCode>yyyy\-mm\-dd</c:formatCode>
                <c:ptCount val="83"/>
                <c:pt idx="0">
                  <c:v>44934</c:v>
                </c:pt>
                <c:pt idx="1">
                  <c:v>44941</c:v>
                </c:pt>
                <c:pt idx="2">
                  <c:v>44948</c:v>
                </c:pt>
                <c:pt idx="3">
                  <c:v>44955</c:v>
                </c:pt>
                <c:pt idx="4">
                  <c:v>44962</c:v>
                </c:pt>
                <c:pt idx="5">
                  <c:v>44969</c:v>
                </c:pt>
                <c:pt idx="6">
                  <c:v>44976</c:v>
                </c:pt>
                <c:pt idx="7">
                  <c:v>44983</c:v>
                </c:pt>
                <c:pt idx="8">
                  <c:v>44990</c:v>
                </c:pt>
                <c:pt idx="9">
                  <c:v>44997</c:v>
                </c:pt>
                <c:pt idx="10">
                  <c:v>45011</c:v>
                </c:pt>
                <c:pt idx="11">
                  <c:v>45018</c:v>
                </c:pt>
                <c:pt idx="12">
                  <c:v>45025</c:v>
                </c:pt>
                <c:pt idx="13">
                  <c:v>45032</c:v>
                </c:pt>
                <c:pt idx="14">
                  <c:v>45039</c:v>
                </c:pt>
                <c:pt idx="15">
                  <c:v>45046</c:v>
                </c:pt>
                <c:pt idx="16">
                  <c:v>45053</c:v>
                </c:pt>
                <c:pt idx="17">
                  <c:v>45060</c:v>
                </c:pt>
                <c:pt idx="18">
                  <c:v>45067</c:v>
                </c:pt>
                <c:pt idx="19">
                  <c:v>45074</c:v>
                </c:pt>
                <c:pt idx="20">
                  <c:v>45081</c:v>
                </c:pt>
                <c:pt idx="21">
                  <c:v>45088</c:v>
                </c:pt>
                <c:pt idx="22">
                  <c:v>45095</c:v>
                </c:pt>
                <c:pt idx="23">
                  <c:v>45102</c:v>
                </c:pt>
                <c:pt idx="24">
                  <c:v>45109</c:v>
                </c:pt>
                <c:pt idx="25">
                  <c:v>45116</c:v>
                </c:pt>
                <c:pt idx="26">
                  <c:v>45123</c:v>
                </c:pt>
                <c:pt idx="27">
                  <c:v>45130</c:v>
                </c:pt>
                <c:pt idx="28">
                  <c:v>45137</c:v>
                </c:pt>
                <c:pt idx="29">
                  <c:v>45144</c:v>
                </c:pt>
                <c:pt idx="30">
                  <c:v>45151</c:v>
                </c:pt>
                <c:pt idx="31">
                  <c:v>45165</c:v>
                </c:pt>
                <c:pt idx="32">
                  <c:v>45172</c:v>
                </c:pt>
                <c:pt idx="33">
                  <c:v>45179</c:v>
                </c:pt>
                <c:pt idx="34">
                  <c:v>45186</c:v>
                </c:pt>
                <c:pt idx="35">
                  <c:v>45200</c:v>
                </c:pt>
                <c:pt idx="36">
                  <c:v>45207</c:v>
                </c:pt>
                <c:pt idx="37">
                  <c:v>45214</c:v>
                </c:pt>
                <c:pt idx="38">
                  <c:v>45221</c:v>
                </c:pt>
                <c:pt idx="39">
                  <c:v>45228</c:v>
                </c:pt>
                <c:pt idx="40">
                  <c:v>45235</c:v>
                </c:pt>
                <c:pt idx="41">
                  <c:v>45256</c:v>
                </c:pt>
                <c:pt idx="42">
                  <c:v>45270</c:v>
                </c:pt>
                <c:pt idx="43">
                  <c:v>45277</c:v>
                </c:pt>
                <c:pt idx="44">
                  <c:v>45284</c:v>
                </c:pt>
                <c:pt idx="45">
                  <c:v>45291</c:v>
                </c:pt>
                <c:pt idx="46">
                  <c:v>45298</c:v>
                </c:pt>
                <c:pt idx="47">
                  <c:v>45305</c:v>
                </c:pt>
                <c:pt idx="48">
                  <c:v>45312</c:v>
                </c:pt>
                <c:pt idx="49">
                  <c:v>45319</c:v>
                </c:pt>
                <c:pt idx="50">
                  <c:v>45326</c:v>
                </c:pt>
                <c:pt idx="51">
                  <c:v>45333</c:v>
                </c:pt>
                <c:pt idx="52">
                  <c:v>45340</c:v>
                </c:pt>
                <c:pt idx="53">
                  <c:v>45347</c:v>
                </c:pt>
                <c:pt idx="54">
                  <c:v>45354</c:v>
                </c:pt>
                <c:pt idx="55">
                  <c:v>45361</c:v>
                </c:pt>
                <c:pt idx="56">
                  <c:v>45368</c:v>
                </c:pt>
                <c:pt idx="57">
                  <c:v>45375</c:v>
                </c:pt>
                <c:pt idx="58">
                  <c:v>45382</c:v>
                </c:pt>
                <c:pt idx="59">
                  <c:v>45389</c:v>
                </c:pt>
                <c:pt idx="60">
                  <c:v>45396</c:v>
                </c:pt>
                <c:pt idx="61">
                  <c:v>45403</c:v>
                </c:pt>
                <c:pt idx="62">
                  <c:v>45410</c:v>
                </c:pt>
                <c:pt idx="63">
                  <c:v>45417</c:v>
                </c:pt>
                <c:pt idx="64">
                  <c:v>45424</c:v>
                </c:pt>
                <c:pt idx="65">
                  <c:v>45431</c:v>
                </c:pt>
                <c:pt idx="66">
                  <c:v>45438</c:v>
                </c:pt>
                <c:pt idx="67">
                  <c:v>45445</c:v>
                </c:pt>
                <c:pt idx="68">
                  <c:v>45452</c:v>
                </c:pt>
                <c:pt idx="69">
                  <c:v>45459</c:v>
                </c:pt>
                <c:pt idx="70">
                  <c:v>45466</c:v>
                </c:pt>
                <c:pt idx="71">
                  <c:v>45494</c:v>
                </c:pt>
                <c:pt idx="72">
                  <c:v>45522</c:v>
                </c:pt>
                <c:pt idx="73">
                  <c:v>45564</c:v>
                </c:pt>
                <c:pt idx="74">
                  <c:v>45592</c:v>
                </c:pt>
                <c:pt idx="75">
                  <c:v>45613</c:v>
                </c:pt>
                <c:pt idx="76">
                  <c:v>45641</c:v>
                </c:pt>
                <c:pt idx="77">
                  <c:v>45648</c:v>
                </c:pt>
                <c:pt idx="78">
                  <c:v>45655</c:v>
                </c:pt>
                <c:pt idx="79">
                  <c:v>45662</c:v>
                </c:pt>
                <c:pt idx="80">
                  <c:v>45669</c:v>
                </c:pt>
                <c:pt idx="81">
                  <c:v>45676</c:v>
                </c:pt>
                <c:pt idx="82">
                  <c:v>45683</c:v>
                </c:pt>
              </c:numCache>
            </c:numRef>
          </c:cat>
          <c:val>
            <c:numRef>
              <c:f>Sheet1!$F$2:$F$84</c:f>
              <c:numCache>
                <c:formatCode>General</c:formatCode>
                <c:ptCount val="83"/>
                <c:pt idx="0">
                  <c:v>0.01</c:v>
                </c:pt>
                <c:pt idx="1">
                  <c:v>0.02</c:v>
                </c:pt>
                <c:pt idx="2">
                  <c:v>0.01</c:v>
                </c:pt>
                <c:pt idx="3">
                  <c:v>0.01</c:v>
                </c:pt>
                <c:pt idx="4">
                  <c:v>0</c:v>
                </c:pt>
                <c:pt idx="5">
                  <c:v>0</c:v>
                </c:pt>
                <c:pt idx="6">
                  <c:v>0</c:v>
                </c:pt>
                <c:pt idx="7">
                  <c:v>0</c:v>
                </c:pt>
                <c:pt idx="8">
                  <c:v>0</c:v>
                </c:pt>
                <c:pt idx="9">
                  <c:v>0</c:v>
                </c:pt>
                <c:pt idx="10">
                  <c:v>0</c:v>
                </c:pt>
                <c:pt idx="11">
                  <c:v>0</c:v>
                </c:pt>
                <c:pt idx="12">
                  <c:v>0</c:v>
                </c:pt>
                <c:pt idx="13">
                  <c:v>0.02</c:v>
                </c:pt>
                <c:pt idx="14">
                  <c:v>0.02</c:v>
                </c:pt>
                <c:pt idx="15">
                  <c:v>0.01</c:v>
                </c:pt>
                <c:pt idx="16">
                  <c:v>0.01</c:v>
                </c:pt>
                <c:pt idx="17">
                  <c:v>0.01</c:v>
                </c:pt>
                <c:pt idx="18">
                  <c:v>0</c:v>
                </c:pt>
                <c:pt idx="19">
                  <c:v>0</c:v>
                </c:pt>
                <c:pt idx="20">
                  <c:v>0.01</c:v>
                </c:pt>
                <c:pt idx="21">
                  <c:v>0</c:v>
                </c:pt>
                <c:pt idx="22">
                  <c:v>0</c:v>
                </c:pt>
                <c:pt idx="23">
                  <c:v>0.01</c:v>
                </c:pt>
                <c:pt idx="24">
                  <c:v>0</c:v>
                </c:pt>
                <c:pt idx="25">
                  <c:v>0</c:v>
                </c:pt>
                <c:pt idx="26">
                  <c:v>0</c:v>
                </c:pt>
                <c:pt idx="27">
                  <c:v>0.01</c:v>
                </c:pt>
                <c:pt idx="28">
                  <c:v>0.01</c:v>
                </c:pt>
                <c:pt idx="29">
                  <c:v>0.01</c:v>
                </c:pt>
                <c:pt idx="30">
                  <c:v>0.01</c:v>
                </c:pt>
                <c:pt idx="31">
                  <c:v>0.01</c:v>
                </c:pt>
                <c:pt idx="32">
                  <c:v>0.01</c:v>
                </c:pt>
                <c:pt idx="33">
                  <c:v>0.01</c:v>
                </c:pt>
                <c:pt idx="34">
                  <c:v>0.01</c:v>
                </c:pt>
                <c:pt idx="35">
                  <c:v>0.02</c:v>
                </c:pt>
                <c:pt idx="36">
                  <c:v>0.01</c:v>
                </c:pt>
                <c:pt idx="37">
                  <c:v>0.01</c:v>
                </c:pt>
                <c:pt idx="38">
                  <c:v>0.01</c:v>
                </c:pt>
                <c:pt idx="39">
                  <c:v>0.01</c:v>
                </c:pt>
                <c:pt idx="40">
                  <c:v>0.01</c:v>
                </c:pt>
                <c:pt idx="41">
                  <c:v>0.01</c:v>
                </c:pt>
                <c:pt idx="42">
                  <c:v>0</c:v>
                </c:pt>
                <c:pt idx="43">
                  <c:v>0.01</c:v>
                </c:pt>
                <c:pt idx="44">
                  <c:v>0.01</c:v>
                </c:pt>
                <c:pt idx="45">
                  <c:v>0.01</c:v>
                </c:pt>
                <c:pt idx="46">
                  <c:v>0.02</c:v>
                </c:pt>
                <c:pt idx="47">
                  <c:v>0.04</c:v>
                </c:pt>
                <c:pt idx="48">
                  <c:v>0.04</c:v>
                </c:pt>
                <c:pt idx="49">
                  <c:v>0.04</c:v>
                </c:pt>
                <c:pt idx="50">
                  <c:v>0.04</c:v>
                </c:pt>
                <c:pt idx="51">
                  <c:v>0.05</c:v>
                </c:pt>
                <c:pt idx="52">
                  <c:v>0.05</c:v>
                </c:pt>
                <c:pt idx="53">
                  <c:v>0.03</c:v>
                </c:pt>
                <c:pt idx="54">
                  <c:v>0.01</c:v>
                </c:pt>
                <c:pt idx="55">
                  <c:v>0.01</c:v>
                </c:pt>
                <c:pt idx="56">
                  <c:v>0</c:v>
                </c:pt>
                <c:pt idx="57">
                  <c:v>0.01</c:v>
                </c:pt>
                <c:pt idx="58">
                  <c:v>0.01</c:v>
                </c:pt>
                <c:pt idx="59">
                  <c:v>0.1</c:v>
                </c:pt>
                <c:pt idx="60">
                  <c:v>0.18</c:v>
                </c:pt>
                <c:pt idx="61">
                  <c:v>0.18</c:v>
                </c:pt>
                <c:pt idx="62">
                  <c:v>0.19</c:v>
                </c:pt>
                <c:pt idx="63">
                  <c:v>0.19</c:v>
                </c:pt>
                <c:pt idx="64">
                  <c:v>0.19</c:v>
                </c:pt>
                <c:pt idx="65">
                  <c:v>0.2</c:v>
                </c:pt>
                <c:pt idx="66">
                  <c:v>0.2</c:v>
                </c:pt>
                <c:pt idx="67">
                  <c:v>0.2</c:v>
                </c:pt>
                <c:pt idx="68">
                  <c:v>0.2</c:v>
                </c:pt>
                <c:pt idx="69">
                  <c:v>0.2</c:v>
                </c:pt>
                <c:pt idx="70">
                  <c:v>0.17</c:v>
                </c:pt>
                <c:pt idx="71">
                  <c:v>0.02</c:v>
                </c:pt>
                <c:pt idx="72">
                  <c:v>0.02</c:v>
                </c:pt>
                <c:pt idx="73">
                  <c:v>0.01</c:v>
                </c:pt>
                <c:pt idx="74">
                  <c:v>0.02</c:v>
                </c:pt>
                <c:pt idx="75">
                  <c:v>0.01</c:v>
                </c:pt>
                <c:pt idx="76">
                  <c:v>0.03</c:v>
                </c:pt>
                <c:pt idx="77">
                  <c:v>0.04</c:v>
                </c:pt>
                <c:pt idx="78">
                  <c:v>0.03</c:v>
                </c:pt>
                <c:pt idx="79">
                  <c:v>0.03</c:v>
                </c:pt>
                <c:pt idx="80">
                  <c:v>0.03</c:v>
                </c:pt>
                <c:pt idx="81">
                  <c:v>0.03</c:v>
                </c:pt>
                <c:pt idx="82">
                  <c:v>0.02</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18</c:f>
              <c:numCache>
                <c:formatCode>yyyy\-mm\-dd</c:formatCode>
                <c:ptCount val="17"/>
                <c:pt idx="0">
                  <c:v>45235</c:v>
                </c:pt>
                <c:pt idx="1">
                  <c:v>45242</c:v>
                </c:pt>
                <c:pt idx="2">
                  <c:v>45249</c:v>
                </c:pt>
                <c:pt idx="3">
                  <c:v>45256</c:v>
                </c:pt>
                <c:pt idx="4">
                  <c:v>45270</c:v>
                </c:pt>
                <c:pt idx="5">
                  <c:v>45277</c:v>
                </c:pt>
                <c:pt idx="6">
                  <c:v>45284</c:v>
                </c:pt>
                <c:pt idx="7">
                  <c:v>45291</c:v>
                </c:pt>
                <c:pt idx="8">
                  <c:v>45298</c:v>
                </c:pt>
                <c:pt idx="9">
                  <c:v>45305</c:v>
                </c:pt>
                <c:pt idx="10">
                  <c:v>45312</c:v>
                </c:pt>
                <c:pt idx="11">
                  <c:v>45319</c:v>
                </c:pt>
                <c:pt idx="12">
                  <c:v>45326</c:v>
                </c:pt>
                <c:pt idx="13">
                  <c:v>45333</c:v>
                </c:pt>
                <c:pt idx="14">
                  <c:v>45340</c:v>
                </c:pt>
                <c:pt idx="15">
                  <c:v>45347</c:v>
                </c:pt>
                <c:pt idx="16">
                  <c:v>45354</c:v>
                </c:pt>
              </c:numCache>
            </c:numRef>
          </c:cat>
          <c:val>
            <c:numRef>
              <c:f>Sheet1!$B$2:$B$18</c:f>
              <c:numCache>
                <c:formatCode>General</c:formatCode>
                <c:ptCount val="17"/>
                <c:pt idx="0">
                  <c:v>13572</c:v>
                </c:pt>
                <c:pt idx="1">
                  <c:v>19654</c:v>
                </c:pt>
                <c:pt idx="2">
                  <c:v>20606</c:v>
                </c:pt>
                <c:pt idx="3">
                  <c:v>23727</c:v>
                </c:pt>
                <c:pt idx="4">
                  <c:v>22758</c:v>
                </c:pt>
                <c:pt idx="5">
                  <c:v>40918</c:v>
                </c:pt>
                <c:pt idx="6">
                  <c:v>123276</c:v>
                </c:pt>
                <c:pt idx="7">
                  <c:v>65933</c:v>
                </c:pt>
                <c:pt idx="8">
                  <c:v>33328</c:v>
                </c:pt>
                <c:pt idx="9">
                  <c:v>71915</c:v>
                </c:pt>
                <c:pt idx="10">
                  <c:v>49178</c:v>
                </c:pt>
                <c:pt idx="11">
                  <c:v>20389</c:v>
                </c:pt>
                <c:pt idx="12">
                  <c:v>5814</c:v>
                </c:pt>
                <c:pt idx="13">
                  <c:v>1961</c:v>
                </c:pt>
                <c:pt idx="14">
                  <c:v>775</c:v>
                </c:pt>
                <c:pt idx="15">
                  <c:v>473</c:v>
                </c:pt>
                <c:pt idx="16">
                  <c:v>350</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18</c:f>
              <c:numCache>
                <c:formatCode>yyyy\-mm\-dd</c:formatCode>
                <c:ptCount val="17"/>
                <c:pt idx="0">
                  <c:v>45235</c:v>
                </c:pt>
                <c:pt idx="1">
                  <c:v>45242</c:v>
                </c:pt>
                <c:pt idx="2">
                  <c:v>45249</c:v>
                </c:pt>
                <c:pt idx="3">
                  <c:v>45256</c:v>
                </c:pt>
                <c:pt idx="4">
                  <c:v>45270</c:v>
                </c:pt>
                <c:pt idx="5">
                  <c:v>45277</c:v>
                </c:pt>
                <c:pt idx="6">
                  <c:v>45284</c:v>
                </c:pt>
                <c:pt idx="7">
                  <c:v>45291</c:v>
                </c:pt>
                <c:pt idx="8">
                  <c:v>45298</c:v>
                </c:pt>
                <c:pt idx="9">
                  <c:v>45305</c:v>
                </c:pt>
                <c:pt idx="10">
                  <c:v>45312</c:v>
                </c:pt>
                <c:pt idx="11">
                  <c:v>45319</c:v>
                </c:pt>
                <c:pt idx="12">
                  <c:v>45326</c:v>
                </c:pt>
                <c:pt idx="13">
                  <c:v>45333</c:v>
                </c:pt>
                <c:pt idx="14">
                  <c:v>45340</c:v>
                </c:pt>
                <c:pt idx="15">
                  <c:v>45347</c:v>
                </c:pt>
                <c:pt idx="16">
                  <c:v>45354</c:v>
                </c:pt>
              </c:numCache>
            </c:numRef>
          </c:cat>
          <c:val>
            <c:numRef>
              <c:f>Sheet1!$C$2:$C$18</c:f>
              <c:numCache>
                <c:formatCode>General</c:formatCode>
                <c:ptCount val="17"/>
                <c:pt idx="0">
                  <c:v>842</c:v>
                </c:pt>
                <c:pt idx="1">
                  <c:v>103</c:v>
                </c:pt>
                <c:pt idx="2">
                  <c:v>40</c:v>
                </c:pt>
                <c:pt idx="3">
                  <c:v>154</c:v>
                </c:pt>
                <c:pt idx="4">
                  <c:v>1499</c:v>
                </c:pt>
                <c:pt idx="5">
                  <c:v>1824</c:v>
                </c:pt>
                <c:pt idx="6">
                  <c:v>0</c:v>
                </c:pt>
                <c:pt idx="7">
                  <c:v>0</c:v>
                </c:pt>
                <c:pt idx="8">
                  <c:v>0</c:v>
                </c:pt>
                <c:pt idx="9">
                  <c:v>0</c:v>
                </c:pt>
                <c:pt idx="10">
                  <c:v>0</c:v>
                </c:pt>
                <c:pt idx="11">
                  <c:v>0</c:v>
                </c:pt>
                <c:pt idx="12">
                  <c:v>0</c:v>
                </c:pt>
                <c:pt idx="13">
                  <c:v>0</c:v>
                </c:pt>
                <c:pt idx="14">
                  <c:v>4</c:v>
                </c:pt>
                <c:pt idx="15">
                  <c:v>31</c:v>
                </c:pt>
                <c:pt idx="16">
                  <c:v>48</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18</c:f>
              <c:numCache>
                <c:formatCode>yyyy\-mm\-dd</c:formatCode>
                <c:ptCount val="17"/>
                <c:pt idx="0">
                  <c:v>45235</c:v>
                </c:pt>
                <c:pt idx="1">
                  <c:v>45242</c:v>
                </c:pt>
                <c:pt idx="2">
                  <c:v>45249</c:v>
                </c:pt>
                <c:pt idx="3">
                  <c:v>45256</c:v>
                </c:pt>
                <c:pt idx="4">
                  <c:v>45270</c:v>
                </c:pt>
                <c:pt idx="5">
                  <c:v>45277</c:v>
                </c:pt>
                <c:pt idx="6">
                  <c:v>45284</c:v>
                </c:pt>
                <c:pt idx="7">
                  <c:v>45291</c:v>
                </c:pt>
                <c:pt idx="8">
                  <c:v>45298</c:v>
                </c:pt>
                <c:pt idx="9">
                  <c:v>45305</c:v>
                </c:pt>
                <c:pt idx="10">
                  <c:v>45312</c:v>
                </c:pt>
                <c:pt idx="11">
                  <c:v>45319</c:v>
                </c:pt>
                <c:pt idx="12">
                  <c:v>45326</c:v>
                </c:pt>
                <c:pt idx="13">
                  <c:v>45333</c:v>
                </c:pt>
                <c:pt idx="14">
                  <c:v>45340</c:v>
                </c:pt>
                <c:pt idx="15">
                  <c:v>45347</c:v>
                </c:pt>
                <c:pt idx="16">
                  <c:v>45354</c:v>
                </c:pt>
              </c:numCache>
            </c:numRef>
          </c:cat>
          <c:val>
            <c:numRef>
              <c:f>Sheet1!$D$2:$D$18</c:f>
              <c:numCache>
                <c:formatCode>General</c:formatCode>
                <c:ptCount val="17"/>
                <c:pt idx="0">
                  <c:v>14414</c:v>
                </c:pt>
                <c:pt idx="1">
                  <c:v>19757</c:v>
                </c:pt>
                <c:pt idx="2">
                  <c:v>20646</c:v>
                </c:pt>
                <c:pt idx="3">
                  <c:v>23881</c:v>
                </c:pt>
                <c:pt idx="4">
                  <c:v>24257</c:v>
                </c:pt>
                <c:pt idx="5">
                  <c:v>42742</c:v>
                </c:pt>
                <c:pt idx="6">
                  <c:v>123276</c:v>
                </c:pt>
                <c:pt idx="7">
                  <c:v>65933</c:v>
                </c:pt>
                <c:pt idx="8">
                  <c:v>33328</c:v>
                </c:pt>
                <c:pt idx="9">
                  <c:v>71915</c:v>
                </c:pt>
                <c:pt idx="10">
                  <c:v>49178</c:v>
                </c:pt>
                <c:pt idx="11">
                  <c:v>20389</c:v>
                </c:pt>
                <c:pt idx="12">
                  <c:v>5814</c:v>
                </c:pt>
                <c:pt idx="13">
                  <c:v>1961</c:v>
                </c:pt>
                <c:pt idx="14">
                  <c:v>779</c:v>
                </c:pt>
                <c:pt idx="15">
                  <c:v>504</c:v>
                </c:pt>
                <c:pt idx="16">
                  <c:v>398</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18</c:f>
              <c:numCache>
                <c:formatCode>yyyy\-mm\-dd</c:formatCode>
                <c:ptCount val="17"/>
                <c:pt idx="0">
                  <c:v>45235</c:v>
                </c:pt>
                <c:pt idx="1">
                  <c:v>45242</c:v>
                </c:pt>
                <c:pt idx="2">
                  <c:v>45249</c:v>
                </c:pt>
                <c:pt idx="3">
                  <c:v>45256</c:v>
                </c:pt>
                <c:pt idx="4">
                  <c:v>45270</c:v>
                </c:pt>
                <c:pt idx="5">
                  <c:v>45277</c:v>
                </c:pt>
                <c:pt idx="6">
                  <c:v>45284</c:v>
                </c:pt>
                <c:pt idx="7">
                  <c:v>45291</c:v>
                </c:pt>
                <c:pt idx="8">
                  <c:v>45298</c:v>
                </c:pt>
                <c:pt idx="9">
                  <c:v>45305</c:v>
                </c:pt>
                <c:pt idx="10">
                  <c:v>45312</c:v>
                </c:pt>
                <c:pt idx="11">
                  <c:v>45319</c:v>
                </c:pt>
                <c:pt idx="12">
                  <c:v>45326</c:v>
                </c:pt>
                <c:pt idx="13">
                  <c:v>45333</c:v>
                </c:pt>
                <c:pt idx="14">
                  <c:v>45340</c:v>
                </c:pt>
                <c:pt idx="15">
                  <c:v>45347</c:v>
                </c:pt>
                <c:pt idx="16">
                  <c:v>45354</c:v>
                </c:pt>
              </c:numCache>
            </c:numRef>
          </c:cat>
          <c:val>
            <c:numRef>
              <c:f>Sheet1!$E$2:$E$18</c:f>
              <c:numCache>
                <c:formatCode>General</c:formatCode>
                <c:ptCount val="17"/>
                <c:pt idx="0">
                  <c:v>15250</c:v>
                </c:pt>
                <c:pt idx="1">
                  <c:v>21575</c:v>
                </c:pt>
                <c:pt idx="2">
                  <c:v>21575</c:v>
                </c:pt>
                <c:pt idx="3">
                  <c:v>21575</c:v>
                </c:pt>
                <c:pt idx="4">
                  <c:v>21575</c:v>
                </c:pt>
                <c:pt idx="5">
                  <c:v>21575</c:v>
                </c:pt>
                <c:pt idx="6">
                  <c:v>21558</c:v>
                </c:pt>
                <c:pt idx="7">
                  <c:v>21558</c:v>
                </c:pt>
                <c:pt idx="8">
                  <c:v>21558</c:v>
                </c:pt>
                <c:pt idx="9">
                  <c:v>21523</c:v>
                </c:pt>
                <c:pt idx="10">
                  <c:v>21515</c:v>
                </c:pt>
                <c:pt idx="11">
                  <c:v>21515</c:v>
                </c:pt>
                <c:pt idx="12">
                  <c:v>18897</c:v>
                </c:pt>
                <c:pt idx="13">
                  <c:v>6432</c:v>
                </c:pt>
                <c:pt idx="14">
                  <c:v>2593</c:v>
                </c:pt>
                <c:pt idx="15">
                  <c:v>1695</c:v>
                </c:pt>
                <c:pt idx="16">
                  <c:v>1105</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18</c:f>
              <c:numCache>
                <c:formatCode>yyyy\-mm\-dd</c:formatCode>
                <c:ptCount val="17"/>
                <c:pt idx="0">
                  <c:v>45235</c:v>
                </c:pt>
                <c:pt idx="1">
                  <c:v>45242</c:v>
                </c:pt>
                <c:pt idx="2">
                  <c:v>45249</c:v>
                </c:pt>
                <c:pt idx="3">
                  <c:v>45256</c:v>
                </c:pt>
                <c:pt idx="4">
                  <c:v>45270</c:v>
                </c:pt>
                <c:pt idx="5">
                  <c:v>45277</c:v>
                </c:pt>
                <c:pt idx="6">
                  <c:v>45284</c:v>
                </c:pt>
                <c:pt idx="7">
                  <c:v>45291</c:v>
                </c:pt>
                <c:pt idx="8">
                  <c:v>45298</c:v>
                </c:pt>
                <c:pt idx="9">
                  <c:v>45305</c:v>
                </c:pt>
                <c:pt idx="10">
                  <c:v>45312</c:v>
                </c:pt>
                <c:pt idx="11">
                  <c:v>45319</c:v>
                </c:pt>
                <c:pt idx="12">
                  <c:v>45326</c:v>
                </c:pt>
                <c:pt idx="13">
                  <c:v>45333</c:v>
                </c:pt>
                <c:pt idx="14">
                  <c:v>45340</c:v>
                </c:pt>
                <c:pt idx="15">
                  <c:v>45347</c:v>
                </c:pt>
                <c:pt idx="16">
                  <c:v>45354</c:v>
                </c:pt>
              </c:numCache>
            </c:numRef>
          </c:cat>
          <c:val>
            <c:numRef>
              <c:f>Sheet1!$F$2:$F$18</c:f>
              <c:numCache>
                <c:formatCode>General</c:formatCode>
                <c:ptCount val="17"/>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pt idx="15">
                  <c:v>1</c:v>
                </c:pt>
                <c:pt idx="16">
                  <c:v>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23</c:f>
              <c:numCache>
                <c:formatCode>yyyy\-mm\-dd</c:formatCode>
                <c:ptCount val="22"/>
                <c:pt idx="0">
                  <c:v>44983</c:v>
                </c:pt>
                <c:pt idx="1">
                  <c:v>45214</c:v>
                </c:pt>
                <c:pt idx="2">
                  <c:v>45221</c:v>
                </c:pt>
                <c:pt idx="3">
                  <c:v>45228</c:v>
                </c:pt>
                <c:pt idx="4">
                  <c:v>45235</c:v>
                </c:pt>
                <c:pt idx="5">
                  <c:v>45242</c:v>
                </c:pt>
                <c:pt idx="6">
                  <c:v>45249</c:v>
                </c:pt>
                <c:pt idx="7">
                  <c:v>45256</c:v>
                </c:pt>
                <c:pt idx="8">
                  <c:v>45263</c:v>
                </c:pt>
                <c:pt idx="9">
                  <c:v>45270</c:v>
                </c:pt>
                <c:pt idx="10">
                  <c:v>45277</c:v>
                </c:pt>
                <c:pt idx="11">
                  <c:v>45284</c:v>
                </c:pt>
                <c:pt idx="12">
                  <c:v>45291</c:v>
                </c:pt>
                <c:pt idx="13">
                  <c:v>45298</c:v>
                </c:pt>
                <c:pt idx="14">
                  <c:v>45305</c:v>
                </c:pt>
                <c:pt idx="15">
                  <c:v>45312</c:v>
                </c:pt>
                <c:pt idx="16">
                  <c:v>45319</c:v>
                </c:pt>
                <c:pt idx="17">
                  <c:v>45326</c:v>
                </c:pt>
                <c:pt idx="18">
                  <c:v>45333</c:v>
                </c:pt>
                <c:pt idx="19">
                  <c:v>45340</c:v>
                </c:pt>
                <c:pt idx="20">
                  <c:v>45347</c:v>
                </c:pt>
                <c:pt idx="21">
                  <c:v>45354</c:v>
                </c:pt>
              </c:numCache>
            </c:numRef>
          </c:cat>
          <c:val>
            <c:numRef>
              <c:f>Sheet1!$B$2:$B$23</c:f>
              <c:numCache>
                <c:formatCode>General</c:formatCode>
                <c:ptCount val="22"/>
                <c:pt idx="0">
                  <c:v>562</c:v>
                </c:pt>
                <c:pt idx="1">
                  <c:v>6077</c:v>
                </c:pt>
                <c:pt idx="2">
                  <c:v>10270</c:v>
                </c:pt>
                <c:pt idx="3">
                  <c:v>11807</c:v>
                </c:pt>
                <c:pt idx="4">
                  <c:v>12785</c:v>
                </c:pt>
                <c:pt idx="5">
                  <c:v>16244</c:v>
                </c:pt>
                <c:pt idx="6">
                  <c:v>19851</c:v>
                </c:pt>
                <c:pt idx="7">
                  <c:v>37584</c:v>
                </c:pt>
                <c:pt idx="8">
                  <c:v>35732</c:v>
                </c:pt>
                <c:pt idx="9">
                  <c:v>55479</c:v>
                </c:pt>
                <c:pt idx="10">
                  <c:v>92136</c:v>
                </c:pt>
                <c:pt idx="11">
                  <c:v>224941</c:v>
                </c:pt>
                <c:pt idx="12">
                  <c:v>443320</c:v>
                </c:pt>
                <c:pt idx="13">
                  <c:v>63013</c:v>
                </c:pt>
                <c:pt idx="14">
                  <c:v>10685</c:v>
                </c:pt>
                <c:pt idx="15">
                  <c:v>6231</c:v>
                </c:pt>
                <c:pt idx="16">
                  <c:v>4607</c:v>
                </c:pt>
                <c:pt idx="17">
                  <c:v>2014</c:v>
                </c:pt>
                <c:pt idx="18">
                  <c:v>1555</c:v>
                </c:pt>
                <c:pt idx="19">
                  <c:v>780</c:v>
                </c:pt>
                <c:pt idx="20">
                  <c:v>644</c:v>
                </c:pt>
                <c:pt idx="21">
                  <c:v>533</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23</c:f>
              <c:numCache>
                <c:formatCode>yyyy\-mm\-dd</c:formatCode>
                <c:ptCount val="22"/>
                <c:pt idx="0">
                  <c:v>44983</c:v>
                </c:pt>
                <c:pt idx="1">
                  <c:v>45214</c:v>
                </c:pt>
                <c:pt idx="2">
                  <c:v>45221</c:v>
                </c:pt>
                <c:pt idx="3">
                  <c:v>45228</c:v>
                </c:pt>
                <c:pt idx="4">
                  <c:v>45235</c:v>
                </c:pt>
                <c:pt idx="5">
                  <c:v>45242</c:v>
                </c:pt>
                <c:pt idx="6">
                  <c:v>45249</c:v>
                </c:pt>
                <c:pt idx="7">
                  <c:v>45256</c:v>
                </c:pt>
                <c:pt idx="8">
                  <c:v>45263</c:v>
                </c:pt>
                <c:pt idx="9">
                  <c:v>45270</c:v>
                </c:pt>
                <c:pt idx="10">
                  <c:v>45277</c:v>
                </c:pt>
                <c:pt idx="11">
                  <c:v>45284</c:v>
                </c:pt>
                <c:pt idx="12">
                  <c:v>45291</c:v>
                </c:pt>
                <c:pt idx="13">
                  <c:v>45298</c:v>
                </c:pt>
                <c:pt idx="14">
                  <c:v>45305</c:v>
                </c:pt>
                <c:pt idx="15">
                  <c:v>45312</c:v>
                </c:pt>
                <c:pt idx="16">
                  <c:v>45319</c:v>
                </c:pt>
                <c:pt idx="17">
                  <c:v>45326</c:v>
                </c:pt>
                <c:pt idx="18">
                  <c:v>45333</c:v>
                </c:pt>
                <c:pt idx="19">
                  <c:v>45340</c:v>
                </c:pt>
                <c:pt idx="20">
                  <c:v>45347</c:v>
                </c:pt>
                <c:pt idx="21">
                  <c:v>45354</c:v>
                </c:pt>
              </c:numCache>
            </c:numRef>
          </c:cat>
          <c:val>
            <c:numRef>
              <c:f>Sheet1!$C$2:$C$23</c:f>
              <c:numCache>
                <c:formatCode>General</c:formatCode>
                <c:ptCount val="22"/>
                <c:pt idx="0">
                  <c:v>11929</c:v>
                </c:pt>
                <c:pt idx="1">
                  <c:v>13989</c:v>
                </c:pt>
                <c:pt idx="2">
                  <c:v>13820</c:v>
                </c:pt>
                <c:pt idx="3">
                  <c:v>12798</c:v>
                </c:pt>
                <c:pt idx="4">
                  <c:v>13315</c:v>
                </c:pt>
                <c:pt idx="5">
                  <c:v>13532</c:v>
                </c:pt>
                <c:pt idx="6">
                  <c:v>13095</c:v>
                </c:pt>
                <c:pt idx="7">
                  <c:v>11358</c:v>
                </c:pt>
                <c:pt idx="8">
                  <c:v>12062</c:v>
                </c:pt>
                <c:pt idx="9">
                  <c:v>11413</c:v>
                </c:pt>
                <c:pt idx="10">
                  <c:v>7345</c:v>
                </c:pt>
                <c:pt idx="11">
                  <c:v>5016</c:v>
                </c:pt>
                <c:pt idx="12">
                  <c:v>5398</c:v>
                </c:pt>
                <c:pt idx="13">
                  <c:v>3254</c:v>
                </c:pt>
                <c:pt idx="14">
                  <c:v>1348</c:v>
                </c:pt>
                <c:pt idx="15">
                  <c:v>550</c:v>
                </c:pt>
                <c:pt idx="16">
                  <c:v>220</c:v>
                </c:pt>
                <c:pt idx="17">
                  <c:v>206</c:v>
                </c:pt>
                <c:pt idx="18">
                  <c:v>139</c:v>
                </c:pt>
                <c:pt idx="19">
                  <c:v>190</c:v>
                </c:pt>
                <c:pt idx="20">
                  <c:v>274</c:v>
                </c:pt>
                <c:pt idx="21">
                  <c:v>279</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23</c:f>
              <c:numCache>
                <c:formatCode>yyyy\-mm\-dd</c:formatCode>
                <c:ptCount val="22"/>
                <c:pt idx="0">
                  <c:v>44983</c:v>
                </c:pt>
                <c:pt idx="1">
                  <c:v>45214</c:v>
                </c:pt>
                <c:pt idx="2">
                  <c:v>45221</c:v>
                </c:pt>
                <c:pt idx="3">
                  <c:v>45228</c:v>
                </c:pt>
                <c:pt idx="4">
                  <c:v>45235</c:v>
                </c:pt>
                <c:pt idx="5">
                  <c:v>45242</c:v>
                </c:pt>
                <c:pt idx="6">
                  <c:v>45249</c:v>
                </c:pt>
                <c:pt idx="7">
                  <c:v>45256</c:v>
                </c:pt>
                <c:pt idx="8">
                  <c:v>45263</c:v>
                </c:pt>
                <c:pt idx="9">
                  <c:v>45270</c:v>
                </c:pt>
                <c:pt idx="10">
                  <c:v>45277</c:v>
                </c:pt>
                <c:pt idx="11">
                  <c:v>45284</c:v>
                </c:pt>
                <c:pt idx="12">
                  <c:v>45291</c:v>
                </c:pt>
                <c:pt idx="13">
                  <c:v>45298</c:v>
                </c:pt>
                <c:pt idx="14">
                  <c:v>45305</c:v>
                </c:pt>
                <c:pt idx="15">
                  <c:v>45312</c:v>
                </c:pt>
                <c:pt idx="16">
                  <c:v>45319</c:v>
                </c:pt>
                <c:pt idx="17">
                  <c:v>45326</c:v>
                </c:pt>
                <c:pt idx="18">
                  <c:v>45333</c:v>
                </c:pt>
                <c:pt idx="19">
                  <c:v>45340</c:v>
                </c:pt>
                <c:pt idx="20">
                  <c:v>45347</c:v>
                </c:pt>
                <c:pt idx="21">
                  <c:v>45354</c:v>
                </c:pt>
              </c:numCache>
            </c:numRef>
          </c:cat>
          <c:val>
            <c:numRef>
              <c:f>Sheet1!$D$2:$D$23</c:f>
              <c:numCache>
                <c:formatCode>General</c:formatCode>
                <c:ptCount val="22"/>
                <c:pt idx="0">
                  <c:v>12491</c:v>
                </c:pt>
                <c:pt idx="1">
                  <c:v>20066</c:v>
                </c:pt>
                <c:pt idx="2">
                  <c:v>24090</c:v>
                </c:pt>
                <c:pt idx="3">
                  <c:v>24605</c:v>
                </c:pt>
                <c:pt idx="4">
                  <c:v>26100</c:v>
                </c:pt>
                <c:pt idx="5">
                  <c:v>29776</c:v>
                </c:pt>
                <c:pt idx="6">
                  <c:v>32946</c:v>
                </c:pt>
                <c:pt idx="7">
                  <c:v>48942</c:v>
                </c:pt>
                <c:pt idx="8">
                  <c:v>47794</c:v>
                </c:pt>
                <c:pt idx="9">
                  <c:v>66892</c:v>
                </c:pt>
                <c:pt idx="10">
                  <c:v>99481</c:v>
                </c:pt>
                <c:pt idx="11">
                  <c:v>229957</c:v>
                </c:pt>
                <c:pt idx="12">
                  <c:v>448718</c:v>
                </c:pt>
                <c:pt idx="13">
                  <c:v>66267</c:v>
                </c:pt>
                <c:pt idx="14">
                  <c:v>12033</c:v>
                </c:pt>
                <c:pt idx="15">
                  <c:v>6781</c:v>
                </c:pt>
                <c:pt idx="16">
                  <c:v>4827</c:v>
                </c:pt>
                <c:pt idx="17">
                  <c:v>2220</c:v>
                </c:pt>
                <c:pt idx="18">
                  <c:v>1694</c:v>
                </c:pt>
                <c:pt idx="19">
                  <c:v>970</c:v>
                </c:pt>
                <c:pt idx="20">
                  <c:v>918</c:v>
                </c:pt>
                <c:pt idx="21">
                  <c:v>812</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23</c:f>
              <c:numCache>
                <c:formatCode>yyyy\-mm\-dd</c:formatCode>
                <c:ptCount val="22"/>
                <c:pt idx="0">
                  <c:v>44983</c:v>
                </c:pt>
                <c:pt idx="1">
                  <c:v>45214</c:v>
                </c:pt>
                <c:pt idx="2">
                  <c:v>45221</c:v>
                </c:pt>
                <c:pt idx="3">
                  <c:v>45228</c:v>
                </c:pt>
                <c:pt idx="4">
                  <c:v>45235</c:v>
                </c:pt>
                <c:pt idx="5">
                  <c:v>45242</c:v>
                </c:pt>
                <c:pt idx="6">
                  <c:v>45249</c:v>
                </c:pt>
                <c:pt idx="7">
                  <c:v>45256</c:v>
                </c:pt>
                <c:pt idx="8">
                  <c:v>45263</c:v>
                </c:pt>
                <c:pt idx="9">
                  <c:v>45270</c:v>
                </c:pt>
                <c:pt idx="10">
                  <c:v>45277</c:v>
                </c:pt>
                <c:pt idx="11">
                  <c:v>45284</c:v>
                </c:pt>
                <c:pt idx="12">
                  <c:v>45291</c:v>
                </c:pt>
                <c:pt idx="13">
                  <c:v>45298</c:v>
                </c:pt>
                <c:pt idx="14">
                  <c:v>45305</c:v>
                </c:pt>
                <c:pt idx="15">
                  <c:v>45312</c:v>
                </c:pt>
                <c:pt idx="16">
                  <c:v>45319</c:v>
                </c:pt>
                <c:pt idx="17">
                  <c:v>45326</c:v>
                </c:pt>
                <c:pt idx="18">
                  <c:v>45333</c:v>
                </c:pt>
                <c:pt idx="19">
                  <c:v>45340</c:v>
                </c:pt>
                <c:pt idx="20">
                  <c:v>45347</c:v>
                </c:pt>
                <c:pt idx="21">
                  <c:v>45354</c:v>
                </c:pt>
              </c:numCache>
            </c:numRef>
          </c:cat>
          <c:val>
            <c:numRef>
              <c:f>Sheet1!$E$2:$E$23</c:f>
              <c:numCache>
                <c:formatCode>General</c:formatCode>
                <c:ptCount val="22"/>
                <c:pt idx="0">
                  <c:v>12320</c:v>
                </c:pt>
                <c:pt idx="1">
                  <c:v>19883</c:v>
                </c:pt>
                <c:pt idx="2">
                  <c:v>23862</c:v>
                </c:pt>
                <c:pt idx="3">
                  <c:v>25300</c:v>
                </c:pt>
                <c:pt idx="4">
                  <c:v>26529</c:v>
                </c:pt>
                <c:pt idx="5">
                  <c:v>29746</c:v>
                </c:pt>
                <c:pt idx="6">
                  <c:v>32908</c:v>
                </c:pt>
                <c:pt idx="7">
                  <c:v>42311</c:v>
                </c:pt>
                <c:pt idx="8">
                  <c:v>41660</c:v>
                </c:pt>
                <c:pt idx="9">
                  <c:v>46018</c:v>
                </c:pt>
                <c:pt idx="10">
                  <c:v>45960</c:v>
                </c:pt>
                <c:pt idx="11">
                  <c:v>46300</c:v>
                </c:pt>
                <c:pt idx="12">
                  <c:v>45034</c:v>
                </c:pt>
                <c:pt idx="13">
                  <c:v>42186</c:v>
                </c:pt>
                <c:pt idx="14">
                  <c:v>21957</c:v>
                </c:pt>
                <c:pt idx="15">
                  <c:v>11672</c:v>
                </c:pt>
                <c:pt idx="16">
                  <c:v>9077</c:v>
                </c:pt>
                <c:pt idx="17">
                  <c:v>6665</c:v>
                </c:pt>
                <c:pt idx="18">
                  <c:v>6646</c:v>
                </c:pt>
                <c:pt idx="19">
                  <c:v>3165</c:v>
                </c:pt>
                <c:pt idx="20">
                  <c:v>3513</c:v>
                </c:pt>
                <c:pt idx="21">
                  <c:v>259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23</c:f>
              <c:numCache>
                <c:formatCode>yyyy\-mm\-dd</c:formatCode>
                <c:ptCount val="22"/>
                <c:pt idx="0">
                  <c:v>44983</c:v>
                </c:pt>
                <c:pt idx="1">
                  <c:v>45214</c:v>
                </c:pt>
                <c:pt idx="2">
                  <c:v>45221</c:v>
                </c:pt>
                <c:pt idx="3">
                  <c:v>45228</c:v>
                </c:pt>
                <c:pt idx="4">
                  <c:v>45235</c:v>
                </c:pt>
                <c:pt idx="5">
                  <c:v>45242</c:v>
                </c:pt>
                <c:pt idx="6">
                  <c:v>45249</c:v>
                </c:pt>
                <c:pt idx="7">
                  <c:v>45256</c:v>
                </c:pt>
                <c:pt idx="8">
                  <c:v>45263</c:v>
                </c:pt>
                <c:pt idx="9">
                  <c:v>45270</c:v>
                </c:pt>
                <c:pt idx="10">
                  <c:v>45277</c:v>
                </c:pt>
                <c:pt idx="11">
                  <c:v>45284</c:v>
                </c:pt>
                <c:pt idx="12">
                  <c:v>45291</c:v>
                </c:pt>
                <c:pt idx="13">
                  <c:v>45298</c:v>
                </c:pt>
                <c:pt idx="14">
                  <c:v>45305</c:v>
                </c:pt>
                <c:pt idx="15">
                  <c:v>45312</c:v>
                </c:pt>
                <c:pt idx="16">
                  <c:v>45319</c:v>
                </c:pt>
                <c:pt idx="17">
                  <c:v>45326</c:v>
                </c:pt>
                <c:pt idx="18">
                  <c:v>45333</c:v>
                </c:pt>
                <c:pt idx="19">
                  <c:v>45340</c:v>
                </c:pt>
                <c:pt idx="20">
                  <c:v>45347</c:v>
                </c:pt>
                <c:pt idx="21">
                  <c:v>45354</c:v>
                </c:pt>
              </c:numCache>
            </c:numRef>
          </c:cat>
          <c:val>
            <c:numRef>
              <c:f>Sheet1!$F$2:$F$23</c:f>
              <c:numCache>
                <c:formatCode>General</c:formatCode>
                <c:ptCount val="22"/>
                <c:pt idx="0">
                  <c:v>0.09</c:v>
                </c:pt>
                <c:pt idx="1">
                  <c:v>0.26</c:v>
                </c:pt>
                <c:pt idx="2">
                  <c:v>0.37</c:v>
                </c:pt>
                <c:pt idx="3">
                  <c:v>0.42</c:v>
                </c:pt>
                <c:pt idx="4">
                  <c:v>0.41</c:v>
                </c:pt>
                <c:pt idx="5">
                  <c:v>0.47</c:v>
                </c:pt>
                <c:pt idx="6">
                  <c:v>0.53</c:v>
                </c:pt>
                <c:pt idx="7">
                  <c:v>0.7</c:v>
                </c:pt>
                <c:pt idx="8">
                  <c:v>0.68</c:v>
                </c:pt>
                <c:pt idx="9">
                  <c:v>0.77</c:v>
                </c:pt>
                <c:pt idx="10">
                  <c:v>0.9</c:v>
                </c:pt>
                <c:pt idx="11">
                  <c:v>0.97</c:v>
                </c:pt>
                <c:pt idx="12">
                  <c:v>0.99</c:v>
                </c:pt>
                <c:pt idx="13">
                  <c:v>0.99</c:v>
                </c:pt>
                <c:pt idx="14">
                  <c:v>0.92</c:v>
                </c:pt>
                <c:pt idx="15">
                  <c:v>0.94</c:v>
                </c:pt>
                <c:pt idx="16">
                  <c:v>0.97</c:v>
                </c:pt>
                <c:pt idx="17">
                  <c:v>0.94</c:v>
                </c:pt>
                <c:pt idx="18">
                  <c:v>0.95</c:v>
                </c:pt>
                <c:pt idx="19">
                  <c:v>0.84</c:v>
                </c:pt>
                <c:pt idx="20">
                  <c:v>0.81</c:v>
                </c:pt>
                <c:pt idx="21">
                  <c:v>0.73</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spPr>
              <a:solidFill>
                <a:srgbClr val="FFBFBF"/>
              </a:solidFill>
            </c:spPr>
            <c:extLst>
              <c:ext xmlns:c16="http://schemas.microsoft.com/office/drawing/2014/chart" uri="{C3380CC4-5D6E-409C-BE32-E72D297353CC}">
                <c16:uniqueId val="{00000003-B1F3-4B1C-B6BD-D7555A955EE3}"/>
              </c:ext>
            </c:extLst>
          </c:dPt>
          <c:dPt>
            <c:idx val="3"/>
            <c:invertIfNegative val="0"/>
            <c:bubble3D val="0"/>
            <c:spPr>
              <a:solidFill>
                <a:srgbClr val="FF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Schick</c:v>
                </c:pt>
                <c:pt idx="1">
                  <c:v>Bic</c:v>
                </c:pt>
                <c:pt idx="2">
                  <c:v>Equate</c:v>
                </c:pt>
                <c:pt idx="3">
                  <c:v>Gillette</c:v>
                </c:pt>
              </c:strCache>
            </c:strRef>
          </c:cat>
          <c:val>
            <c:numRef>
              <c:f>Sheet1!$B$2:$B$5</c:f>
              <c:numCache>
                <c:formatCode>General</c:formatCode>
                <c:ptCount val="4"/>
                <c:pt idx="0">
                  <c:v>57.135856754244777</c:v>
                </c:pt>
                <c:pt idx="1">
                  <c:v>-3.2647624465476346</c:v>
                </c:pt>
                <c:pt idx="2">
                  <c:v>-1.563559470331223</c:v>
                </c:pt>
                <c:pt idx="3">
                  <c:v>-1.3241112967135764</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18</c:f>
              <c:numCache>
                <c:formatCode>yyyy\-mm\-dd</c:formatCode>
                <c:ptCount val="17"/>
                <c:pt idx="0">
                  <c:v>45235</c:v>
                </c:pt>
                <c:pt idx="1">
                  <c:v>45242</c:v>
                </c:pt>
                <c:pt idx="2">
                  <c:v>45249</c:v>
                </c:pt>
                <c:pt idx="3">
                  <c:v>45256</c:v>
                </c:pt>
                <c:pt idx="4">
                  <c:v>45270</c:v>
                </c:pt>
                <c:pt idx="5">
                  <c:v>45277</c:v>
                </c:pt>
                <c:pt idx="6">
                  <c:v>45284</c:v>
                </c:pt>
                <c:pt idx="7">
                  <c:v>45291</c:v>
                </c:pt>
                <c:pt idx="8">
                  <c:v>45298</c:v>
                </c:pt>
                <c:pt idx="9">
                  <c:v>45305</c:v>
                </c:pt>
                <c:pt idx="10">
                  <c:v>45312</c:v>
                </c:pt>
                <c:pt idx="11">
                  <c:v>45319</c:v>
                </c:pt>
                <c:pt idx="12">
                  <c:v>45326</c:v>
                </c:pt>
                <c:pt idx="13">
                  <c:v>45333</c:v>
                </c:pt>
                <c:pt idx="14">
                  <c:v>45340</c:v>
                </c:pt>
                <c:pt idx="15">
                  <c:v>45347</c:v>
                </c:pt>
                <c:pt idx="16">
                  <c:v>45354</c:v>
                </c:pt>
              </c:numCache>
            </c:numRef>
          </c:cat>
          <c:val>
            <c:numRef>
              <c:f>Sheet1!$B$2:$B$18</c:f>
              <c:numCache>
                <c:formatCode>General</c:formatCode>
                <c:ptCount val="17"/>
                <c:pt idx="0">
                  <c:v>13572</c:v>
                </c:pt>
                <c:pt idx="1">
                  <c:v>19654</c:v>
                </c:pt>
                <c:pt idx="2">
                  <c:v>20606</c:v>
                </c:pt>
                <c:pt idx="3">
                  <c:v>23727</c:v>
                </c:pt>
                <c:pt idx="4">
                  <c:v>22758</c:v>
                </c:pt>
                <c:pt idx="5">
                  <c:v>40918</c:v>
                </c:pt>
                <c:pt idx="6">
                  <c:v>123276</c:v>
                </c:pt>
                <c:pt idx="7">
                  <c:v>65933</c:v>
                </c:pt>
                <c:pt idx="8">
                  <c:v>33328</c:v>
                </c:pt>
                <c:pt idx="9">
                  <c:v>71915</c:v>
                </c:pt>
                <c:pt idx="10">
                  <c:v>49178</c:v>
                </c:pt>
                <c:pt idx="11">
                  <c:v>20389</c:v>
                </c:pt>
                <c:pt idx="12">
                  <c:v>5814</c:v>
                </c:pt>
                <c:pt idx="13">
                  <c:v>1961</c:v>
                </c:pt>
                <c:pt idx="14">
                  <c:v>775</c:v>
                </c:pt>
                <c:pt idx="15">
                  <c:v>473</c:v>
                </c:pt>
                <c:pt idx="16">
                  <c:v>350</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18</c:f>
              <c:numCache>
                <c:formatCode>yyyy\-mm\-dd</c:formatCode>
                <c:ptCount val="17"/>
                <c:pt idx="0">
                  <c:v>45235</c:v>
                </c:pt>
                <c:pt idx="1">
                  <c:v>45242</c:v>
                </c:pt>
                <c:pt idx="2">
                  <c:v>45249</c:v>
                </c:pt>
                <c:pt idx="3">
                  <c:v>45256</c:v>
                </c:pt>
                <c:pt idx="4">
                  <c:v>45270</c:v>
                </c:pt>
                <c:pt idx="5">
                  <c:v>45277</c:v>
                </c:pt>
                <c:pt idx="6">
                  <c:v>45284</c:v>
                </c:pt>
                <c:pt idx="7">
                  <c:v>45291</c:v>
                </c:pt>
                <c:pt idx="8">
                  <c:v>45298</c:v>
                </c:pt>
                <c:pt idx="9">
                  <c:v>45305</c:v>
                </c:pt>
                <c:pt idx="10">
                  <c:v>45312</c:v>
                </c:pt>
                <c:pt idx="11">
                  <c:v>45319</c:v>
                </c:pt>
                <c:pt idx="12">
                  <c:v>45326</c:v>
                </c:pt>
                <c:pt idx="13">
                  <c:v>45333</c:v>
                </c:pt>
                <c:pt idx="14">
                  <c:v>45340</c:v>
                </c:pt>
                <c:pt idx="15">
                  <c:v>45347</c:v>
                </c:pt>
                <c:pt idx="16">
                  <c:v>45354</c:v>
                </c:pt>
              </c:numCache>
            </c:numRef>
          </c:cat>
          <c:val>
            <c:numRef>
              <c:f>Sheet1!$C$2:$C$18</c:f>
              <c:numCache>
                <c:formatCode>General</c:formatCode>
                <c:ptCount val="17"/>
                <c:pt idx="0">
                  <c:v>842</c:v>
                </c:pt>
                <c:pt idx="1">
                  <c:v>103</c:v>
                </c:pt>
                <c:pt idx="2">
                  <c:v>40</c:v>
                </c:pt>
                <c:pt idx="3">
                  <c:v>154</c:v>
                </c:pt>
                <c:pt idx="4">
                  <c:v>1499</c:v>
                </c:pt>
                <c:pt idx="5">
                  <c:v>1824</c:v>
                </c:pt>
                <c:pt idx="6">
                  <c:v>0</c:v>
                </c:pt>
                <c:pt idx="7">
                  <c:v>0</c:v>
                </c:pt>
                <c:pt idx="8">
                  <c:v>0</c:v>
                </c:pt>
                <c:pt idx="9">
                  <c:v>0</c:v>
                </c:pt>
                <c:pt idx="10">
                  <c:v>0</c:v>
                </c:pt>
                <c:pt idx="11">
                  <c:v>0</c:v>
                </c:pt>
                <c:pt idx="12">
                  <c:v>0</c:v>
                </c:pt>
                <c:pt idx="13">
                  <c:v>0</c:v>
                </c:pt>
                <c:pt idx="14">
                  <c:v>4</c:v>
                </c:pt>
                <c:pt idx="15">
                  <c:v>31</c:v>
                </c:pt>
                <c:pt idx="16">
                  <c:v>48</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18</c:f>
              <c:numCache>
                <c:formatCode>yyyy\-mm\-dd</c:formatCode>
                <c:ptCount val="17"/>
                <c:pt idx="0">
                  <c:v>45235</c:v>
                </c:pt>
                <c:pt idx="1">
                  <c:v>45242</c:v>
                </c:pt>
                <c:pt idx="2">
                  <c:v>45249</c:v>
                </c:pt>
                <c:pt idx="3">
                  <c:v>45256</c:v>
                </c:pt>
                <c:pt idx="4">
                  <c:v>45270</c:v>
                </c:pt>
                <c:pt idx="5">
                  <c:v>45277</c:v>
                </c:pt>
                <c:pt idx="6">
                  <c:v>45284</c:v>
                </c:pt>
                <c:pt idx="7">
                  <c:v>45291</c:v>
                </c:pt>
                <c:pt idx="8">
                  <c:v>45298</c:v>
                </c:pt>
                <c:pt idx="9">
                  <c:v>45305</c:v>
                </c:pt>
                <c:pt idx="10">
                  <c:v>45312</c:v>
                </c:pt>
                <c:pt idx="11">
                  <c:v>45319</c:v>
                </c:pt>
                <c:pt idx="12">
                  <c:v>45326</c:v>
                </c:pt>
                <c:pt idx="13">
                  <c:v>45333</c:v>
                </c:pt>
                <c:pt idx="14">
                  <c:v>45340</c:v>
                </c:pt>
                <c:pt idx="15">
                  <c:v>45347</c:v>
                </c:pt>
                <c:pt idx="16">
                  <c:v>45354</c:v>
                </c:pt>
              </c:numCache>
            </c:numRef>
          </c:cat>
          <c:val>
            <c:numRef>
              <c:f>Sheet1!$D$2:$D$18</c:f>
              <c:numCache>
                <c:formatCode>General</c:formatCode>
                <c:ptCount val="17"/>
                <c:pt idx="0">
                  <c:v>14414</c:v>
                </c:pt>
                <c:pt idx="1">
                  <c:v>19757</c:v>
                </c:pt>
                <c:pt idx="2">
                  <c:v>20646</c:v>
                </c:pt>
                <c:pt idx="3">
                  <c:v>23881</c:v>
                </c:pt>
                <c:pt idx="4">
                  <c:v>24257</c:v>
                </c:pt>
                <c:pt idx="5">
                  <c:v>42742</c:v>
                </c:pt>
                <c:pt idx="6">
                  <c:v>123276</c:v>
                </c:pt>
                <c:pt idx="7">
                  <c:v>65933</c:v>
                </c:pt>
                <c:pt idx="8">
                  <c:v>33328</c:v>
                </c:pt>
                <c:pt idx="9">
                  <c:v>71915</c:v>
                </c:pt>
                <c:pt idx="10">
                  <c:v>49178</c:v>
                </c:pt>
                <c:pt idx="11">
                  <c:v>20389</c:v>
                </c:pt>
                <c:pt idx="12">
                  <c:v>5814</c:v>
                </c:pt>
                <c:pt idx="13">
                  <c:v>1961</c:v>
                </c:pt>
                <c:pt idx="14">
                  <c:v>779</c:v>
                </c:pt>
                <c:pt idx="15">
                  <c:v>504</c:v>
                </c:pt>
                <c:pt idx="16">
                  <c:v>398</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18</c:f>
              <c:numCache>
                <c:formatCode>yyyy\-mm\-dd</c:formatCode>
                <c:ptCount val="17"/>
                <c:pt idx="0">
                  <c:v>45235</c:v>
                </c:pt>
                <c:pt idx="1">
                  <c:v>45242</c:v>
                </c:pt>
                <c:pt idx="2">
                  <c:v>45249</c:v>
                </c:pt>
                <c:pt idx="3">
                  <c:v>45256</c:v>
                </c:pt>
                <c:pt idx="4">
                  <c:v>45270</c:v>
                </c:pt>
                <c:pt idx="5">
                  <c:v>45277</c:v>
                </c:pt>
                <c:pt idx="6">
                  <c:v>45284</c:v>
                </c:pt>
                <c:pt idx="7">
                  <c:v>45291</c:v>
                </c:pt>
                <c:pt idx="8">
                  <c:v>45298</c:v>
                </c:pt>
                <c:pt idx="9">
                  <c:v>45305</c:v>
                </c:pt>
                <c:pt idx="10">
                  <c:v>45312</c:v>
                </c:pt>
                <c:pt idx="11">
                  <c:v>45319</c:v>
                </c:pt>
                <c:pt idx="12">
                  <c:v>45326</c:v>
                </c:pt>
                <c:pt idx="13">
                  <c:v>45333</c:v>
                </c:pt>
                <c:pt idx="14">
                  <c:v>45340</c:v>
                </c:pt>
                <c:pt idx="15">
                  <c:v>45347</c:v>
                </c:pt>
                <c:pt idx="16">
                  <c:v>45354</c:v>
                </c:pt>
              </c:numCache>
            </c:numRef>
          </c:cat>
          <c:val>
            <c:numRef>
              <c:f>Sheet1!$E$2:$E$18</c:f>
              <c:numCache>
                <c:formatCode>General</c:formatCode>
                <c:ptCount val="17"/>
                <c:pt idx="0">
                  <c:v>15250</c:v>
                </c:pt>
                <c:pt idx="1">
                  <c:v>21575</c:v>
                </c:pt>
                <c:pt idx="2">
                  <c:v>21575</c:v>
                </c:pt>
                <c:pt idx="3">
                  <c:v>21575</c:v>
                </c:pt>
                <c:pt idx="4">
                  <c:v>21575</c:v>
                </c:pt>
                <c:pt idx="5">
                  <c:v>21575</c:v>
                </c:pt>
                <c:pt idx="6">
                  <c:v>21558</c:v>
                </c:pt>
                <c:pt idx="7">
                  <c:v>21558</c:v>
                </c:pt>
                <c:pt idx="8">
                  <c:v>21558</c:v>
                </c:pt>
                <c:pt idx="9">
                  <c:v>21523</c:v>
                </c:pt>
                <c:pt idx="10">
                  <c:v>21515</c:v>
                </c:pt>
                <c:pt idx="11">
                  <c:v>21515</c:v>
                </c:pt>
                <c:pt idx="12">
                  <c:v>18897</c:v>
                </c:pt>
                <c:pt idx="13">
                  <c:v>6432</c:v>
                </c:pt>
                <c:pt idx="14">
                  <c:v>2593</c:v>
                </c:pt>
                <c:pt idx="15">
                  <c:v>1695</c:v>
                </c:pt>
                <c:pt idx="16">
                  <c:v>1105</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18</c:f>
              <c:numCache>
                <c:formatCode>yyyy\-mm\-dd</c:formatCode>
                <c:ptCount val="17"/>
                <c:pt idx="0">
                  <c:v>45235</c:v>
                </c:pt>
                <c:pt idx="1">
                  <c:v>45242</c:v>
                </c:pt>
                <c:pt idx="2">
                  <c:v>45249</c:v>
                </c:pt>
                <c:pt idx="3">
                  <c:v>45256</c:v>
                </c:pt>
                <c:pt idx="4">
                  <c:v>45270</c:v>
                </c:pt>
                <c:pt idx="5">
                  <c:v>45277</c:v>
                </c:pt>
                <c:pt idx="6">
                  <c:v>45284</c:v>
                </c:pt>
                <c:pt idx="7">
                  <c:v>45291</c:v>
                </c:pt>
                <c:pt idx="8">
                  <c:v>45298</c:v>
                </c:pt>
                <c:pt idx="9">
                  <c:v>45305</c:v>
                </c:pt>
                <c:pt idx="10">
                  <c:v>45312</c:v>
                </c:pt>
                <c:pt idx="11">
                  <c:v>45319</c:v>
                </c:pt>
                <c:pt idx="12">
                  <c:v>45326</c:v>
                </c:pt>
                <c:pt idx="13">
                  <c:v>45333</c:v>
                </c:pt>
                <c:pt idx="14">
                  <c:v>45340</c:v>
                </c:pt>
                <c:pt idx="15">
                  <c:v>45347</c:v>
                </c:pt>
                <c:pt idx="16">
                  <c:v>45354</c:v>
                </c:pt>
              </c:numCache>
            </c:numRef>
          </c:cat>
          <c:val>
            <c:numRef>
              <c:f>Sheet1!$F$2:$F$18</c:f>
              <c:numCache>
                <c:formatCode>General</c:formatCode>
                <c:ptCount val="17"/>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pt idx="15">
                  <c:v>1</c:v>
                </c:pt>
                <c:pt idx="16">
                  <c:v>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85</c:f>
              <c:numCache>
                <c:formatCode>yyyy\-mm\-dd</c:formatCode>
                <c:ptCount val="84"/>
                <c:pt idx="0">
                  <c:v>44934</c:v>
                </c:pt>
                <c:pt idx="1">
                  <c:v>44941</c:v>
                </c:pt>
                <c:pt idx="2">
                  <c:v>44948</c:v>
                </c:pt>
                <c:pt idx="3">
                  <c:v>44955</c:v>
                </c:pt>
                <c:pt idx="4">
                  <c:v>44997</c:v>
                </c:pt>
                <c:pt idx="5">
                  <c:v>45004</c:v>
                </c:pt>
                <c:pt idx="6">
                  <c:v>45011</c:v>
                </c:pt>
                <c:pt idx="7">
                  <c:v>45018</c:v>
                </c:pt>
                <c:pt idx="8">
                  <c:v>45025</c:v>
                </c:pt>
                <c:pt idx="9">
                  <c:v>45032</c:v>
                </c:pt>
                <c:pt idx="10">
                  <c:v>45039</c:v>
                </c:pt>
                <c:pt idx="11">
                  <c:v>45046</c:v>
                </c:pt>
                <c:pt idx="12">
                  <c:v>45067</c:v>
                </c:pt>
                <c:pt idx="13">
                  <c:v>45074</c:v>
                </c:pt>
                <c:pt idx="14">
                  <c:v>45081</c:v>
                </c:pt>
                <c:pt idx="15">
                  <c:v>45088</c:v>
                </c:pt>
                <c:pt idx="16">
                  <c:v>45095</c:v>
                </c:pt>
                <c:pt idx="17">
                  <c:v>45102</c:v>
                </c:pt>
                <c:pt idx="18">
                  <c:v>45109</c:v>
                </c:pt>
                <c:pt idx="19">
                  <c:v>45116</c:v>
                </c:pt>
                <c:pt idx="20">
                  <c:v>45123</c:v>
                </c:pt>
                <c:pt idx="21">
                  <c:v>45165</c:v>
                </c:pt>
                <c:pt idx="22">
                  <c:v>45172</c:v>
                </c:pt>
                <c:pt idx="23">
                  <c:v>45179</c:v>
                </c:pt>
                <c:pt idx="24">
                  <c:v>45186</c:v>
                </c:pt>
                <c:pt idx="25">
                  <c:v>45221</c:v>
                </c:pt>
                <c:pt idx="26">
                  <c:v>45228</c:v>
                </c:pt>
                <c:pt idx="27">
                  <c:v>45235</c:v>
                </c:pt>
                <c:pt idx="28">
                  <c:v>45242</c:v>
                </c:pt>
                <c:pt idx="29">
                  <c:v>45249</c:v>
                </c:pt>
                <c:pt idx="30">
                  <c:v>45256</c:v>
                </c:pt>
                <c:pt idx="31">
                  <c:v>45263</c:v>
                </c:pt>
                <c:pt idx="32">
                  <c:v>45270</c:v>
                </c:pt>
                <c:pt idx="33">
                  <c:v>45277</c:v>
                </c:pt>
                <c:pt idx="34">
                  <c:v>45284</c:v>
                </c:pt>
                <c:pt idx="35">
                  <c:v>45291</c:v>
                </c:pt>
                <c:pt idx="36">
                  <c:v>45298</c:v>
                </c:pt>
                <c:pt idx="37">
                  <c:v>45305</c:v>
                </c:pt>
                <c:pt idx="38">
                  <c:v>45312</c:v>
                </c:pt>
                <c:pt idx="39">
                  <c:v>45319</c:v>
                </c:pt>
                <c:pt idx="40">
                  <c:v>45354</c:v>
                </c:pt>
                <c:pt idx="41">
                  <c:v>45361</c:v>
                </c:pt>
                <c:pt idx="42">
                  <c:v>45368</c:v>
                </c:pt>
                <c:pt idx="43">
                  <c:v>45375</c:v>
                </c:pt>
                <c:pt idx="44">
                  <c:v>45389</c:v>
                </c:pt>
                <c:pt idx="45">
                  <c:v>45396</c:v>
                </c:pt>
                <c:pt idx="46">
                  <c:v>45403</c:v>
                </c:pt>
                <c:pt idx="47">
                  <c:v>45410</c:v>
                </c:pt>
                <c:pt idx="48">
                  <c:v>45417</c:v>
                </c:pt>
                <c:pt idx="49">
                  <c:v>45424</c:v>
                </c:pt>
                <c:pt idx="50">
                  <c:v>45431</c:v>
                </c:pt>
                <c:pt idx="51">
                  <c:v>45438</c:v>
                </c:pt>
                <c:pt idx="52">
                  <c:v>45445</c:v>
                </c:pt>
                <c:pt idx="53">
                  <c:v>45452</c:v>
                </c:pt>
                <c:pt idx="54">
                  <c:v>45459</c:v>
                </c:pt>
                <c:pt idx="55">
                  <c:v>45466</c:v>
                </c:pt>
                <c:pt idx="56">
                  <c:v>45473</c:v>
                </c:pt>
                <c:pt idx="57">
                  <c:v>45480</c:v>
                </c:pt>
                <c:pt idx="58">
                  <c:v>45487</c:v>
                </c:pt>
                <c:pt idx="59">
                  <c:v>45508</c:v>
                </c:pt>
                <c:pt idx="60">
                  <c:v>45515</c:v>
                </c:pt>
                <c:pt idx="61">
                  <c:v>45522</c:v>
                </c:pt>
                <c:pt idx="62">
                  <c:v>45529</c:v>
                </c:pt>
                <c:pt idx="63">
                  <c:v>45536</c:v>
                </c:pt>
                <c:pt idx="64">
                  <c:v>45543</c:v>
                </c:pt>
                <c:pt idx="65">
                  <c:v>45550</c:v>
                </c:pt>
                <c:pt idx="66">
                  <c:v>45557</c:v>
                </c:pt>
                <c:pt idx="67">
                  <c:v>45564</c:v>
                </c:pt>
                <c:pt idx="68">
                  <c:v>45578</c:v>
                </c:pt>
                <c:pt idx="69">
                  <c:v>45585</c:v>
                </c:pt>
                <c:pt idx="70">
                  <c:v>45592</c:v>
                </c:pt>
                <c:pt idx="71">
                  <c:v>45599</c:v>
                </c:pt>
                <c:pt idx="72">
                  <c:v>45606</c:v>
                </c:pt>
                <c:pt idx="73">
                  <c:v>45613</c:v>
                </c:pt>
                <c:pt idx="74">
                  <c:v>45620</c:v>
                </c:pt>
                <c:pt idx="75">
                  <c:v>45627</c:v>
                </c:pt>
                <c:pt idx="76">
                  <c:v>45634</c:v>
                </c:pt>
                <c:pt idx="77">
                  <c:v>45641</c:v>
                </c:pt>
                <c:pt idx="78">
                  <c:v>45648</c:v>
                </c:pt>
                <c:pt idx="79">
                  <c:v>45655</c:v>
                </c:pt>
                <c:pt idx="80">
                  <c:v>45662</c:v>
                </c:pt>
                <c:pt idx="81">
                  <c:v>45669</c:v>
                </c:pt>
                <c:pt idx="82">
                  <c:v>45676</c:v>
                </c:pt>
                <c:pt idx="83">
                  <c:v>45683</c:v>
                </c:pt>
              </c:numCache>
            </c:numRef>
          </c:cat>
          <c:val>
            <c:numRef>
              <c:f>Sheet1!$B$2:$B$85</c:f>
              <c:numCache>
                <c:formatCode>General</c:formatCode>
                <c:ptCount val="84"/>
                <c:pt idx="0">
                  <c:v>73775</c:v>
                </c:pt>
                <c:pt idx="1">
                  <c:v>31097</c:v>
                </c:pt>
                <c:pt idx="2">
                  <c:v>27142</c:v>
                </c:pt>
                <c:pt idx="3">
                  <c:v>70632</c:v>
                </c:pt>
                <c:pt idx="4">
                  <c:v>79241</c:v>
                </c:pt>
                <c:pt idx="5">
                  <c:v>113982</c:v>
                </c:pt>
                <c:pt idx="6">
                  <c:v>89719</c:v>
                </c:pt>
                <c:pt idx="7">
                  <c:v>87998</c:v>
                </c:pt>
                <c:pt idx="8">
                  <c:v>77629</c:v>
                </c:pt>
                <c:pt idx="9">
                  <c:v>83787</c:v>
                </c:pt>
                <c:pt idx="10">
                  <c:v>99665</c:v>
                </c:pt>
                <c:pt idx="11">
                  <c:v>2798</c:v>
                </c:pt>
                <c:pt idx="12">
                  <c:v>70056</c:v>
                </c:pt>
                <c:pt idx="13">
                  <c:v>80589</c:v>
                </c:pt>
                <c:pt idx="14">
                  <c:v>282388</c:v>
                </c:pt>
                <c:pt idx="15">
                  <c:v>338683</c:v>
                </c:pt>
                <c:pt idx="16">
                  <c:v>341952</c:v>
                </c:pt>
                <c:pt idx="17">
                  <c:v>339879</c:v>
                </c:pt>
                <c:pt idx="18">
                  <c:v>340173</c:v>
                </c:pt>
                <c:pt idx="19">
                  <c:v>77321</c:v>
                </c:pt>
                <c:pt idx="20">
                  <c:v>65370</c:v>
                </c:pt>
                <c:pt idx="21">
                  <c:v>97781</c:v>
                </c:pt>
                <c:pt idx="22">
                  <c:v>73785</c:v>
                </c:pt>
                <c:pt idx="23">
                  <c:v>96929</c:v>
                </c:pt>
                <c:pt idx="24">
                  <c:v>63263</c:v>
                </c:pt>
                <c:pt idx="25">
                  <c:v>87075</c:v>
                </c:pt>
                <c:pt idx="26">
                  <c:v>98473</c:v>
                </c:pt>
                <c:pt idx="27">
                  <c:v>79184</c:v>
                </c:pt>
                <c:pt idx="28">
                  <c:v>347453</c:v>
                </c:pt>
                <c:pt idx="29">
                  <c:v>324416</c:v>
                </c:pt>
                <c:pt idx="30">
                  <c:v>288148</c:v>
                </c:pt>
                <c:pt idx="31">
                  <c:v>87121</c:v>
                </c:pt>
                <c:pt idx="32">
                  <c:v>67580</c:v>
                </c:pt>
                <c:pt idx="33">
                  <c:v>66161</c:v>
                </c:pt>
                <c:pt idx="34">
                  <c:v>99697</c:v>
                </c:pt>
                <c:pt idx="35">
                  <c:v>251809</c:v>
                </c:pt>
                <c:pt idx="36">
                  <c:v>322017</c:v>
                </c:pt>
                <c:pt idx="37">
                  <c:v>336233</c:v>
                </c:pt>
                <c:pt idx="38">
                  <c:v>310381</c:v>
                </c:pt>
                <c:pt idx="39">
                  <c:v>293721</c:v>
                </c:pt>
                <c:pt idx="40">
                  <c:v>77042</c:v>
                </c:pt>
                <c:pt idx="41">
                  <c:v>99260</c:v>
                </c:pt>
                <c:pt idx="42">
                  <c:v>71859</c:v>
                </c:pt>
                <c:pt idx="43">
                  <c:v>24823</c:v>
                </c:pt>
                <c:pt idx="44">
                  <c:v>84114</c:v>
                </c:pt>
                <c:pt idx="45">
                  <c:v>183068</c:v>
                </c:pt>
                <c:pt idx="46">
                  <c:v>171571</c:v>
                </c:pt>
                <c:pt idx="47">
                  <c:v>103565</c:v>
                </c:pt>
                <c:pt idx="48">
                  <c:v>53963</c:v>
                </c:pt>
                <c:pt idx="49">
                  <c:v>36041</c:v>
                </c:pt>
                <c:pt idx="50">
                  <c:v>61765</c:v>
                </c:pt>
                <c:pt idx="51">
                  <c:v>51951</c:v>
                </c:pt>
                <c:pt idx="52">
                  <c:v>193824</c:v>
                </c:pt>
                <c:pt idx="53">
                  <c:v>238147</c:v>
                </c:pt>
                <c:pt idx="54">
                  <c:v>236587</c:v>
                </c:pt>
                <c:pt idx="55">
                  <c:v>230302</c:v>
                </c:pt>
                <c:pt idx="56">
                  <c:v>228001</c:v>
                </c:pt>
                <c:pt idx="57">
                  <c:v>227491</c:v>
                </c:pt>
                <c:pt idx="58">
                  <c:v>26235</c:v>
                </c:pt>
                <c:pt idx="59">
                  <c:v>49312</c:v>
                </c:pt>
                <c:pt idx="60">
                  <c:v>56189</c:v>
                </c:pt>
                <c:pt idx="61">
                  <c:v>61690</c:v>
                </c:pt>
                <c:pt idx="62">
                  <c:v>54826</c:v>
                </c:pt>
                <c:pt idx="63">
                  <c:v>13618</c:v>
                </c:pt>
                <c:pt idx="64">
                  <c:v>14642</c:v>
                </c:pt>
                <c:pt idx="65">
                  <c:v>13438</c:v>
                </c:pt>
                <c:pt idx="66">
                  <c:v>14607</c:v>
                </c:pt>
                <c:pt idx="67">
                  <c:v>15617</c:v>
                </c:pt>
                <c:pt idx="68">
                  <c:v>910</c:v>
                </c:pt>
                <c:pt idx="69">
                  <c:v>46520</c:v>
                </c:pt>
                <c:pt idx="70">
                  <c:v>54916</c:v>
                </c:pt>
                <c:pt idx="71">
                  <c:v>247717</c:v>
                </c:pt>
                <c:pt idx="72">
                  <c:v>259457</c:v>
                </c:pt>
                <c:pt idx="73">
                  <c:v>248536</c:v>
                </c:pt>
                <c:pt idx="74">
                  <c:v>241752</c:v>
                </c:pt>
                <c:pt idx="75">
                  <c:v>221995</c:v>
                </c:pt>
                <c:pt idx="76">
                  <c:v>189946</c:v>
                </c:pt>
                <c:pt idx="77">
                  <c:v>56512</c:v>
                </c:pt>
                <c:pt idx="78">
                  <c:v>76181</c:v>
                </c:pt>
                <c:pt idx="79">
                  <c:v>65321</c:v>
                </c:pt>
                <c:pt idx="80">
                  <c:v>201725</c:v>
                </c:pt>
                <c:pt idx="81">
                  <c:v>281643</c:v>
                </c:pt>
                <c:pt idx="82">
                  <c:v>297071</c:v>
                </c:pt>
                <c:pt idx="83">
                  <c:v>269481</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85</c:f>
              <c:numCache>
                <c:formatCode>yyyy\-mm\-dd</c:formatCode>
                <c:ptCount val="84"/>
                <c:pt idx="0">
                  <c:v>44934</c:v>
                </c:pt>
                <c:pt idx="1">
                  <c:v>44941</c:v>
                </c:pt>
                <c:pt idx="2">
                  <c:v>44948</c:v>
                </c:pt>
                <c:pt idx="3">
                  <c:v>44955</c:v>
                </c:pt>
                <c:pt idx="4">
                  <c:v>44997</c:v>
                </c:pt>
                <c:pt idx="5">
                  <c:v>45004</c:v>
                </c:pt>
                <c:pt idx="6">
                  <c:v>45011</c:v>
                </c:pt>
                <c:pt idx="7">
                  <c:v>45018</c:v>
                </c:pt>
                <c:pt idx="8">
                  <c:v>45025</c:v>
                </c:pt>
                <c:pt idx="9">
                  <c:v>45032</c:v>
                </c:pt>
                <c:pt idx="10">
                  <c:v>45039</c:v>
                </c:pt>
                <c:pt idx="11">
                  <c:v>45046</c:v>
                </c:pt>
                <c:pt idx="12">
                  <c:v>45067</c:v>
                </c:pt>
                <c:pt idx="13">
                  <c:v>45074</c:v>
                </c:pt>
                <c:pt idx="14">
                  <c:v>45081</c:v>
                </c:pt>
                <c:pt idx="15">
                  <c:v>45088</c:v>
                </c:pt>
                <c:pt idx="16">
                  <c:v>45095</c:v>
                </c:pt>
                <c:pt idx="17">
                  <c:v>45102</c:v>
                </c:pt>
                <c:pt idx="18">
                  <c:v>45109</c:v>
                </c:pt>
                <c:pt idx="19">
                  <c:v>45116</c:v>
                </c:pt>
                <c:pt idx="20">
                  <c:v>45123</c:v>
                </c:pt>
                <c:pt idx="21">
                  <c:v>45165</c:v>
                </c:pt>
                <c:pt idx="22">
                  <c:v>45172</c:v>
                </c:pt>
                <c:pt idx="23">
                  <c:v>45179</c:v>
                </c:pt>
                <c:pt idx="24">
                  <c:v>45186</c:v>
                </c:pt>
                <c:pt idx="25">
                  <c:v>45221</c:v>
                </c:pt>
                <c:pt idx="26">
                  <c:v>45228</c:v>
                </c:pt>
                <c:pt idx="27">
                  <c:v>45235</c:v>
                </c:pt>
                <c:pt idx="28">
                  <c:v>45242</c:v>
                </c:pt>
                <c:pt idx="29">
                  <c:v>45249</c:v>
                </c:pt>
                <c:pt idx="30">
                  <c:v>45256</c:v>
                </c:pt>
                <c:pt idx="31">
                  <c:v>45263</c:v>
                </c:pt>
                <c:pt idx="32">
                  <c:v>45270</c:v>
                </c:pt>
                <c:pt idx="33">
                  <c:v>45277</c:v>
                </c:pt>
                <c:pt idx="34">
                  <c:v>45284</c:v>
                </c:pt>
                <c:pt idx="35">
                  <c:v>45291</c:v>
                </c:pt>
                <c:pt idx="36">
                  <c:v>45298</c:v>
                </c:pt>
                <c:pt idx="37">
                  <c:v>45305</c:v>
                </c:pt>
                <c:pt idx="38">
                  <c:v>45312</c:v>
                </c:pt>
                <c:pt idx="39">
                  <c:v>45319</c:v>
                </c:pt>
                <c:pt idx="40">
                  <c:v>45354</c:v>
                </c:pt>
                <c:pt idx="41">
                  <c:v>45361</c:v>
                </c:pt>
                <c:pt idx="42">
                  <c:v>45368</c:v>
                </c:pt>
                <c:pt idx="43">
                  <c:v>45375</c:v>
                </c:pt>
                <c:pt idx="44">
                  <c:v>45389</c:v>
                </c:pt>
                <c:pt idx="45">
                  <c:v>45396</c:v>
                </c:pt>
                <c:pt idx="46">
                  <c:v>45403</c:v>
                </c:pt>
                <c:pt idx="47">
                  <c:v>45410</c:v>
                </c:pt>
                <c:pt idx="48">
                  <c:v>45417</c:v>
                </c:pt>
                <c:pt idx="49">
                  <c:v>45424</c:v>
                </c:pt>
                <c:pt idx="50">
                  <c:v>45431</c:v>
                </c:pt>
                <c:pt idx="51">
                  <c:v>45438</c:v>
                </c:pt>
                <c:pt idx="52">
                  <c:v>45445</c:v>
                </c:pt>
                <c:pt idx="53">
                  <c:v>45452</c:v>
                </c:pt>
                <c:pt idx="54">
                  <c:v>45459</c:v>
                </c:pt>
                <c:pt idx="55">
                  <c:v>45466</c:v>
                </c:pt>
                <c:pt idx="56">
                  <c:v>45473</c:v>
                </c:pt>
                <c:pt idx="57">
                  <c:v>45480</c:v>
                </c:pt>
                <c:pt idx="58">
                  <c:v>45487</c:v>
                </c:pt>
                <c:pt idx="59">
                  <c:v>45508</c:v>
                </c:pt>
                <c:pt idx="60">
                  <c:v>45515</c:v>
                </c:pt>
                <c:pt idx="61">
                  <c:v>45522</c:v>
                </c:pt>
                <c:pt idx="62">
                  <c:v>45529</c:v>
                </c:pt>
                <c:pt idx="63">
                  <c:v>45536</c:v>
                </c:pt>
                <c:pt idx="64">
                  <c:v>45543</c:v>
                </c:pt>
                <c:pt idx="65">
                  <c:v>45550</c:v>
                </c:pt>
                <c:pt idx="66">
                  <c:v>45557</c:v>
                </c:pt>
                <c:pt idx="67">
                  <c:v>45564</c:v>
                </c:pt>
                <c:pt idx="68">
                  <c:v>45578</c:v>
                </c:pt>
                <c:pt idx="69">
                  <c:v>45585</c:v>
                </c:pt>
                <c:pt idx="70">
                  <c:v>45592</c:v>
                </c:pt>
                <c:pt idx="71">
                  <c:v>45599</c:v>
                </c:pt>
                <c:pt idx="72">
                  <c:v>45606</c:v>
                </c:pt>
                <c:pt idx="73">
                  <c:v>45613</c:v>
                </c:pt>
                <c:pt idx="74">
                  <c:v>45620</c:v>
                </c:pt>
                <c:pt idx="75">
                  <c:v>45627</c:v>
                </c:pt>
                <c:pt idx="76">
                  <c:v>45634</c:v>
                </c:pt>
                <c:pt idx="77">
                  <c:v>45641</c:v>
                </c:pt>
                <c:pt idx="78">
                  <c:v>45648</c:v>
                </c:pt>
                <c:pt idx="79">
                  <c:v>45655</c:v>
                </c:pt>
                <c:pt idx="80">
                  <c:v>45662</c:v>
                </c:pt>
                <c:pt idx="81">
                  <c:v>45669</c:v>
                </c:pt>
                <c:pt idx="82">
                  <c:v>45676</c:v>
                </c:pt>
                <c:pt idx="83">
                  <c:v>45683</c:v>
                </c:pt>
              </c:numCache>
            </c:numRef>
          </c:cat>
          <c:val>
            <c:numRef>
              <c:f>Sheet1!$C$2:$C$85</c:f>
              <c:numCache>
                <c:formatCode>General</c:formatCode>
                <c:ptCount val="84"/>
                <c:pt idx="0">
                  <c:v>172166</c:v>
                </c:pt>
                <c:pt idx="1">
                  <c:v>253812</c:v>
                </c:pt>
                <c:pt idx="2">
                  <c:v>260415</c:v>
                </c:pt>
                <c:pt idx="3">
                  <c:v>207675</c:v>
                </c:pt>
                <c:pt idx="4">
                  <c:v>225339</c:v>
                </c:pt>
                <c:pt idx="5">
                  <c:v>210860</c:v>
                </c:pt>
                <c:pt idx="6">
                  <c:v>221454</c:v>
                </c:pt>
                <c:pt idx="7">
                  <c:v>193408</c:v>
                </c:pt>
                <c:pt idx="8">
                  <c:v>235665</c:v>
                </c:pt>
                <c:pt idx="9">
                  <c:v>191153</c:v>
                </c:pt>
                <c:pt idx="10">
                  <c:v>234055</c:v>
                </c:pt>
                <c:pt idx="11">
                  <c:v>291802</c:v>
                </c:pt>
                <c:pt idx="12">
                  <c:v>206654</c:v>
                </c:pt>
                <c:pt idx="13">
                  <c:v>211694</c:v>
                </c:pt>
                <c:pt idx="14">
                  <c:v>22119</c:v>
                </c:pt>
                <c:pt idx="15">
                  <c:v>13587</c:v>
                </c:pt>
                <c:pt idx="16">
                  <c:v>15619</c:v>
                </c:pt>
                <c:pt idx="17">
                  <c:v>9485</c:v>
                </c:pt>
                <c:pt idx="18">
                  <c:v>38000</c:v>
                </c:pt>
                <c:pt idx="19">
                  <c:v>225292</c:v>
                </c:pt>
                <c:pt idx="20">
                  <c:v>219789</c:v>
                </c:pt>
                <c:pt idx="21">
                  <c:v>220492</c:v>
                </c:pt>
                <c:pt idx="22">
                  <c:v>244728</c:v>
                </c:pt>
                <c:pt idx="23">
                  <c:v>215148</c:v>
                </c:pt>
                <c:pt idx="24">
                  <c:v>226940</c:v>
                </c:pt>
                <c:pt idx="25">
                  <c:v>205352</c:v>
                </c:pt>
                <c:pt idx="26">
                  <c:v>198815</c:v>
                </c:pt>
                <c:pt idx="27">
                  <c:v>260952</c:v>
                </c:pt>
                <c:pt idx="28">
                  <c:v>0</c:v>
                </c:pt>
                <c:pt idx="29">
                  <c:v>0</c:v>
                </c:pt>
                <c:pt idx="30">
                  <c:v>302</c:v>
                </c:pt>
                <c:pt idx="31">
                  <c:v>183301</c:v>
                </c:pt>
                <c:pt idx="32">
                  <c:v>225514</c:v>
                </c:pt>
                <c:pt idx="33">
                  <c:v>226025</c:v>
                </c:pt>
                <c:pt idx="34">
                  <c:v>226010</c:v>
                </c:pt>
                <c:pt idx="35">
                  <c:v>780</c:v>
                </c:pt>
                <c:pt idx="36">
                  <c:v>117</c:v>
                </c:pt>
                <c:pt idx="37">
                  <c:v>51</c:v>
                </c:pt>
                <c:pt idx="38">
                  <c:v>96</c:v>
                </c:pt>
                <c:pt idx="39">
                  <c:v>9508</c:v>
                </c:pt>
                <c:pt idx="40">
                  <c:v>220771</c:v>
                </c:pt>
                <c:pt idx="41">
                  <c:v>212398</c:v>
                </c:pt>
                <c:pt idx="42">
                  <c:v>230289</c:v>
                </c:pt>
                <c:pt idx="43">
                  <c:v>247648</c:v>
                </c:pt>
                <c:pt idx="44">
                  <c:v>169548</c:v>
                </c:pt>
                <c:pt idx="45">
                  <c:v>120659</c:v>
                </c:pt>
                <c:pt idx="46">
                  <c:v>131631</c:v>
                </c:pt>
                <c:pt idx="47">
                  <c:v>157361</c:v>
                </c:pt>
                <c:pt idx="48">
                  <c:v>174275</c:v>
                </c:pt>
                <c:pt idx="49">
                  <c:v>177673</c:v>
                </c:pt>
                <c:pt idx="50">
                  <c:v>137772</c:v>
                </c:pt>
                <c:pt idx="51">
                  <c:v>157896</c:v>
                </c:pt>
                <c:pt idx="52">
                  <c:v>15818</c:v>
                </c:pt>
                <c:pt idx="53">
                  <c:v>3145</c:v>
                </c:pt>
                <c:pt idx="54">
                  <c:v>2297</c:v>
                </c:pt>
                <c:pt idx="55">
                  <c:v>3762</c:v>
                </c:pt>
                <c:pt idx="56">
                  <c:v>13365</c:v>
                </c:pt>
                <c:pt idx="57">
                  <c:v>18083</c:v>
                </c:pt>
                <c:pt idx="58">
                  <c:v>161472</c:v>
                </c:pt>
                <c:pt idx="59">
                  <c:v>147962</c:v>
                </c:pt>
                <c:pt idx="60">
                  <c:v>156460</c:v>
                </c:pt>
                <c:pt idx="61">
                  <c:v>147124</c:v>
                </c:pt>
                <c:pt idx="62">
                  <c:v>158578</c:v>
                </c:pt>
                <c:pt idx="63">
                  <c:v>182286</c:v>
                </c:pt>
                <c:pt idx="64">
                  <c:v>171706</c:v>
                </c:pt>
                <c:pt idx="65">
                  <c:v>172103</c:v>
                </c:pt>
                <c:pt idx="66">
                  <c:v>166994</c:v>
                </c:pt>
                <c:pt idx="67">
                  <c:v>172463</c:v>
                </c:pt>
                <c:pt idx="68">
                  <c:v>186980</c:v>
                </c:pt>
                <c:pt idx="69">
                  <c:v>154429</c:v>
                </c:pt>
                <c:pt idx="70">
                  <c:v>166645</c:v>
                </c:pt>
                <c:pt idx="71">
                  <c:v>0</c:v>
                </c:pt>
                <c:pt idx="72">
                  <c:v>181</c:v>
                </c:pt>
                <c:pt idx="73">
                  <c:v>633</c:v>
                </c:pt>
                <c:pt idx="74">
                  <c:v>19</c:v>
                </c:pt>
                <c:pt idx="75">
                  <c:v>24</c:v>
                </c:pt>
                <c:pt idx="76">
                  <c:v>29229</c:v>
                </c:pt>
                <c:pt idx="77">
                  <c:v>169291</c:v>
                </c:pt>
                <c:pt idx="78">
                  <c:v>162908</c:v>
                </c:pt>
                <c:pt idx="79">
                  <c:v>137342</c:v>
                </c:pt>
                <c:pt idx="80">
                  <c:v>17266</c:v>
                </c:pt>
                <c:pt idx="81">
                  <c:v>0</c:v>
                </c:pt>
                <c:pt idx="82">
                  <c:v>115</c:v>
                </c:pt>
                <c:pt idx="83">
                  <c:v>147</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85</c:f>
              <c:numCache>
                <c:formatCode>yyyy\-mm\-dd</c:formatCode>
                <c:ptCount val="84"/>
                <c:pt idx="0">
                  <c:v>44934</c:v>
                </c:pt>
                <c:pt idx="1">
                  <c:v>44941</c:v>
                </c:pt>
                <c:pt idx="2">
                  <c:v>44948</c:v>
                </c:pt>
                <c:pt idx="3">
                  <c:v>44955</c:v>
                </c:pt>
                <c:pt idx="4">
                  <c:v>44997</c:v>
                </c:pt>
                <c:pt idx="5">
                  <c:v>45004</c:v>
                </c:pt>
                <c:pt idx="6">
                  <c:v>45011</c:v>
                </c:pt>
                <c:pt idx="7">
                  <c:v>45018</c:v>
                </c:pt>
                <c:pt idx="8">
                  <c:v>45025</c:v>
                </c:pt>
                <c:pt idx="9">
                  <c:v>45032</c:v>
                </c:pt>
                <c:pt idx="10">
                  <c:v>45039</c:v>
                </c:pt>
                <c:pt idx="11">
                  <c:v>45046</c:v>
                </c:pt>
                <c:pt idx="12">
                  <c:v>45067</c:v>
                </c:pt>
                <c:pt idx="13">
                  <c:v>45074</c:v>
                </c:pt>
                <c:pt idx="14">
                  <c:v>45081</c:v>
                </c:pt>
                <c:pt idx="15">
                  <c:v>45088</c:v>
                </c:pt>
                <c:pt idx="16">
                  <c:v>45095</c:v>
                </c:pt>
                <c:pt idx="17">
                  <c:v>45102</c:v>
                </c:pt>
                <c:pt idx="18">
                  <c:v>45109</c:v>
                </c:pt>
                <c:pt idx="19">
                  <c:v>45116</c:v>
                </c:pt>
                <c:pt idx="20">
                  <c:v>45123</c:v>
                </c:pt>
                <c:pt idx="21">
                  <c:v>45165</c:v>
                </c:pt>
                <c:pt idx="22">
                  <c:v>45172</c:v>
                </c:pt>
                <c:pt idx="23">
                  <c:v>45179</c:v>
                </c:pt>
                <c:pt idx="24">
                  <c:v>45186</c:v>
                </c:pt>
                <c:pt idx="25">
                  <c:v>45221</c:v>
                </c:pt>
                <c:pt idx="26">
                  <c:v>45228</c:v>
                </c:pt>
                <c:pt idx="27">
                  <c:v>45235</c:v>
                </c:pt>
                <c:pt idx="28">
                  <c:v>45242</c:v>
                </c:pt>
                <c:pt idx="29">
                  <c:v>45249</c:v>
                </c:pt>
                <c:pt idx="30">
                  <c:v>45256</c:v>
                </c:pt>
                <c:pt idx="31">
                  <c:v>45263</c:v>
                </c:pt>
                <c:pt idx="32">
                  <c:v>45270</c:v>
                </c:pt>
                <c:pt idx="33">
                  <c:v>45277</c:v>
                </c:pt>
                <c:pt idx="34">
                  <c:v>45284</c:v>
                </c:pt>
                <c:pt idx="35">
                  <c:v>45291</c:v>
                </c:pt>
                <c:pt idx="36">
                  <c:v>45298</c:v>
                </c:pt>
                <c:pt idx="37">
                  <c:v>45305</c:v>
                </c:pt>
                <c:pt idx="38">
                  <c:v>45312</c:v>
                </c:pt>
                <c:pt idx="39">
                  <c:v>45319</c:v>
                </c:pt>
                <c:pt idx="40">
                  <c:v>45354</c:v>
                </c:pt>
                <c:pt idx="41">
                  <c:v>45361</c:v>
                </c:pt>
                <c:pt idx="42">
                  <c:v>45368</c:v>
                </c:pt>
                <c:pt idx="43">
                  <c:v>45375</c:v>
                </c:pt>
                <c:pt idx="44">
                  <c:v>45389</c:v>
                </c:pt>
                <c:pt idx="45">
                  <c:v>45396</c:v>
                </c:pt>
                <c:pt idx="46">
                  <c:v>45403</c:v>
                </c:pt>
                <c:pt idx="47">
                  <c:v>45410</c:v>
                </c:pt>
                <c:pt idx="48">
                  <c:v>45417</c:v>
                </c:pt>
                <c:pt idx="49">
                  <c:v>45424</c:v>
                </c:pt>
                <c:pt idx="50">
                  <c:v>45431</c:v>
                </c:pt>
                <c:pt idx="51">
                  <c:v>45438</c:v>
                </c:pt>
                <c:pt idx="52">
                  <c:v>45445</c:v>
                </c:pt>
                <c:pt idx="53">
                  <c:v>45452</c:v>
                </c:pt>
                <c:pt idx="54">
                  <c:v>45459</c:v>
                </c:pt>
                <c:pt idx="55">
                  <c:v>45466</c:v>
                </c:pt>
                <c:pt idx="56">
                  <c:v>45473</c:v>
                </c:pt>
                <c:pt idx="57">
                  <c:v>45480</c:v>
                </c:pt>
                <c:pt idx="58">
                  <c:v>45487</c:v>
                </c:pt>
                <c:pt idx="59">
                  <c:v>45508</c:v>
                </c:pt>
                <c:pt idx="60">
                  <c:v>45515</c:v>
                </c:pt>
                <c:pt idx="61">
                  <c:v>45522</c:v>
                </c:pt>
                <c:pt idx="62">
                  <c:v>45529</c:v>
                </c:pt>
                <c:pt idx="63">
                  <c:v>45536</c:v>
                </c:pt>
                <c:pt idx="64">
                  <c:v>45543</c:v>
                </c:pt>
                <c:pt idx="65">
                  <c:v>45550</c:v>
                </c:pt>
                <c:pt idx="66">
                  <c:v>45557</c:v>
                </c:pt>
                <c:pt idx="67">
                  <c:v>45564</c:v>
                </c:pt>
                <c:pt idx="68">
                  <c:v>45578</c:v>
                </c:pt>
                <c:pt idx="69">
                  <c:v>45585</c:v>
                </c:pt>
                <c:pt idx="70">
                  <c:v>45592</c:v>
                </c:pt>
                <c:pt idx="71">
                  <c:v>45599</c:v>
                </c:pt>
                <c:pt idx="72">
                  <c:v>45606</c:v>
                </c:pt>
                <c:pt idx="73">
                  <c:v>45613</c:v>
                </c:pt>
                <c:pt idx="74">
                  <c:v>45620</c:v>
                </c:pt>
                <c:pt idx="75">
                  <c:v>45627</c:v>
                </c:pt>
                <c:pt idx="76">
                  <c:v>45634</c:v>
                </c:pt>
                <c:pt idx="77">
                  <c:v>45641</c:v>
                </c:pt>
                <c:pt idx="78">
                  <c:v>45648</c:v>
                </c:pt>
                <c:pt idx="79">
                  <c:v>45655</c:v>
                </c:pt>
                <c:pt idx="80">
                  <c:v>45662</c:v>
                </c:pt>
                <c:pt idx="81">
                  <c:v>45669</c:v>
                </c:pt>
                <c:pt idx="82">
                  <c:v>45676</c:v>
                </c:pt>
                <c:pt idx="83">
                  <c:v>45683</c:v>
                </c:pt>
              </c:numCache>
            </c:numRef>
          </c:cat>
          <c:val>
            <c:numRef>
              <c:f>Sheet1!$D$2:$D$85</c:f>
              <c:numCache>
                <c:formatCode>General</c:formatCode>
                <c:ptCount val="84"/>
                <c:pt idx="0">
                  <c:v>245941</c:v>
                </c:pt>
                <c:pt idx="1">
                  <c:v>284909</c:v>
                </c:pt>
                <c:pt idx="2">
                  <c:v>287557</c:v>
                </c:pt>
                <c:pt idx="3">
                  <c:v>278307</c:v>
                </c:pt>
                <c:pt idx="4">
                  <c:v>304580</c:v>
                </c:pt>
                <c:pt idx="5">
                  <c:v>324842</c:v>
                </c:pt>
                <c:pt idx="6">
                  <c:v>311173</c:v>
                </c:pt>
                <c:pt idx="7">
                  <c:v>281406</c:v>
                </c:pt>
                <c:pt idx="8">
                  <c:v>313294</c:v>
                </c:pt>
                <c:pt idx="9">
                  <c:v>274940</c:v>
                </c:pt>
                <c:pt idx="10">
                  <c:v>333720</c:v>
                </c:pt>
                <c:pt idx="11">
                  <c:v>294600</c:v>
                </c:pt>
                <c:pt idx="12">
                  <c:v>276710</c:v>
                </c:pt>
                <c:pt idx="13">
                  <c:v>292283</c:v>
                </c:pt>
                <c:pt idx="14">
                  <c:v>304507</c:v>
                </c:pt>
                <c:pt idx="15">
                  <c:v>352270</c:v>
                </c:pt>
                <c:pt idx="16">
                  <c:v>357571</c:v>
                </c:pt>
                <c:pt idx="17">
                  <c:v>349364</c:v>
                </c:pt>
                <c:pt idx="18">
                  <c:v>378173</c:v>
                </c:pt>
                <c:pt idx="19">
                  <c:v>302613</c:v>
                </c:pt>
                <c:pt idx="20">
                  <c:v>285159</c:v>
                </c:pt>
                <c:pt idx="21">
                  <c:v>318273</c:v>
                </c:pt>
                <c:pt idx="22">
                  <c:v>318513</c:v>
                </c:pt>
                <c:pt idx="23">
                  <c:v>312077</c:v>
                </c:pt>
                <c:pt idx="24">
                  <c:v>290203</c:v>
                </c:pt>
                <c:pt idx="25">
                  <c:v>292427</c:v>
                </c:pt>
                <c:pt idx="26">
                  <c:v>297288</c:v>
                </c:pt>
                <c:pt idx="27">
                  <c:v>340136</c:v>
                </c:pt>
                <c:pt idx="28">
                  <c:v>347453</c:v>
                </c:pt>
                <c:pt idx="29">
                  <c:v>324416</c:v>
                </c:pt>
                <c:pt idx="30">
                  <c:v>288450</c:v>
                </c:pt>
                <c:pt idx="31">
                  <c:v>270422</c:v>
                </c:pt>
                <c:pt idx="32">
                  <c:v>293094</c:v>
                </c:pt>
                <c:pt idx="33">
                  <c:v>292186</c:v>
                </c:pt>
                <c:pt idx="34">
                  <c:v>325707</c:v>
                </c:pt>
                <c:pt idx="35">
                  <c:v>252589</c:v>
                </c:pt>
                <c:pt idx="36">
                  <c:v>322134</c:v>
                </c:pt>
                <c:pt idx="37">
                  <c:v>336284</c:v>
                </c:pt>
                <c:pt idx="38">
                  <c:v>310477</c:v>
                </c:pt>
                <c:pt idx="39">
                  <c:v>303229</c:v>
                </c:pt>
                <c:pt idx="40">
                  <c:v>297813</c:v>
                </c:pt>
                <c:pt idx="41">
                  <c:v>311658</c:v>
                </c:pt>
                <c:pt idx="42">
                  <c:v>302148</c:v>
                </c:pt>
                <c:pt idx="43">
                  <c:v>272471</c:v>
                </c:pt>
                <c:pt idx="44">
                  <c:v>253662</c:v>
                </c:pt>
                <c:pt idx="45">
                  <c:v>303727</c:v>
                </c:pt>
                <c:pt idx="46">
                  <c:v>303202</c:v>
                </c:pt>
                <c:pt idx="47">
                  <c:v>260926</c:v>
                </c:pt>
                <c:pt idx="48">
                  <c:v>228238</c:v>
                </c:pt>
                <c:pt idx="49">
                  <c:v>213714</c:v>
                </c:pt>
                <c:pt idx="50">
                  <c:v>199537</c:v>
                </c:pt>
                <c:pt idx="51">
                  <c:v>209847</c:v>
                </c:pt>
                <c:pt idx="52">
                  <c:v>209642</c:v>
                </c:pt>
                <c:pt idx="53">
                  <c:v>241292</c:v>
                </c:pt>
                <c:pt idx="54">
                  <c:v>238884</c:v>
                </c:pt>
                <c:pt idx="55">
                  <c:v>234064</c:v>
                </c:pt>
                <c:pt idx="56">
                  <c:v>241366</c:v>
                </c:pt>
                <c:pt idx="57">
                  <c:v>245574</c:v>
                </c:pt>
                <c:pt idx="58">
                  <c:v>187707</c:v>
                </c:pt>
                <c:pt idx="59">
                  <c:v>197274</c:v>
                </c:pt>
                <c:pt idx="60">
                  <c:v>212649</c:v>
                </c:pt>
                <c:pt idx="61">
                  <c:v>208814</c:v>
                </c:pt>
                <c:pt idx="62">
                  <c:v>213404</c:v>
                </c:pt>
                <c:pt idx="63">
                  <c:v>195904</c:v>
                </c:pt>
                <c:pt idx="64">
                  <c:v>186348</c:v>
                </c:pt>
                <c:pt idx="65">
                  <c:v>185541</c:v>
                </c:pt>
                <c:pt idx="66">
                  <c:v>181601</c:v>
                </c:pt>
                <c:pt idx="67">
                  <c:v>188080</c:v>
                </c:pt>
                <c:pt idx="68">
                  <c:v>187890</c:v>
                </c:pt>
                <c:pt idx="69">
                  <c:v>200949</c:v>
                </c:pt>
                <c:pt idx="70">
                  <c:v>221561</c:v>
                </c:pt>
                <c:pt idx="71">
                  <c:v>247717</c:v>
                </c:pt>
                <c:pt idx="72">
                  <c:v>259638</c:v>
                </c:pt>
                <c:pt idx="73">
                  <c:v>249169</c:v>
                </c:pt>
                <c:pt idx="74">
                  <c:v>241771</c:v>
                </c:pt>
                <c:pt idx="75">
                  <c:v>222019</c:v>
                </c:pt>
                <c:pt idx="76">
                  <c:v>219175</c:v>
                </c:pt>
                <c:pt idx="77">
                  <c:v>225803</c:v>
                </c:pt>
                <c:pt idx="78">
                  <c:v>239089</c:v>
                </c:pt>
                <c:pt idx="79">
                  <c:v>202663</c:v>
                </c:pt>
                <c:pt idx="80">
                  <c:v>218991</c:v>
                </c:pt>
                <c:pt idx="81">
                  <c:v>281643</c:v>
                </c:pt>
                <c:pt idx="82">
                  <c:v>297186</c:v>
                </c:pt>
                <c:pt idx="83">
                  <c:v>269628</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85</c:f>
              <c:numCache>
                <c:formatCode>yyyy\-mm\-dd</c:formatCode>
                <c:ptCount val="84"/>
                <c:pt idx="0">
                  <c:v>44934</c:v>
                </c:pt>
                <c:pt idx="1">
                  <c:v>44941</c:v>
                </c:pt>
                <c:pt idx="2">
                  <c:v>44948</c:v>
                </c:pt>
                <c:pt idx="3">
                  <c:v>44955</c:v>
                </c:pt>
                <c:pt idx="4">
                  <c:v>44997</c:v>
                </c:pt>
                <c:pt idx="5">
                  <c:v>45004</c:v>
                </c:pt>
                <c:pt idx="6">
                  <c:v>45011</c:v>
                </c:pt>
                <c:pt idx="7">
                  <c:v>45018</c:v>
                </c:pt>
                <c:pt idx="8">
                  <c:v>45025</c:v>
                </c:pt>
                <c:pt idx="9">
                  <c:v>45032</c:v>
                </c:pt>
                <c:pt idx="10">
                  <c:v>45039</c:v>
                </c:pt>
                <c:pt idx="11">
                  <c:v>45046</c:v>
                </c:pt>
                <c:pt idx="12">
                  <c:v>45067</c:v>
                </c:pt>
                <c:pt idx="13">
                  <c:v>45074</c:v>
                </c:pt>
                <c:pt idx="14">
                  <c:v>45081</c:v>
                </c:pt>
                <c:pt idx="15">
                  <c:v>45088</c:v>
                </c:pt>
                <c:pt idx="16">
                  <c:v>45095</c:v>
                </c:pt>
                <c:pt idx="17">
                  <c:v>45102</c:v>
                </c:pt>
                <c:pt idx="18">
                  <c:v>45109</c:v>
                </c:pt>
                <c:pt idx="19">
                  <c:v>45116</c:v>
                </c:pt>
                <c:pt idx="20">
                  <c:v>45123</c:v>
                </c:pt>
                <c:pt idx="21">
                  <c:v>45165</c:v>
                </c:pt>
                <c:pt idx="22">
                  <c:v>45172</c:v>
                </c:pt>
                <c:pt idx="23">
                  <c:v>45179</c:v>
                </c:pt>
                <c:pt idx="24">
                  <c:v>45186</c:v>
                </c:pt>
                <c:pt idx="25">
                  <c:v>45221</c:v>
                </c:pt>
                <c:pt idx="26">
                  <c:v>45228</c:v>
                </c:pt>
                <c:pt idx="27">
                  <c:v>45235</c:v>
                </c:pt>
                <c:pt idx="28">
                  <c:v>45242</c:v>
                </c:pt>
                <c:pt idx="29">
                  <c:v>45249</c:v>
                </c:pt>
                <c:pt idx="30">
                  <c:v>45256</c:v>
                </c:pt>
                <c:pt idx="31">
                  <c:v>45263</c:v>
                </c:pt>
                <c:pt idx="32">
                  <c:v>45270</c:v>
                </c:pt>
                <c:pt idx="33">
                  <c:v>45277</c:v>
                </c:pt>
                <c:pt idx="34">
                  <c:v>45284</c:v>
                </c:pt>
                <c:pt idx="35">
                  <c:v>45291</c:v>
                </c:pt>
                <c:pt idx="36">
                  <c:v>45298</c:v>
                </c:pt>
                <c:pt idx="37">
                  <c:v>45305</c:v>
                </c:pt>
                <c:pt idx="38">
                  <c:v>45312</c:v>
                </c:pt>
                <c:pt idx="39">
                  <c:v>45319</c:v>
                </c:pt>
                <c:pt idx="40">
                  <c:v>45354</c:v>
                </c:pt>
                <c:pt idx="41">
                  <c:v>45361</c:v>
                </c:pt>
                <c:pt idx="42">
                  <c:v>45368</c:v>
                </c:pt>
                <c:pt idx="43">
                  <c:v>45375</c:v>
                </c:pt>
                <c:pt idx="44">
                  <c:v>45389</c:v>
                </c:pt>
                <c:pt idx="45">
                  <c:v>45396</c:v>
                </c:pt>
                <c:pt idx="46">
                  <c:v>45403</c:v>
                </c:pt>
                <c:pt idx="47">
                  <c:v>45410</c:v>
                </c:pt>
                <c:pt idx="48">
                  <c:v>45417</c:v>
                </c:pt>
                <c:pt idx="49">
                  <c:v>45424</c:v>
                </c:pt>
                <c:pt idx="50">
                  <c:v>45431</c:v>
                </c:pt>
                <c:pt idx="51">
                  <c:v>45438</c:v>
                </c:pt>
                <c:pt idx="52">
                  <c:v>45445</c:v>
                </c:pt>
                <c:pt idx="53">
                  <c:v>45452</c:v>
                </c:pt>
                <c:pt idx="54">
                  <c:v>45459</c:v>
                </c:pt>
                <c:pt idx="55">
                  <c:v>45466</c:v>
                </c:pt>
                <c:pt idx="56">
                  <c:v>45473</c:v>
                </c:pt>
                <c:pt idx="57">
                  <c:v>45480</c:v>
                </c:pt>
                <c:pt idx="58">
                  <c:v>45487</c:v>
                </c:pt>
                <c:pt idx="59">
                  <c:v>45508</c:v>
                </c:pt>
                <c:pt idx="60">
                  <c:v>45515</c:v>
                </c:pt>
                <c:pt idx="61">
                  <c:v>45522</c:v>
                </c:pt>
                <c:pt idx="62">
                  <c:v>45529</c:v>
                </c:pt>
                <c:pt idx="63">
                  <c:v>45536</c:v>
                </c:pt>
                <c:pt idx="64">
                  <c:v>45543</c:v>
                </c:pt>
                <c:pt idx="65">
                  <c:v>45550</c:v>
                </c:pt>
                <c:pt idx="66">
                  <c:v>45557</c:v>
                </c:pt>
                <c:pt idx="67">
                  <c:v>45564</c:v>
                </c:pt>
                <c:pt idx="68">
                  <c:v>45578</c:v>
                </c:pt>
                <c:pt idx="69">
                  <c:v>45585</c:v>
                </c:pt>
                <c:pt idx="70">
                  <c:v>45592</c:v>
                </c:pt>
                <c:pt idx="71">
                  <c:v>45599</c:v>
                </c:pt>
                <c:pt idx="72">
                  <c:v>45606</c:v>
                </c:pt>
                <c:pt idx="73">
                  <c:v>45613</c:v>
                </c:pt>
                <c:pt idx="74">
                  <c:v>45620</c:v>
                </c:pt>
                <c:pt idx="75">
                  <c:v>45627</c:v>
                </c:pt>
                <c:pt idx="76">
                  <c:v>45634</c:v>
                </c:pt>
                <c:pt idx="77">
                  <c:v>45641</c:v>
                </c:pt>
                <c:pt idx="78">
                  <c:v>45648</c:v>
                </c:pt>
                <c:pt idx="79">
                  <c:v>45655</c:v>
                </c:pt>
                <c:pt idx="80">
                  <c:v>45662</c:v>
                </c:pt>
                <c:pt idx="81">
                  <c:v>45669</c:v>
                </c:pt>
                <c:pt idx="82">
                  <c:v>45676</c:v>
                </c:pt>
                <c:pt idx="83">
                  <c:v>45683</c:v>
                </c:pt>
              </c:numCache>
            </c:numRef>
          </c:cat>
          <c:val>
            <c:numRef>
              <c:f>Sheet1!$E$2:$E$85</c:f>
              <c:numCache>
                <c:formatCode>General</c:formatCode>
                <c:ptCount val="84"/>
                <c:pt idx="0">
                  <c:v>273061</c:v>
                </c:pt>
                <c:pt idx="1">
                  <c:v>272544</c:v>
                </c:pt>
                <c:pt idx="2">
                  <c:v>271452</c:v>
                </c:pt>
                <c:pt idx="3">
                  <c:v>267374</c:v>
                </c:pt>
                <c:pt idx="4">
                  <c:v>276001</c:v>
                </c:pt>
                <c:pt idx="5">
                  <c:v>277482</c:v>
                </c:pt>
                <c:pt idx="6">
                  <c:v>275479</c:v>
                </c:pt>
                <c:pt idx="7">
                  <c:v>273403</c:v>
                </c:pt>
                <c:pt idx="8">
                  <c:v>293781</c:v>
                </c:pt>
                <c:pt idx="9">
                  <c:v>286800</c:v>
                </c:pt>
                <c:pt idx="10">
                  <c:v>281856</c:v>
                </c:pt>
                <c:pt idx="11">
                  <c:v>279698</c:v>
                </c:pt>
                <c:pt idx="12">
                  <c:v>280268</c:v>
                </c:pt>
                <c:pt idx="13">
                  <c:v>278355</c:v>
                </c:pt>
                <c:pt idx="14">
                  <c:v>272674</c:v>
                </c:pt>
                <c:pt idx="15">
                  <c:v>267175</c:v>
                </c:pt>
                <c:pt idx="16">
                  <c:v>272538</c:v>
                </c:pt>
                <c:pt idx="17">
                  <c:v>269708</c:v>
                </c:pt>
                <c:pt idx="18">
                  <c:v>279142</c:v>
                </c:pt>
                <c:pt idx="19">
                  <c:v>275873</c:v>
                </c:pt>
                <c:pt idx="20">
                  <c:v>278644</c:v>
                </c:pt>
                <c:pt idx="21">
                  <c:v>280802</c:v>
                </c:pt>
                <c:pt idx="22">
                  <c:v>280992</c:v>
                </c:pt>
                <c:pt idx="23">
                  <c:v>279993</c:v>
                </c:pt>
                <c:pt idx="24">
                  <c:v>280225</c:v>
                </c:pt>
                <c:pt idx="25">
                  <c:v>284582</c:v>
                </c:pt>
                <c:pt idx="26">
                  <c:v>288263</c:v>
                </c:pt>
                <c:pt idx="27">
                  <c:v>289689</c:v>
                </c:pt>
                <c:pt idx="28">
                  <c:v>286103</c:v>
                </c:pt>
                <c:pt idx="29">
                  <c:v>286457</c:v>
                </c:pt>
                <c:pt idx="30">
                  <c:v>283815</c:v>
                </c:pt>
                <c:pt idx="31">
                  <c:v>287810</c:v>
                </c:pt>
                <c:pt idx="32">
                  <c:v>282205</c:v>
                </c:pt>
                <c:pt idx="33">
                  <c:v>282066</c:v>
                </c:pt>
                <c:pt idx="34">
                  <c:v>282917</c:v>
                </c:pt>
                <c:pt idx="35">
                  <c:v>276095</c:v>
                </c:pt>
                <c:pt idx="36">
                  <c:v>283033</c:v>
                </c:pt>
                <c:pt idx="37">
                  <c:v>289568</c:v>
                </c:pt>
                <c:pt idx="38">
                  <c:v>277803</c:v>
                </c:pt>
                <c:pt idx="39">
                  <c:v>255136</c:v>
                </c:pt>
                <c:pt idx="40">
                  <c:v>276367</c:v>
                </c:pt>
                <c:pt idx="41">
                  <c:v>271915</c:v>
                </c:pt>
                <c:pt idx="42">
                  <c:v>269094</c:v>
                </c:pt>
                <c:pt idx="43">
                  <c:v>271550</c:v>
                </c:pt>
                <c:pt idx="44">
                  <c:v>264076</c:v>
                </c:pt>
                <c:pt idx="45">
                  <c:v>255558</c:v>
                </c:pt>
                <c:pt idx="46">
                  <c:v>247035</c:v>
                </c:pt>
                <c:pt idx="47">
                  <c:v>239011</c:v>
                </c:pt>
                <c:pt idx="48">
                  <c:v>231578</c:v>
                </c:pt>
                <c:pt idx="49">
                  <c:v>227447</c:v>
                </c:pt>
                <c:pt idx="50">
                  <c:v>219789</c:v>
                </c:pt>
                <c:pt idx="51">
                  <c:v>214212</c:v>
                </c:pt>
                <c:pt idx="52">
                  <c:v>211206</c:v>
                </c:pt>
                <c:pt idx="53">
                  <c:v>205213</c:v>
                </c:pt>
                <c:pt idx="54">
                  <c:v>199412</c:v>
                </c:pt>
                <c:pt idx="55">
                  <c:v>196266</c:v>
                </c:pt>
                <c:pt idx="56">
                  <c:v>182240</c:v>
                </c:pt>
                <c:pt idx="57">
                  <c:v>183931</c:v>
                </c:pt>
                <c:pt idx="58">
                  <c:v>185071</c:v>
                </c:pt>
                <c:pt idx="59">
                  <c:v>187572</c:v>
                </c:pt>
                <c:pt idx="60">
                  <c:v>191872</c:v>
                </c:pt>
                <c:pt idx="61">
                  <c:v>191294</c:v>
                </c:pt>
                <c:pt idx="62">
                  <c:v>192601</c:v>
                </c:pt>
                <c:pt idx="63">
                  <c:v>190990</c:v>
                </c:pt>
                <c:pt idx="64">
                  <c:v>191698</c:v>
                </c:pt>
                <c:pt idx="65">
                  <c:v>197462</c:v>
                </c:pt>
                <c:pt idx="66">
                  <c:v>197582</c:v>
                </c:pt>
                <c:pt idx="67">
                  <c:v>196351</c:v>
                </c:pt>
                <c:pt idx="68">
                  <c:v>201608</c:v>
                </c:pt>
                <c:pt idx="69">
                  <c:v>202387</c:v>
                </c:pt>
                <c:pt idx="70">
                  <c:v>205115</c:v>
                </c:pt>
                <c:pt idx="71">
                  <c:v>210108</c:v>
                </c:pt>
                <c:pt idx="72">
                  <c:v>191349</c:v>
                </c:pt>
                <c:pt idx="73">
                  <c:v>192860</c:v>
                </c:pt>
                <c:pt idx="74">
                  <c:v>204034</c:v>
                </c:pt>
                <c:pt idx="75">
                  <c:v>212856</c:v>
                </c:pt>
                <c:pt idx="76">
                  <c:v>204172</c:v>
                </c:pt>
                <c:pt idx="77">
                  <c:v>203796</c:v>
                </c:pt>
                <c:pt idx="78">
                  <c:v>205121</c:v>
                </c:pt>
                <c:pt idx="79">
                  <c:v>204556</c:v>
                </c:pt>
                <c:pt idx="80">
                  <c:v>201373</c:v>
                </c:pt>
                <c:pt idx="81">
                  <c:v>201270</c:v>
                </c:pt>
                <c:pt idx="82">
                  <c:v>204364</c:v>
                </c:pt>
                <c:pt idx="83">
                  <c:v>18931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85</c:f>
              <c:numCache>
                <c:formatCode>yyyy\-mm\-dd</c:formatCode>
                <c:ptCount val="84"/>
                <c:pt idx="0">
                  <c:v>44934</c:v>
                </c:pt>
                <c:pt idx="1">
                  <c:v>44941</c:v>
                </c:pt>
                <c:pt idx="2">
                  <c:v>44948</c:v>
                </c:pt>
                <c:pt idx="3">
                  <c:v>44955</c:v>
                </c:pt>
                <c:pt idx="4">
                  <c:v>44997</c:v>
                </c:pt>
                <c:pt idx="5">
                  <c:v>45004</c:v>
                </c:pt>
                <c:pt idx="6">
                  <c:v>45011</c:v>
                </c:pt>
                <c:pt idx="7">
                  <c:v>45018</c:v>
                </c:pt>
                <c:pt idx="8">
                  <c:v>45025</c:v>
                </c:pt>
                <c:pt idx="9">
                  <c:v>45032</c:v>
                </c:pt>
                <c:pt idx="10">
                  <c:v>45039</c:v>
                </c:pt>
                <c:pt idx="11">
                  <c:v>45046</c:v>
                </c:pt>
                <c:pt idx="12">
                  <c:v>45067</c:v>
                </c:pt>
                <c:pt idx="13">
                  <c:v>45074</c:v>
                </c:pt>
                <c:pt idx="14">
                  <c:v>45081</c:v>
                </c:pt>
                <c:pt idx="15">
                  <c:v>45088</c:v>
                </c:pt>
                <c:pt idx="16">
                  <c:v>45095</c:v>
                </c:pt>
                <c:pt idx="17">
                  <c:v>45102</c:v>
                </c:pt>
                <c:pt idx="18">
                  <c:v>45109</c:v>
                </c:pt>
                <c:pt idx="19">
                  <c:v>45116</c:v>
                </c:pt>
                <c:pt idx="20">
                  <c:v>45123</c:v>
                </c:pt>
                <c:pt idx="21">
                  <c:v>45165</c:v>
                </c:pt>
                <c:pt idx="22">
                  <c:v>45172</c:v>
                </c:pt>
                <c:pt idx="23">
                  <c:v>45179</c:v>
                </c:pt>
                <c:pt idx="24">
                  <c:v>45186</c:v>
                </c:pt>
                <c:pt idx="25">
                  <c:v>45221</c:v>
                </c:pt>
                <c:pt idx="26">
                  <c:v>45228</c:v>
                </c:pt>
                <c:pt idx="27">
                  <c:v>45235</c:v>
                </c:pt>
                <c:pt idx="28">
                  <c:v>45242</c:v>
                </c:pt>
                <c:pt idx="29">
                  <c:v>45249</c:v>
                </c:pt>
                <c:pt idx="30">
                  <c:v>45256</c:v>
                </c:pt>
                <c:pt idx="31">
                  <c:v>45263</c:v>
                </c:pt>
                <c:pt idx="32">
                  <c:v>45270</c:v>
                </c:pt>
                <c:pt idx="33">
                  <c:v>45277</c:v>
                </c:pt>
                <c:pt idx="34">
                  <c:v>45284</c:v>
                </c:pt>
                <c:pt idx="35">
                  <c:v>45291</c:v>
                </c:pt>
                <c:pt idx="36">
                  <c:v>45298</c:v>
                </c:pt>
                <c:pt idx="37">
                  <c:v>45305</c:v>
                </c:pt>
                <c:pt idx="38">
                  <c:v>45312</c:v>
                </c:pt>
                <c:pt idx="39">
                  <c:v>45319</c:v>
                </c:pt>
                <c:pt idx="40">
                  <c:v>45354</c:v>
                </c:pt>
                <c:pt idx="41">
                  <c:v>45361</c:v>
                </c:pt>
                <c:pt idx="42">
                  <c:v>45368</c:v>
                </c:pt>
                <c:pt idx="43">
                  <c:v>45375</c:v>
                </c:pt>
                <c:pt idx="44">
                  <c:v>45389</c:v>
                </c:pt>
                <c:pt idx="45">
                  <c:v>45396</c:v>
                </c:pt>
                <c:pt idx="46">
                  <c:v>45403</c:v>
                </c:pt>
                <c:pt idx="47">
                  <c:v>45410</c:v>
                </c:pt>
                <c:pt idx="48">
                  <c:v>45417</c:v>
                </c:pt>
                <c:pt idx="49">
                  <c:v>45424</c:v>
                </c:pt>
                <c:pt idx="50">
                  <c:v>45431</c:v>
                </c:pt>
                <c:pt idx="51">
                  <c:v>45438</c:v>
                </c:pt>
                <c:pt idx="52">
                  <c:v>45445</c:v>
                </c:pt>
                <c:pt idx="53">
                  <c:v>45452</c:v>
                </c:pt>
                <c:pt idx="54">
                  <c:v>45459</c:v>
                </c:pt>
                <c:pt idx="55">
                  <c:v>45466</c:v>
                </c:pt>
                <c:pt idx="56">
                  <c:v>45473</c:v>
                </c:pt>
                <c:pt idx="57">
                  <c:v>45480</c:v>
                </c:pt>
                <c:pt idx="58">
                  <c:v>45487</c:v>
                </c:pt>
                <c:pt idx="59">
                  <c:v>45508</c:v>
                </c:pt>
                <c:pt idx="60">
                  <c:v>45515</c:v>
                </c:pt>
                <c:pt idx="61">
                  <c:v>45522</c:v>
                </c:pt>
                <c:pt idx="62">
                  <c:v>45529</c:v>
                </c:pt>
                <c:pt idx="63">
                  <c:v>45536</c:v>
                </c:pt>
                <c:pt idx="64">
                  <c:v>45543</c:v>
                </c:pt>
                <c:pt idx="65">
                  <c:v>45550</c:v>
                </c:pt>
                <c:pt idx="66">
                  <c:v>45557</c:v>
                </c:pt>
                <c:pt idx="67">
                  <c:v>45564</c:v>
                </c:pt>
                <c:pt idx="68">
                  <c:v>45578</c:v>
                </c:pt>
                <c:pt idx="69">
                  <c:v>45585</c:v>
                </c:pt>
                <c:pt idx="70">
                  <c:v>45592</c:v>
                </c:pt>
                <c:pt idx="71">
                  <c:v>45599</c:v>
                </c:pt>
                <c:pt idx="72">
                  <c:v>45606</c:v>
                </c:pt>
                <c:pt idx="73">
                  <c:v>45613</c:v>
                </c:pt>
                <c:pt idx="74">
                  <c:v>45620</c:v>
                </c:pt>
                <c:pt idx="75">
                  <c:v>45627</c:v>
                </c:pt>
                <c:pt idx="76">
                  <c:v>45634</c:v>
                </c:pt>
                <c:pt idx="77">
                  <c:v>45641</c:v>
                </c:pt>
                <c:pt idx="78">
                  <c:v>45648</c:v>
                </c:pt>
                <c:pt idx="79">
                  <c:v>45655</c:v>
                </c:pt>
                <c:pt idx="80">
                  <c:v>45662</c:v>
                </c:pt>
                <c:pt idx="81">
                  <c:v>45669</c:v>
                </c:pt>
                <c:pt idx="82">
                  <c:v>45676</c:v>
                </c:pt>
                <c:pt idx="83">
                  <c:v>45683</c:v>
                </c:pt>
              </c:numCache>
            </c:numRef>
          </c:cat>
          <c:val>
            <c:numRef>
              <c:f>Sheet1!$F$2:$F$85</c:f>
              <c:numCache>
                <c:formatCode>General</c:formatCode>
                <c:ptCount val="84"/>
                <c:pt idx="0">
                  <c:v>0.34</c:v>
                </c:pt>
                <c:pt idx="1">
                  <c:v>0.14000000000000001</c:v>
                </c:pt>
                <c:pt idx="2">
                  <c:v>0.12</c:v>
                </c:pt>
                <c:pt idx="3">
                  <c:v>0.3</c:v>
                </c:pt>
                <c:pt idx="4">
                  <c:v>0.28999999999999998</c:v>
                </c:pt>
                <c:pt idx="5">
                  <c:v>0.41</c:v>
                </c:pt>
                <c:pt idx="6">
                  <c:v>0.35</c:v>
                </c:pt>
                <c:pt idx="7">
                  <c:v>0.35</c:v>
                </c:pt>
                <c:pt idx="8">
                  <c:v>0.28000000000000003</c:v>
                </c:pt>
                <c:pt idx="9">
                  <c:v>0.34</c:v>
                </c:pt>
                <c:pt idx="10">
                  <c:v>0.34</c:v>
                </c:pt>
                <c:pt idx="11">
                  <c:v>0.01</c:v>
                </c:pt>
                <c:pt idx="12">
                  <c:v>0.3</c:v>
                </c:pt>
                <c:pt idx="13">
                  <c:v>0.33</c:v>
                </c:pt>
                <c:pt idx="14">
                  <c:v>0.93</c:v>
                </c:pt>
                <c:pt idx="15">
                  <c:v>0.97</c:v>
                </c:pt>
                <c:pt idx="16">
                  <c:v>0.96</c:v>
                </c:pt>
                <c:pt idx="17">
                  <c:v>0.98</c:v>
                </c:pt>
                <c:pt idx="18">
                  <c:v>0.9</c:v>
                </c:pt>
                <c:pt idx="19">
                  <c:v>0.27</c:v>
                </c:pt>
                <c:pt idx="20">
                  <c:v>0.23</c:v>
                </c:pt>
                <c:pt idx="21">
                  <c:v>0.32</c:v>
                </c:pt>
                <c:pt idx="22">
                  <c:v>0.24</c:v>
                </c:pt>
                <c:pt idx="23">
                  <c:v>0.32</c:v>
                </c:pt>
                <c:pt idx="24">
                  <c:v>0.23</c:v>
                </c:pt>
                <c:pt idx="25">
                  <c:v>0.3</c:v>
                </c:pt>
                <c:pt idx="26">
                  <c:v>0.36</c:v>
                </c:pt>
                <c:pt idx="27">
                  <c:v>0.25</c:v>
                </c:pt>
                <c:pt idx="28">
                  <c:v>1</c:v>
                </c:pt>
                <c:pt idx="29">
                  <c:v>1</c:v>
                </c:pt>
                <c:pt idx="30">
                  <c:v>1</c:v>
                </c:pt>
                <c:pt idx="31">
                  <c:v>0.34</c:v>
                </c:pt>
                <c:pt idx="32">
                  <c:v>0.25</c:v>
                </c:pt>
                <c:pt idx="33">
                  <c:v>0.24</c:v>
                </c:pt>
                <c:pt idx="34">
                  <c:v>0.32</c:v>
                </c:pt>
                <c:pt idx="35">
                  <c:v>1</c:v>
                </c:pt>
                <c:pt idx="36">
                  <c:v>1</c:v>
                </c:pt>
                <c:pt idx="37">
                  <c:v>1</c:v>
                </c:pt>
                <c:pt idx="38">
                  <c:v>1</c:v>
                </c:pt>
                <c:pt idx="39">
                  <c:v>0.97</c:v>
                </c:pt>
                <c:pt idx="40">
                  <c:v>0.26</c:v>
                </c:pt>
                <c:pt idx="41">
                  <c:v>0.31</c:v>
                </c:pt>
                <c:pt idx="42">
                  <c:v>0.23</c:v>
                </c:pt>
                <c:pt idx="43">
                  <c:v>0.1</c:v>
                </c:pt>
                <c:pt idx="44">
                  <c:v>0.34</c:v>
                </c:pt>
                <c:pt idx="45">
                  <c:v>0.62</c:v>
                </c:pt>
                <c:pt idx="46">
                  <c:v>0.59</c:v>
                </c:pt>
                <c:pt idx="47">
                  <c:v>0.4</c:v>
                </c:pt>
                <c:pt idx="48">
                  <c:v>0.24</c:v>
                </c:pt>
                <c:pt idx="49">
                  <c:v>0.18</c:v>
                </c:pt>
                <c:pt idx="50">
                  <c:v>0.32</c:v>
                </c:pt>
                <c:pt idx="51">
                  <c:v>0.26</c:v>
                </c:pt>
                <c:pt idx="52">
                  <c:v>0.93</c:v>
                </c:pt>
                <c:pt idx="53">
                  <c:v>0.99</c:v>
                </c:pt>
                <c:pt idx="54">
                  <c:v>0.99</c:v>
                </c:pt>
                <c:pt idx="55">
                  <c:v>0.99</c:v>
                </c:pt>
                <c:pt idx="56">
                  <c:v>0.95</c:v>
                </c:pt>
                <c:pt idx="57">
                  <c:v>0.93</c:v>
                </c:pt>
                <c:pt idx="58">
                  <c:v>0.14000000000000001</c:v>
                </c:pt>
                <c:pt idx="59">
                  <c:v>0.26</c:v>
                </c:pt>
                <c:pt idx="60">
                  <c:v>0.28000000000000003</c:v>
                </c:pt>
                <c:pt idx="61">
                  <c:v>0.34</c:v>
                </c:pt>
                <c:pt idx="62">
                  <c:v>0.28000000000000003</c:v>
                </c:pt>
                <c:pt idx="63">
                  <c:v>7.0000000000000007E-2</c:v>
                </c:pt>
                <c:pt idx="64">
                  <c:v>0.08</c:v>
                </c:pt>
                <c:pt idx="65">
                  <c:v>7.0000000000000007E-2</c:v>
                </c:pt>
                <c:pt idx="66">
                  <c:v>0.08</c:v>
                </c:pt>
                <c:pt idx="67">
                  <c:v>0.08</c:v>
                </c:pt>
                <c:pt idx="68">
                  <c:v>0</c:v>
                </c:pt>
                <c:pt idx="69">
                  <c:v>0.26</c:v>
                </c:pt>
                <c:pt idx="70">
                  <c:v>0.28999999999999998</c:v>
                </c:pt>
                <c:pt idx="71">
                  <c:v>1</c:v>
                </c:pt>
                <c:pt idx="72">
                  <c:v>1</c:v>
                </c:pt>
                <c:pt idx="73">
                  <c:v>1</c:v>
                </c:pt>
                <c:pt idx="74">
                  <c:v>1</c:v>
                </c:pt>
                <c:pt idx="75">
                  <c:v>1</c:v>
                </c:pt>
                <c:pt idx="76">
                  <c:v>0.87</c:v>
                </c:pt>
                <c:pt idx="77">
                  <c:v>0.26</c:v>
                </c:pt>
                <c:pt idx="78">
                  <c:v>0.34</c:v>
                </c:pt>
                <c:pt idx="79">
                  <c:v>0.36</c:v>
                </c:pt>
                <c:pt idx="80">
                  <c:v>0.93</c:v>
                </c:pt>
                <c:pt idx="81">
                  <c:v>1</c:v>
                </c:pt>
                <c:pt idx="82">
                  <c:v>1</c:v>
                </c:pt>
                <c:pt idx="83">
                  <c:v>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97</c:f>
              <c:numCache>
                <c:formatCode>yyyy\-mm\-dd</c:formatCode>
                <c:ptCount val="96"/>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109</c:v>
                </c:pt>
                <c:pt idx="21">
                  <c:v>45130</c:v>
                </c:pt>
                <c:pt idx="22">
                  <c:v>45172</c:v>
                </c:pt>
                <c:pt idx="23">
                  <c:v>45179</c:v>
                </c:pt>
                <c:pt idx="24">
                  <c:v>45186</c:v>
                </c:pt>
                <c:pt idx="25">
                  <c:v>45193</c:v>
                </c:pt>
                <c:pt idx="26">
                  <c:v>45200</c:v>
                </c:pt>
                <c:pt idx="27">
                  <c:v>45207</c:v>
                </c:pt>
                <c:pt idx="28">
                  <c:v>45214</c:v>
                </c:pt>
                <c:pt idx="29">
                  <c:v>45221</c:v>
                </c:pt>
                <c:pt idx="30">
                  <c:v>45228</c:v>
                </c:pt>
                <c:pt idx="31">
                  <c:v>45235</c:v>
                </c:pt>
                <c:pt idx="32">
                  <c:v>45242</c:v>
                </c:pt>
                <c:pt idx="33">
                  <c:v>45249</c:v>
                </c:pt>
                <c:pt idx="34">
                  <c:v>45256</c:v>
                </c:pt>
                <c:pt idx="35">
                  <c:v>45263</c:v>
                </c:pt>
                <c:pt idx="36">
                  <c:v>45270</c:v>
                </c:pt>
                <c:pt idx="37">
                  <c:v>45277</c:v>
                </c:pt>
                <c:pt idx="38">
                  <c:v>45284</c:v>
                </c:pt>
                <c:pt idx="39">
                  <c:v>45291</c:v>
                </c:pt>
                <c:pt idx="40">
                  <c:v>45298</c:v>
                </c:pt>
                <c:pt idx="41">
                  <c:v>45305</c:v>
                </c:pt>
                <c:pt idx="42">
                  <c:v>45312</c:v>
                </c:pt>
                <c:pt idx="43">
                  <c:v>45319</c:v>
                </c:pt>
                <c:pt idx="44">
                  <c:v>45326</c:v>
                </c:pt>
                <c:pt idx="45">
                  <c:v>45333</c:v>
                </c:pt>
                <c:pt idx="46">
                  <c:v>45340</c:v>
                </c:pt>
                <c:pt idx="47">
                  <c:v>45347</c:v>
                </c:pt>
                <c:pt idx="48">
                  <c:v>45354</c:v>
                </c:pt>
                <c:pt idx="49">
                  <c:v>45361</c:v>
                </c:pt>
                <c:pt idx="50">
                  <c:v>45368</c:v>
                </c:pt>
                <c:pt idx="51">
                  <c:v>45375</c:v>
                </c:pt>
                <c:pt idx="52">
                  <c:v>45382</c:v>
                </c:pt>
                <c:pt idx="53">
                  <c:v>45389</c:v>
                </c:pt>
                <c:pt idx="54">
                  <c:v>45396</c:v>
                </c:pt>
                <c:pt idx="55">
                  <c:v>45403</c:v>
                </c:pt>
                <c:pt idx="56">
                  <c:v>45410</c:v>
                </c:pt>
                <c:pt idx="57">
                  <c:v>45417</c:v>
                </c:pt>
                <c:pt idx="58">
                  <c:v>45424</c:v>
                </c:pt>
                <c:pt idx="59">
                  <c:v>45431</c:v>
                </c:pt>
                <c:pt idx="60">
                  <c:v>45438</c:v>
                </c:pt>
                <c:pt idx="61">
                  <c:v>45445</c:v>
                </c:pt>
                <c:pt idx="62">
                  <c:v>45452</c:v>
                </c:pt>
                <c:pt idx="63">
                  <c:v>45459</c:v>
                </c:pt>
                <c:pt idx="64">
                  <c:v>45466</c:v>
                </c:pt>
                <c:pt idx="65">
                  <c:v>45473</c:v>
                </c:pt>
                <c:pt idx="66">
                  <c:v>45480</c:v>
                </c:pt>
                <c:pt idx="67">
                  <c:v>45487</c:v>
                </c:pt>
                <c:pt idx="68">
                  <c:v>45494</c:v>
                </c:pt>
                <c:pt idx="69">
                  <c:v>45501</c:v>
                </c:pt>
                <c:pt idx="70">
                  <c:v>45508</c:v>
                </c:pt>
                <c:pt idx="71">
                  <c:v>45515</c:v>
                </c:pt>
                <c:pt idx="72">
                  <c:v>45522</c:v>
                </c:pt>
                <c:pt idx="73">
                  <c:v>45529</c:v>
                </c:pt>
                <c:pt idx="74">
                  <c:v>45536</c:v>
                </c:pt>
                <c:pt idx="75">
                  <c:v>45543</c:v>
                </c:pt>
                <c:pt idx="76">
                  <c:v>45550</c:v>
                </c:pt>
                <c:pt idx="77">
                  <c:v>45557</c:v>
                </c:pt>
                <c:pt idx="78">
                  <c:v>45564</c:v>
                </c:pt>
                <c:pt idx="79">
                  <c:v>45571</c:v>
                </c:pt>
                <c:pt idx="80">
                  <c:v>45578</c:v>
                </c:pt>
                <c:pt idx="81">
                  <c:v>45585</c:v>
                </c:pt>
                <c:pt idx="82">
                  <c:v>45592</c:v>
                </c:pt>
                <c:pt idx="83">
                  <c:v>45599</c:v>
                </c:pt>
                <c:pt idx="84">
                  <c:v>45606</c:v>
                </c:pt>
                <c:pt idx="85">
                  <c:v>45613</c:v>
                </c:pt>
                <c:pt idx="86">
                  <c:v>45620</c:v>
                </c:pt>
                <c:pt idx="87">
                  <c:v>45627</c:v>
                </c:pt>
                <c:pt idx="88">
                  <c:v>45634</c:v>
                </c:pt>
                <c:pt idx="89">
                  <c:v>45641</c:v>
                </c:pt>
                <c:pt idx="90">
                  <c:v>45648</c:v>
                </c:pt>
                <c:pt idx="91">
                  <c:v>45655</c:v>
                </c:pt>
                <c:pt idx="92">
                  <c:v>45662</c:v>
                </c:pt>
                <c:pt idx="93">
                  <c:v>45669</c:v>
                </c:pt>
                <c:pt idx="94">
                  <c:v>45676</c:v>
                </c:pt>
                <c:pt idx="95">
                  <c:v>45683</c:v>
                </c:pt>
              </c:numCache>
            </c:numRef>
          </c:cat>
          <c:val>
            <c:numRef>
              <c:f>Sheet1!$B$2:$B$97</c:f>
              <c:numCache>
                <c:formatCode>General</c:formatCode>
                <c:ptCount val="96"/>
                <c:pt idx="0">
                  <c:v>82552</c:v>
                </c:pt>
                <c:pt idx="1">
                  <c:v>55607</c:v>
                </c:pt>
                <c:pt idx="2">
                  <c:v>62191</c:v>
                </c:pt>
                <c:pt idx="3">
                  <c:v>38939</c:v>
                </c:pt>
                <c:pt idx="4">
                  <c:v>25211</c:v>
                </c:pt>
                <c:pt idx="5">
                  <c:v>37517</c:v>
                </c:pt>
                <c:pt idx="6">
                  <c:v>43900</c:v>
                </c:pt>
                <c:pt idx="7">
                  <c:v>61948</c:v>
                </c:pt>
                <c:pt idx="8">
                  <c:v>36114</c:v>
                </c:pt>
                <c:pt idx="9">
                  <c:v>36299</c:v>
                </c:pt>
                <c:pt idx="10">
                  <c:v>52839</c:v>
                </c:pt>
                <c:pt idx="11">
                  <c:v>41265</c:v>
                </c:pt>
                <c:pt idx="12">
                  <c:v>30335</c:v>
                </c:pt>
                <c:pt idx="13">
                  <c:v>31334</c:v>
                </c:pt>
                <c:pt idx="14">
                  <c:v>34629</c:v>
                </c:pt>
                <c:pt idx="15">
                  <c:v>61500</c:v>
                </c:pt>
                <c:pt idx="16">
                  <c:v>29963</c:v>
                </c:pt>
                <c:pt idx="17">
                  <c:v>7324</c:v>
                </c:pt>
                <c:pt idx="18">
                  <c:v>3608</c:v>
                </c:pt>
                <c:pt idx="19">
                  <c:v>3097</c:v>
                </c:pt>
                <c:pt idx="20">
                  <c:v>1274</c:v>
                </c:pt>
                <c:pt idx="21">
                  <c:v>58592</c:v>
                </c:pt>
                <c:pt idx="22">
                  <c:v>44723</c:v>
                </c:pt>
                <c:pt idx="23">
                  <c:v>16626</c:v>
                </c:pt>
                <c:pt idx="24">
                  <c:v>2709</c:v>
                </c:pt>
                <c:pt idx="25">
                  <c:v>1445</c:v>
                </c:pt>
                <c:pt idx="26">
                  <c:v>14426</c:v>
                </c:pt>
                <c:pt idx="27">
                  <c:v>27646</c:v>
                </c:pt>
                <c:pt idx="28">
                  <c:v>70667</c:v>
                </c:pt>
                <c:pt idx="29">
                  <c:v>86170</c:v>
                </c:pt>
                <c:pt idx="30">
                  <c:v>83230</c:v>
                </c:pt>
                <c:pt idx="31">
                  <c:v>86035</c:v>
                </c:pt>
                <c:pt idx="32">
                  <c:v>65534</c:v>
                </c:pt>
                <c:pt idx="33">
                  <c:v>75820</c:v>
                </c:pt>
                <c:pt idx="34">
                  <c:v>127420</c:v>
                </c:pt>
                <c:pt idx="35">
                  <c:v>124751</c:v>
                </c:pt>
                <c:pt idx="36">
                  <c:v>170392</c:v>
                </c:pt>
                <c:pt idx="37">
                  <c:v>278041</c:v>
                </c:pt>
                <c:pt idx="38">
                  <c:v>536730</c:v>
                </c:pt>
                <c:pt idx="39">
                  <c:v>743924</c:v>
                </c:pt>
                <c:pt idx="40">
                  <c:v>77550</c:v>
                </c:pt>
                <c:pt idx="41">
                  <c:v>43087</c:v>
                </c:pt>
                <c:pt idx="42">
                  <c:v>23260</c:v>
                </c:pt>
                <c:pt idx="43">
                  <c:v>13223</c:v>
                </c:pt>
                <c:pt idx="44">
                  <c:v>40894</c:v>
                </c:pt>
                <c:pt idx="45">
                  <c:v>72962</c:v>
                </c:pt>
                <c:pt idx="46">
                  <c:v>86685</c:v>
                </c:pt>
                <c:pt idx="47">
                  <c:v>141360</c:v>
                </c:pt>
                <c:pt idx="48">
                  <c:v>124422</c:v>
                </c:pt>
                <c:pt idx="49">
                  <c:v>114790</c:v>
                </c:pt>
                <c:pt idx="50">
                  <c:v>93992</c:v>
                </c:pt>
                <c:pt idx="51">
                  <c:v>77088</c:v>
                </c:pt>
                <c:pt idx="52">
                  <c:v>60757</c:v>
                </c:pt>
                <c:pt idx="53">
                  <c:v>58902</c:v>
                </c:pt>
                <c:pt idx="54">
                  <c:v>58569</c:v>
                </c:pt>
                <c:pt idx="55">
                  <c:v>71539</c:v>
                </c:pt>
                <c:pt idx="56">
                  <c:v>51474</c:v>
                </c:pt>
                <c:pt idx="57">
                  <c:v>52651</c:v>
                </c:pt>
                <c:pt idx="58">
                  <c:v>50118</c:v>
                </c:pt>
                <c:pt idx="59">
                  <c:v>48985</c:v>
                </c:pt>
                <c:pt idx="60">
                  <c:v>35216</c:v>
                </c:pt>
                <c:pt idx="61">
                  <c:v>517</c:v>
                </c:pt>
                <c:pt idx="62">
                  <c:v>1058</c:v>
                </c:pt>
                <c:pt idx="63">
                  <c:v>593</c:v>
                </c:pt>
                <c:pt idx="64">
                  <c:v>1677</c:v>
                </c:pt>
                <c:pt idx="65">
                  <c:v>455</c:v>
                </c:pt>
                <c:pt idx="66">
                  <c:v>1497</c:v>
                </c:pt>
                <c:pt idx="67">
                  <c:v>27642</c:v>
                </c:pt>
                <c:pt idx="68">
                  <c:v>52105</c:v>
                </c:pt>
                <c:pt idx="69">
                  <c:v>53595</c:v>
                </c:pt>
                <c:pt idx="70">
                  <c:v>51936</c:v>
                </c:pt>
                <c:pt idx="71">
                  <c:v>14395</c:v>
                </c:pt>
                <c:pt idx="72">
                  <c:v>11799</c:v>
                </c:pt>
                <c:pt idx="73">
                  <c:v>884</c:v>
                </c:pt>
                <c:pt idx="74">
                  <c:v>7938</c:v>
                </c:pt>
                <c:pt idx="75">
                  <c:v>1087</c:v>
                </c:pt>
                <c:pt idx="76">
                  <c:v>1161</c:v>
                </c:pt>
                <c:pt idx="77">
                  <c:v>1054</c:v>
                </c:pt>
                <c:pt idx="78">
                  <c:v>13493</c:v>
                </c:pt>
                <c:pt idx="79">
                  <c:v>29983</c:v>
                </c:pt>
                <c:pt idx="80">
                  <c:v>54528</c:v>
                </c:pt>
                <c:pt idx="81">
                  <c:v>82308</c:v>
                </c:pt>
                <c:pt idx="82">
                  <c:v>58393</c:v>
                </c:pt>
                <c:pt idx="83">
                  <c:v>35221</c:v>
                </c:pt>
                <c:pt idx="84">
                  <c:v>44720</c:v>
                </c:pt>
                <c:pt idx="85">
                  <c:v>103863</c:v>
                </c:pt>
                <c:pt idx="86">
                  <c:v>225472</c:v>
                </c:pt>
                <c:pt idx="87">
                  <c:v>260287</c:v>
                </c:pt>
                <c:pt idx="88">
                  <c:v>286691</c:v>
                </c:pt>
                <c:pt idx="89">
                  <c:v>334746</c:v>
                </c:pt>
                <c:pt idx="90">
                  <c:v>442205</c:v>
                </c:pt>
                <c:pt idx="91">
                  <c:v>616012</c:v>
                </c:pt>
                <c:pt idx="92">
                  <c:v>173268</c:v>
                </c:pt>
                <c:pt idx="93">
                  <c:v>152568</c:v>
                </c:pt>
                <c:pt idx="94">
                  <c:v>151211</c:v>
                </c:pt>
                <c:pt idx="95">
                  <c:v>135889</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97</c:f>
              <c:numCache>
                <c:formatCode>yyyy\-mm\-dd</c:formatCode>
                <c:ptCount val="96"/>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109</c:v>
                </c:pt>
                <c:pt idx="21">
                  <c:v>45130</c:v>
                </c:pt>
                <c:pt idx="22">
                  <c:v>45172</c:v>
                </c:pt>
                <c:pt idx="23">
                  <c:v>45179</c:v>
                </c:pt>
                <c:pt idx="24">
                  <c:v>45186</c:v>
                </c:pt>
                <c:pt idx="25">
                  <c:v>45193</c:v>
                </c:pt>
                <c:pt idx="26">
                  <c:v>45200</c:v>
                </c:pt>
                <c:pt idx="27">
                  <c:v>45207</c:v>
                </c:pt>
                <c:pt idx="28">
                  <c:v>45214</c:v>
                </c:pt>
                <c:pt idx="29">
                  <c:v>45221</c:v>
                </c:pt>
                <c:pt idx="30">
                  <c:v>45228</c:v>
                </c:pt>
                <c:pt idx="31">
                  <c:v>45235</c:v>
                </c:pt>
                <c:pt idx="32">
                  <c:v>45242</c:v>
                </c:pt>
                <c:pt idx="33">
                  <c:v>45249</c:v>
                </c:pt>
                <c:pt idx="34">
                  <c:v>45256</c:v>
                </c:pt>
                <c:pt idx="35">
                  <c:v>45263</c:v>
                </c:pt>
                <c:pt idx="36">
                  <c:v>45270</c:v>
                </c:pt>
                <c:pt idx="37">
                  <c:v>45277</c:v>
                </c:pt>
                <c:pt idx="38">
                  <c:v>45284</c:v>
                </c:pt>
                <c:pt idx="39">
                  <c:v>45291</c:v>
                </c:pt>
                <c:pt idx="40">
                  <c:v>45298</c:v>
                </c:pt>
                <c:pt idx="41">
                  <c:v>45305</c:v>
                </c:pt>
                <c:pt idx="42">
                  <c:v>45312</c:v>
                </c:pt>
                <c:pt idx="43">
                  <c:v>45319</c:v>
                </c:pt>
                <c:pt idx="44">
                  <c:v>45326</c:v>
                </c:pt>
                <c:pt idx="45">
                  <c:v>45333</c:v>
                </c:pt>
                <c:pt idx="46">
                  <c:v>45340</c:v>
                </c:pt>
                <c:pt idx="47">
                  <c:v>45347</c:v>
                </c:pt>
                <c:pt idx="48">
                  <c:v>45354</c:v>
                </c:pt>
                <c:pt idx="49">
                  <c:v>45361</c:v>
                </c:pt>
                <c:pt idx="50">
                  <c:v>45368</c:v>
                </c:pt>
                <c:pt idx="51">
                  <c:v>45375</c:v>
                </c:pt>
                <c:pt idx="52">
                  <c:v>45382</c:v>
                </c:pt>
                <c:pt idx="53">
                  <c:v>45389</c:v>
                </c:pt>
                <c:pt idx="54">
                  <c:v>45396</c:v>
                </c:pt>
                <c:pt idx="55">
                  <c:v>45403</c:v>
                </c:pt>
                <c:pt idx="56">
                  <c:v>45410</c:v>
                </c:pt>
                <c:pt idx="57">
                  <c:v>45417</c:v>
                </c:pt>
                <c:pt idx="58">
                  <c:v>45424</c:v>
                </c:pt>
                <c:pt idx="59">
                  <c:v>45431</c:v>
                </c:pt>
                <c:pt idx="60">
                  <c:v>45438</c:v>
                </c:pt>
                <c:pt idx="61">
                  <c:v>45445</c:v>
                </c:pt>
                <c:pt idx="62">
                  <c:v>45452</c:v>
                </c:pt>
                <c:pt idx="63">
                  <c:v>45459</c:v>
                </c:pt>
                <c:pt idx="64">
                  <c:v>45466</c:v>
                </c:pt>
                <c:pt idx="65">
                  <c:v>45473</c:v>
                </c:pt>
                <c:pt idx="66">
                  <c:v>45480</c:v>
                </c:pt>
                <c:pt idx="67">
                  <c:v>45487</c:v>
                </c:pt>
                <c:pt idx="68">
                  <c:v>45494</c:v>
                </c:pt>
                <c:pt idx="69">
                  <c:v>45501</c:v>
                </c:pt>
                <c:pt idx="70">
                  <c:v>45508</c:v>
                </c:pt>
                <c:pt idx="71">
                  <c:v>45515</c:v>
                </c:pt>
                <c:pt idx="72">
                  <c:v>45522</c:v>
                </c:pt>
                <c:pt idx="73">
                  <c:v>45529</c:v>
                </c:pt>
                <c:pt idx="74">
                  <c:v>45536</c:v>
                </c:pt>
                <c:pt idx="75">
                  <c:v>45543</c:v>
                </c:pt>
                <c:pt idx="76">
                  <c:v>45550</c:v>
                </c:pt>
                <c:pt idx="77">
                  <c:v>45557</c:v>
                </c:pt>
                <c:pt idx="78">
                  <c:v>45564</c:v>
                </c:pt>
                <c:pt idx="79">
                  <c:v>45571</c:v>
                </c:pt>
                <c:pt idx="80">
                  <c:v>45578</c:v>
                </c:pt>
                <c:pt idx="81">
                  <c:v>45585</c:v>
                </c:pt>
                <c:pt idx="82">
                  <c:v>45592</c:v>
                </c:pt>
                <c:pt idx="83">
                  <c:v>45599</c:v>
                </c:pt>
                <c:pt idx="84">
                  <c:v>45606</c:v>
                </c:pt>
                <c:pt idx="85">
                  <c:v>45613</c:v>
                </c:pt>
                <c:pt idx="86">
                  <c:v>45620</c:v>
                </c:pt>
                <c:pt idx="87">
                  <c:v>45627</c:v>
                </c:pt>
                <c:pt idx="88">
                  <c:v>45634</c:v>
                </c:pt>
                <c:pt idx="89">
                  <c:v>45641</c:v>
                </c:pt>
                <c:pt idx="90">
                  <c:v>45648</c:v>
                </c:pt>
                <c:pt idx="91">
                  <c:v>45655</c:v>
                </c:pt>
                <c:pt idx="92">
                  <c:v>45662</c:v>
                </c:pt>
                <c:pt idx="93">
                  <c:v>45669</c:v>
                </c:pt>
                <c:pt idx="94">
                  <c:v>45676</c:v>
                </c:pt>
                <c:pt idx="95">
                  <c:v>45683</c:v>
                </c:pt>
              </c:numCache>
            </c:numRef>
          </c:cat>
          <c:val>
            <c:numRef>
              <c:f>Sheet1!$C$2:$C$97</c:f>
              <c:numCache>
                <c:formatCode>General</c:formatCode>
                <c:ptCount val="96"/>
                <c:pt idx="0">
                  <c:v>266194</c:v>
                </c:pt>
                <c:pt idx="1">
                  <c:v>276241</c:v>
                </c:pt>
                <c:pt idx="2">
                  <c:v>279480</c:v>
                </c:pt>
                <c:pt idx="3">
                  <c:v>276889</c:v>
                </c:pt>
                <c:pt idx="4">
                  <c:v>287655</c:v>
                </c:pt>
                <c:pt idx="5">
                  <c:v>284051</c:v>
                </c:pt>
                <c:pt idx="6">
                  <c:v>268302</c:v>
                </c:pt>
                <c:pt idx="7">
                  <c:v>284396</c:v>
                </c:pt>
                <c:pt idx="8">
                  <c:v>307398</c:v>
                </c:pt>
                <c:pt idx="9">
                  <c:v>282043</c:v>
                </c:pt>
                <c:pt idx="10">
                  <c:v>283883</c:v>
                </c:pt>
                <c:pt idx="11">
                  <c:v>283827</c:v>
                </c:pt>
                <c:pt idx="12">
                  <c:v>280340</c:v>
                </c:pt>
                <c:pt idx="13">
                  <c:v>308534</c:v>
                </c:pt>
                <c:pt idx="14">
                  <c:v>268837</c:v>
                </c:pt>
                <c:pt idx="15">
                  <c:v>275606</c:v>
                </c:pt>
                <c:pt idx="16">
                  <c:v>279051</c:v>
                </c:pt>
                <c:pt idx="17">
                  <c:v>314537</c:v>
                </c:pt>
                <c:pt idx="18">
                  <c:v>296923</c:v>
                </c:pt>
                <c:pt idx="19">
                  <c:v>292599</c:v>
                </c:pt>
                <c:pt idx="20">
                  <c:v>314892</c:v>
                </c:pt>
                <c:pt idx="21">
                  <c:v>294058</c:v>
                </c:pt>
                <c:pt idx="22">
                  <c:v>295086</c:v>
                </c:pt>
                <c:pt idx="23">
                  <c:v>311907</c:v>
                </c:pt>
                <c:pt idx="24">
                  <c:v>303558</c:v>
                </c:pt>
                <c:pt idx="25">
                  <c:v>295646</c:v>
                </c:pt>
                <c:pt idx="26">
                  <c:v>283629</c:v>
                </c:pt>
                <c:pt idx="27">
                  <c:v>284403</c:v>
                </c:pt>
                <c:pt idx="28">
                  <c:v>250103</c:v>
                </c:pt>
                <c:pt idx="29">
                  <c:v>249253</c:v>
                </c:pt>
                <c:pt idx="30">
                  <c:v>250419</c:v>
                </c:pt>
                <c:pt idx="31">
                  <c:v>259281</c:v>
                </c:pt>
                <c:pt idx="32">
                  <c:v>285182</c:v>
                </c:pt>
                <c:pt idx="33">
                  <c:v>279644</c:v>
                </c:pt>
                <c:pt idx="34">
                  <c:v>261270</c:v>
                </c:pt>
                <c:pt idx="35">
                  <c:v>273273</c:v>
                </c:pt>
                <c:pt idx="36">
                  <c:v>285526</c:v>
                </c:pt>
                <c:pt idx="37">
                  <c:v>256406</c:v>
                </c:pt>
                <c:pt idx="38">
                  <c:v>263449</c:v>
                </c:pt>
                <c:pt idx="39">
                  <c:v>183406</c:v>
                </c:pt>
                <c:pt idx="40">
                  <c:v>200027</c:v>
                </c:pt>
                <c:pt idx="41">
                  <c:v>190664</c:v>
                </c:pt>
                <c:pt idx="42">
                  <c:v>229837</c:v>
                </c:pt>
                <c:pt idx="43">
                  <c:v>256890</c:v>
                </c:pt>
                <c:pt idx="44">
                  <c:v>239412</c:v>
                </c:pt>
                <c:pt idx="45">
                  <c:v>216567</c:v>
                </c:pt>
                <c:pt idx="46">
                  <c:v>188580</c:v>
                </c:pt>
                <c:pt idx="47">
                  <c:v>185131</c:v>
                </c:pt>
                <c:pt idx="48">
                  <c:v>181895</c:v>
                </c:pt>
                <c:pt idx="49">
                  <c:v>179784</c:v>
                </c:pt>
                <c:pt idx="50">
                  <c:v>186298</c:v>
                </c:pt>
                <c:pt idx="51">
                  <c:v>212664</c:v>
                </c:pt>
                <c:pt idx="52">
                  <c:v>215641</c:v>
                </c:pt>
                <c:pt idx="53">
                  <c:v>218990</c:v>
                </c:pt>
                <c:pt idx="54">
                  <c:v>207026</c:v>
                </c:pt>
                <c:pt idx="55">
                  <c:v>205800</c:v>
                </c:pt>
                <c:pt idx="56">
                  <c:v>204805</c:v>
                </c:pt>
                <c:pt idx="57">
                  <c:v>215537</c:v>
                </c:pt>
                <c:pt idx="58">
                  <c:v>210607</c:v>
                </c:pt>
                <c:pt idx="59">
                  <c:v>203745</c:v>
                </c:pt>
                <c:pt idx="60">
                  <c:v>243155</c:v>
                </c:pt>
                <c:pt idx="61">
                  <c:v>258596</c:v>
                </c:pt>
                <c:pt idx="62">
                  <c:v>276113</c:v>
                </c:pt>
                <c:pt idx="63">
                  <c:v>264171</c:v>
                </c:pt>
                <c:pt idx="64">
                  <c:v>262901</c:v>
                </c:pt>
                <c:pt idx="65">
                  <c:v>262688</c:v>
                </c:pt>
                <c:pt idx="66">
                  <c:v>285638</c:v>
                </c:pt>
                <c:pt idx="67">
                  <c:v>238474</c:v>
                </c:pt>
                <c:pt idx="68">
                  <c:v>225707</c:v>
                </c:pt>
                <c:pt idx="69">
                  <c:v>213913</c:v>
                </c:pt>
                <c:pt idx="70">
                  <c:v>222844</c:v>
                </c:pt>
                <c:pt idx="71">
                  <c:v>252437</c:v>
                </c:pt>
                <c:pt idx="72">
                  <c:v>250944</c:v>
                </c:pt>
                <c:pt idx="73">
                  <c:v>257630</c:v>
                </c:pt>
                <c:pt idx="74">
                  <c:v>247341</c:v>
                </c:pt>
                <c:pt idx="75">
                  <c:v>258391</c:v>
                </c:pt>
                <c:pt idx="76">
                  <c:v>240870</c:v>
                </c:pt>
                <c:pt idx="77">
                  <c:v>244302</c:v>
                </c:pt>
                <c:pt idx="78">
                  <c:v>223766</c:v>
                </c:pt>
                <c:pt idx="79">
                  <c:v>244445</c:v>
                </c:pt>
                <c:pt idx="80">
                  <c:v>204110</c:v>
                </c:pt>
                <c:pt idx="81">
                  <c:v>194758</c:v>
                </c:pt>
                <c:pt idx="82">
                  <c:v>213419</c:v>
                </c:pt>
                <c:pt idx="83">
                  <c:v>236793</c:v>
                </c:pt>
                <c:pt idx="84">
                  <c:v>249771</c:v>
                </c:pt>
                <c:pt idx="85">
                  <c:v>189380</c:v>
                </c:pt>
                <c:pt idx="86">
                  <c:v>73838</c:v>
                </c:pt>
                <c:pt idx="87">
                  <c:v>71147</c:v>
                </c:pt>
                <c:pt idx="88">
                  <c:v>78918</c:v>
                </c:pt>
                <c:pt idx="89">
                  <c:v>74829</c:v>
                </c:pt>
                <c:pt idx="90">
                  <c:v>82211</c:v>
                </c:pt>
                <c:pt idx="91">
                  <c:v>89978</c:v>
                </c:pt>
                <c:pt idx="92">
                  <c:v>69519</c:v>
                </c:pt>
                <c:pt idx="93">
                  <c:v>67942</c:v>
                </c:pt>
                <c:pt idx="94">
                  <c:v>80565</c:v>
                </c:pt>
                <c:pt idx="95">
                  <c:v>79784</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97</c:f>
              <c:numCache>
                <c:formatCode>yyyy\-mm\-dd</c:formatCode>
                <c:ptCount val="96"/>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109</c:v>
                </c:pt>
                <c:pt idx="21">
                  <c:v>45130</c:v>
                </c:pt>
                <c:pt idx="22">
                  <c:v>45172</c:v>
                </c:pt>
                <c:pt idx="23">
                  <c:v>45179</c:v>
                </c:pt>
                <c:pt idx="24">
                  <c:v>45186</c:v>
                </c:pt>
                <c:pt idx="25">
                  <c:v>45193</c:v>
                </c:pt>
                <c:pt idx="26">
                  <c:v>45200</c:v>
                </c:pt>
                <c:pt idx="27">
                  <c:v>45207</c:v>
                </c:pt>
                <c:pt idx="28">
                  <c:v>45214</c:v>
                </c:pt>
                <c:pt idx="29">
                  <c:v>45221</c:v>
                </c:pt>
                <c:pt idx="30">
                  <c:v>45228</c:v>
                </c:pt>
                <c:pt idx="31">
                  <c:v>45235</c:v>
                </c:pt>
                <c:pt idx="32">
                  <c:v>45242</c:v>
                </c:pt>
                <c:pt idx="33">
                  <c:v>45249</c:v>
                </c:pt>
                <c:pt idx="34">
                  <c:v>45256</c:v>
                </c:pt>
                <c:pt idx="35">
                  <c:v>45263</c:v>
                </c:pt>
                <c:pt idx="36">
                  <c:v>45270</c:v>
                </c:pt>
                <c:pt idx="37">
                  <c:v>45277</c:v>
                </c:pt>
                <c:pt idx="38">
                  <c:v>45284</c:v>
                </c:pt>
                <c:pt idx="39">
                  <c:v>45291</c:v>
                </c:pt>
                <c:pt idx="40">
                  <c:v>45298</c:v>
                </c:pt>
                <c:pt idx="41">
                  <c:v>45305</c:v>
                </c:pt>
                <c:pt idx="42">
                  <c:v>45312</c:v>
                </c:pt>
                <c:pt idx="43">
                  <c:v>45319</c:v>
                </c:pt>
                <c:pt idx="44">
                  <c:v>45326</c:v>
                </c:pt>
                <c:pt idx="45">
                  <c:v>45333</c:v>
                </c:pt>
                <c:pt idx="46">
                  <c:v>45340</c:v>
                </c:pt>
                <c:pt idx="47">
                  <c:v>45347</c:v>
                </c:pt>
                <c:pt idx="48">
                  <c:v>45354</c:v>
                </c:pt>
                <c:pt idx="49">
                  <c:v>45361</c:v>
                </c:pt>
                <c:pt idx="50">
                  <c:v>45368</c:v>
                </c:pt>
                <c:pt idx="51">
                  <c:v>45375</c:v>
                </c:pt>
                <c:pt idx="52">
                  <c:v>45382</c:v>
                </c:pt>
                <c:pt idx="53">
                  <c:v>45389</c:v>
                </c:pt>
                <c:pt idx="54">
                  <c:v>45396</c:v>
                </c:pt>
                <c:pt idx="55">
                  <c:v>45403</c:v>
                </c:pt>
                <c:pt idx="56">
                  <c:v>45410</c:v>
                </c:pt>
                <c:pt idx="57">
                  <c:v>45417</c:v>
                </c:pt>
                <c:pt idx="58">
                  <c:v>45424</c:v>
                </c:pt>
                <c:pt idx="59">
                  <c:v>45431</c:v>
                </c:pt>
                <c:pt idx="60">
                  <c:v>45438</c:v>
                </c:pt>
                <c:pt idx="61">
                  <c:v>45445</c:v>
                </c:pt>
                <c:pt idx="62">
                  <c:v>45452</c:v>
                </c:pt>
                <c:pt idx="63">
                  <c:v>45459</c:v>
                </c:pt>
                <c:pt idx="64">
                  <c:v>45466</c:v>
                </c:pt>
                <c:pt idx="65">
                  <c:v>45473</c:v>
                </c:pt>
                <c:pt idx="66">
                  <c:v>45480</c:v>
                </c:pt>
                <c:pt idx="67">
                  <c:v>45487</c:v>
                </c:pt>
                <c:pt idx="68">
                  <c:v>45494</c:v>
                </c:pt>
                <c:pt idx="69">
                  <c:v>45501</c:v>
                </c:pt>
                <c:pt idx="70">
                  <c:v>45508</c:v>
                </c:pt>
                <c:pt idx="71">
                  <c:v>45515</c:v>
                </c:pt>
                <c:pt idx="72">
                  <c:v>45522</c:v>
                </c:pt>
                <c:pt idx="73">
                  <c:v>45529</c:v>
                </c:pt>
                <c:pt idx="74">
                  <c:v>45536</c:v>
                </c:pt>
                <c:pt idx="75">
                  <c:v>45543</c:v>
                </c:pt>
                <c:pt idx="76">
                  <c:v>45550</c:v>
                </c:pt>
                <c:pt idx="77">
                  <c:v>45557</c:v>
                </c:pt>
                <c:pt idx="78">
                  <c:v>45564</c:v>
                </c:pt>
                <c:pt idx="79">
                  <c:v>45571</c:v>
                </c:pt>
                <c:pt idx="80">
                  <c:v>45578</c:v>
                </c:pt>
                <c:pt idx="81">
                  <c:v>45585</c:v>
                </c:pt>
                <c:pt idx="82">
                  <c:v>45592</c:v>
                </c:pt>
                <c:pt idx="83">
                  <c:v>45599</c:v>
                </c:pt>
                <c:pt idx="84">
                  <c:v>45606</c:v>
                </c:pt>
                <c:pt idx="85">
                  <c:v>45613</c:v>
                </c:pt>
                <c:pt idx="86">
                  <c:v>45620</c:v>
                </c:pt>
                <c:pt idx="87">
                  <c:v>45627</c:v>
                </c:pt>
                <c:pt idx="88">
                  <c:v>45634</c:v>
                </c:pt>
                <c:pt idx="89">
                  <c:v>45641</c:v>
                </c:pt>
                <c:pt idx="90">
                  <c:v>45648</c:v>
                </c:pt>
                <c:pt idx="91">
                  <c:v>45655</c:v>
                </c:pt>
                <c:pt idx="92">
                  <c:v>45662</c:v>
                </c:pt>
                <c:pt idx="93">
                  <c:v>45669</c:v>
                </c:pt>
                <c:pt idx="94">
                  <c:v>45676</c:v>
                </c:pt>
                <c:pt idx="95">
                  <c:v>45683</c:v>
                </c:pt>
              </c:numCache>
            </c:numRef>
          </c:cat>
          <c:val>
            <c:numRef>
              <c:f>Sheet1!$D$2:$D$97</c:f>
              <c:numCache>
                <c:formatCode>General</c:formatCode>
                <c:ptCount val="96"/>
                <c:pt idx="0">
                  <c:v>348746</c:v>
                </c:pt>
                <c:pt idx="1">
                  <c:v>331848</c:v>
                </c:pt>
                <c:pt idx="2">
                  <c:v>341671</c:v>
                </c:pt>
                <c:pt idx="3">
                  <c:v>315828</c:v>
                </c:pt>
                <c:pt idx="4">
                  <c:v>312866</c:v>
                </c:pt>
                <c:pt idx="5">
                  <c:v>321568</c:v>
                </c:pt>
                <c:pt idx="6">
                  <c:v>312202</c:v>
                </c:pt>
                <c:pt idx="7">
                  <c:v>346344</c:v>
                </c:pt>
                <c:pt idx="8">
                  <c:v>343512</c:v>
                </c:pt>
                <c:pt idx="9">
                  <c:v>318342</c:v>
                </c:pt>
                <c:pt idx="10">
                  <c:v>336722</c:v>
                </c:pt>
                <c:pt idx="11">
                  <c:v>325092</c:v>
                </c:pt>
                <c:pt idx="12">
                  <c:v>310675</c:v>
                </c:pt>
                <c:pt idx="13">
                  <c:v>339868</c:v>
                </c:pt>
                <c:pt idx="14">
                  <c:v>303466</c:v>
                </c:pt>
                <c:pt idx="15">
                  <c:v>337106</c:v>
                </c:pt>
                <c:pt idx="16">
                  <c:v>309014</c:v>
                </c:pt>
                <c:pt idx="17">
                  <c:v>321861</c:v>
                </c:pt>
                <c:pt idx="18">
                  <c:v>300531</c:v>
                </c:pt>
                <c:pt idx="19">
                  <c:v>295696</c:v>
                </c:pt>
                <c:pt idx="20">
                  <c:v>316166</c:v>
                </c:pt>
                <c:pt idx="21">
                  <c:v>352650</c:v>
                </c:pt>
                <c:pt idx="22">
                  <c:v>339809</c:v>
                </c:pt>
                <c:pt idx="23">
                  <c:v>328533</c:v>
                </c:pt>
                <c:pt idx="24">
                  <c:v>306267</c:v>
                </c:pt>
                <c:pt idx="25">
                  <c:v>297091</c:v>
                </c:pt>
                <c:pt idx="26">
                  <c:v>298055</c:v>
                </c:pt>
                <c:pt idx="27">
                  <c:v>312049</c:v>
                </c:pt>
                <c:pt idx="28">
                  <c:v>320770</c:v>
                </c:pt>
                <c:pt idx="29">
                  <c:v>335423</c:v>
                </c:pt>
                <c:pt idx="30">
                  <c:v>333649</c:v>
                </c:pt>
                <c:pt idx="31">
                  <c:v>345316</c:v>
                </c:pt>
                <c:pt idx="32">
                  <c:v>350716</c:v>
                </c:pt>
                <c:pt idx="33">
                  <c:v>355464</c:v>
                </c:pt>
                <c:pt idx="34">
                  <c:v>388690</c:v>
                </c:pt>
                <c:pt idx="35">
                  <c:v>398024</c:v>
                </c:pt>
                <c:pt idx="36">
                  <c:v>455918</c:v>
                </c:pt>
                <c:pt idx="37">
                  <c:v>534447</c:v>
                </c:pt>
                <c:pt idx="38">
                  <c:v>800179</c:v>
                </c:pt>
                <c:pt idx="39">
                  <c:v>927330</c:v>
                </c:pt>
                <c:pt idx="40">
                  <c:v>277577</c:v>
                </c:pt>
                <c:pt idx="41">
                  <c:v>233751</c:v>
                </c:pt>
                <c:pt idx="42">
                  <c:v>253097</c:v>
                </c:pt>
                <c:pt idx="43">
                  <c:v>270113</c:v>
                </c:pt>
                <c:pt idx="44">
                  <c:v>280306</c:v>
                </c:pt>
                <c:pt idx="45">
                  <c:v>289529</c:v>
                </c:pt>
                <c:pt idx="46">
                  <c:v>275265</c:v>
                </c:pt>
                <c:pt idx="47">
                  <c:v>326491</c:v>
                </c:pt>
                <c:pt idx="48">
                  <c:v>306317</c:v>
                </c:pt>
                <c:pt idx="49">
                  <c:v>294574</c:v>
                </c:pt>
                <c:pt idx="50">
                  <c:v>280290</c:v>
                </c:pt>
                <c:pt idx="51">
                  <c:v>289752</c:v>
                </c:pt>
                <c:pt idx="52">
                  <c:v>276398</c:v>
                </c:pt>
                <c:pt idx="53">
                  <c:v>277892</c:v>
                </c:pt>
                <c:pt idx="54">
                  <c:v>265595</c:v>
                </c:pt>
                <c:pt idx="55">
                  <c:v>277339</c:v>
                </c:pt>
                <c:pt idx="56">
                  <c:v>256279</c:v>
                </c:pt>
                <c:pt idx="57">
                  <c:v>268188</c:v>
                </c:pt>
                <c:pt idx="58">
                  <c:v>260725</c:v>
                </c:pt>
                <c:pt idx="59">
                  <c:v>252730</c:v>
                </c:pt>
                <c:pt idx="60">
                  <c:v>278371</c:v>
                </c:pt>
                <c:pt idx="61">
                  <c:v>259113</c:v>
                </c:pt>
                <c:pt idx="62">
                  <c:v>277171</c:v>
                </c:pt>
                <c:pt idx="63">
                  <c:v>264764</c:v>
                </c:pt>
                <c:pt idx="64">
                  <c:v>264578</c:v>
                </c:pt>
                <c:pt idx="65">
                  <c:v>263143</c:v>
                </c:pt>
                <c:pt idx="66">
                  <c:v>287135</c:v>
                </c:pt>
                <c:pt idx="67">
                  <c:v>266116</c:v>
                </c:pt>
                <c:pt idx="68">
                  <c:v>277812</c:v>
                </c:pt>
                <c:pt idx="69">
                  <c:v>267508</c:v>
                </c:pt>
                <c:pt idx="70">
                  <c:v>274780</c:v>
                </c:pt>
                <c:pt idx="71">
                  <c:v>266832</c:v>
                </c:pt>
                <c:pt idx="72">
                  <c:v>262743</c:v>
                </c:pt>
                <c:pt idx="73">
                  <c:v>258514</c:v>
                </c:pt>
                <c:pt idx="74">
                  <c:v>255279</c:v>
                </c:pt>
                <c:pt idx="75">
                  <c:v>259478</c:v>
                </c:pt>
                <c:pt idx="76">
                  <c:v>242031</c:v>
                </c:pt>
                <c:pt idx="77">
                  <c:v>245356</c:v>
                </c:pt>
                <c:pt idx="78">
                  <c:v>237259</c:v>
                </c:pt>
                <c:pt idx="79">
                  <c:v>274428</c:v>
                </c:pt>
                <c:pt idx="80">
                  <c:v>258638</c:v>
                </c:pt>
                <c:pt idx="81">
                  <c:v>277066</c:v>
                </c:pt>
                <c:pt idx="82">
                  <c:v>271812</c:v>
                </c:pt>
                <c:pt idx="83">
                  <c:v>272014</c:v>
                </c:pt>
                <c:pt idx="84">
                  <c:v>294491</c:v>
                </c:pt>
                <c:pt idx="85">
                  <c:v>293243</c:v>
                </c:pt>
                <c:pt idx="86">
                  <c:v>299310</c:v>
                </c:pt>
                <c:pt idx="87">
                  <c:v>331434</c:v>
                </c:pt>
                <c:pt idx="88">
                  <c:v>365609</c:v>
                </c:pt>
                <c:pt idx="89">
                  <c:v>409575</c:v>
                </c:pt>
                <c:pt idx="90">
                  <c:v>524416</c:v>
                </c:pt>
                <c:pt idx="91">
                  <c:v>705990</c:v>
                </c:pt>
                <c:pt idx="92">
                  <c:v>242787</c:v>
                </c:pt>
                <c:pt idx="93">
                  <c:v>220510</c:v>
                </c:pt>
                <c:pt idx="94">
                  <c:v>231776</c:v>
                </c:pt>
                <c:pt idx="95">
                  <c:v>215673</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97</c:f>
              <c:numCache>
                <c:formatCode>yyyy\-mm\-dd</c:formatCode>
                <c:ptCount val="96"/>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109</c:v>
                </c:pt>
                <c:pt idx="21">
                  <c:v>45130</c:v>
                </c:pt>
                <c:pt idx="22">
                  <c:v>45172</c:v>
                </c:pt>
                <c:pt idx="23">
                  <c:v>45179</c:v>
                </c:pt>
                <c:pt idx="24">
                  <c:v>45186</c:v>
                </c:pt>
                <c:pt idx="25">
                  <c:v>45193</c:v>
                </c:pt>
                <c:pt idx="26">
                  <c:v>45200</c:v>
                </c:pt>
                <c:pt idx="27">
                  <c:v>45207</c:v>
                </c:pt>
                <c:pt idx="28">
                  <c:v>45214</c:v>
                </c:pt>
                <c:pt idx="29">
                  <c:v>45221</c:v>
                </c:pt>
                <c:pt idx="30">
                  <c:v>45228</c:v>
                </c:pt>
                <c:pt idx="31">
                  <c:v>45235</c:v>
                </c:pt>
                <c:pt idx="32">
                  <c:v>45242</c:v>
                </c:pt>
                <c:pt idx="33">
                  <c:v>45249</c:v>
                </c:pt>
                <c:pt idx="34">
                  <c:v>45256</c:v>
                </c:pt>
                <c:pt idx="35">
                  <c:v>45263</c:v>
                </c:pt>
                <c:pt idx="36">
                  <c:v>45270</c:v>
                </c:pt>
                <c:pt idx="37">
                  <c:v>45277</c:v>
                </c:pt>
                <c:pt idx="38">
                  <c:v>45284</c:v>
                </c:pt>
                <c:pt idx="39">
                  <c:v>45291</c:v>
                </c:pt>
                <c:pt idx="40">
                  <c:v>45298</c:v>
                </c:pt>
                <c:pt idx="41">
                  <c:v>45305</c:v>
                </c:pt>
                <c:pt idx="42">
                  <c:v>45312</c:v>
                </c:pt>
                <c:pt idx="43">
                  <c:v>45319</c:v>
                </c:pt>
                <c:pt idx="44">
                  <c:v>45326</c:v>
                </c:pt>
                <c:pt idx="45">
                  <c:v>45333</c:v>
                </c:pt>
                <c:pt idx="46">
                  <c:v>45340</c:v>
                </c:pt>
                <c:pt idx="47">
                  <c:v>45347</c:v>
                </c:pt>
                <c:pt idx="48">
                  <c:v>45354</c:v>
                </c:pt>
                <c:pt idx="49">
                  <c:v>45361</c:v>
                </c:pt>
                <c:pt idx="50">
                  <c:v>45368</c:v>
                </c:pt>
                <c:pt idx="51">
                  <c:v>45375</c:v>
                </c:pt>
                <c:pt idx="52">
                  <c:v>45382</c:v>
                </c:pt>
                <c:pt idx="53">
                  <c:v>45389</c:v>
                </c:pt>
                <c:pt idx="54">
                  <c:v>45396</c:v>
                </c:pt>
                <c:pt idx="55">
                  <c:v>45403</c:v>
                </c:pt>
                <c:pt idx="56">
                  <c:v>45410</c:v>
                </c:pt>
                <c:pt idx="57">
                  <c:v>45417</c:v>
                </c:pt>
                <c:pt idx="58">
                  <c:v>45424</c:v>
                </c:pt>
                <c:pt idx="59">
                  <c:v>45431</c:v>
                </c:pt>
                <c:pt idx="60">
                  <c:v>45438</c:v>
                </c:pt>
                <c:pt idx="61">
                  <c:v>45445</c:v>
                </c:pt>
                <c:pt idx="62">
                  <c:v>45452</c:v>
                </c:pt>
                <c:pt idx="63">
                  <c:v>45459</c:v>
                </c:pt>
                <c:pt idx="64">
                  <c:v>45466</c:v>
                </c:pt>
                <c:pt idx="65">
                  <c:v>45473</c:v>
                </c:pt>
                <c:pt idx="66">
                  <c:v>45480</c:v>
                </c:pt>
                <c:pt idx="67">
                  <c:v>45487</c:v>
                </c:pt>
                <c:pt idx="68">
                  <c:v>45494</c:v>
                </c:pt>
                <c:pt idx="69">
                  <c:v>45501</c:v>
                </c:pt>
                <c:pt idx="70">
                  <c:v>45508</c:v>
                </c:pt>
                <c:pt idx="71">
                  <c:v>45515</c:v>
                </c:pt>
                <c:pt idx="72">
                  <c:v>45522</c:v>
                </c:pt>
                <c:pt idx="73">
                  <c:v>45529</c:v>
                </c:pt>
                <c:pt idx="74">
                  <c:v>45536</c:v>
                </c:pt>
                <c:pt idx="75">
                  <c:v>45543</c:v>
                </c:pt>
                <c:pt idx="76">
                  <c:v>45550</c:v>
                </c:pt>
                <c:pt idx="77">
                  <c:v>45557</c:v>
                </c:pt>
                <c:pt idx="78">
                  <c:v>45564</c:v>
                </c:pt>
                <c:pt idx="79">
                  <c:v>45571</c:v>
                </c:pt>
                <c:pt idx="80">
                  <c:v>45578</c:v>
                </c:pt>
                <c:pt idx="81">
                  <c:v>45585</c:v>
                </c:pt>
                <c:pt idx="82">
                  <c:v>45592</c:v>
                </c:pt>
                <c:pt idx="83">
                  <c:v>45599</c:v>
                </c:pt>
                <c:pt idx="84">
                  <c:v>45606</c:v>
                </c:pt>
                <c:pt idx="85">
                  <c:v>45613</c:v>
                </c:pt>
                <c:pt idx="86">
                  <c:v>45620</c:v>
                </c:pt>
                <c:pt idx="87">
                  <c:v>45627</c:v>
                </c:pt>
                <c:pt idx="88">
                  <c:v>45634</c:v>
                </c:pt>
                <c:pt idx="89">
                  <c:v>45641</c:v>
                </c:pt>
                <c:pt idx="90">
                  <c:v>45648</c:v>
                </c:pt>
                <c:pt idx="91">
                  <c:v>45655</c:v>
                </c:pt>
                <c:pt idx="92">
                  <c:v>45662</c:v>
                </c:pt>
                <c:pt idx="93">
                  <c:v>45669</c:v>
                </c:pt>
                <c:pt idx="94">
                  <c:v>45676</c:v>
                </c:pt>
                <c:pt idx="95">
                  <c:v>45683</c:v>
                </c:pt>
              </c:numCache>
            </c:numRef>
          </c:cat>
          <c:val>
            <c:numRef>
              <c:f>Sheet1!$E$2:$E$97</c:f>
              <c:numCache>
                <c:formatCode>General</c:formatCode>
                <c:ptCount val="96"/>
                <c:pt idx="0">
                  <c:v>288702</c:v>
                </c:pt>
                <c:pt idx="1">
                  <c:v>291556</c:v>
                </c:pt>
                <c:pt idx="2">
                  <c:v>295384</c:v>
                </c:pt>
                <c:pt idx="3">
                  <c:v>296889</c:v>
                </c:pt>
                <c:pt idx="4">
                  <c:v>300386</c:v>
                </c:pt>
                <c:pt idx="5">
                  <c:v>306491</c:v>
                </c:pt>
                <c:pt idx="6">
                  <c:v>314243</c:v>
                </c:pt>
                <c:pt idx="7">
                  <c:v>326907</c:v>
                </c:pt>
                <c:pt idx="8">
                  <c:v>330260</c:v>
                </c:pt>
                <c:pt idx="9">
                  <c:v>330165</c:v>
                </c:pt>
                <c:pt idx="10">
                  <c:v>326235</c:v>
                </c:pt>
                <c:pt idx="11">
                  <c:v>324942</c:v>
                </c:pt>
                <c:pt idx="12">
                  <c:v>323746</c:v>
                </c:pt>
                <c:pt idx="13">
                  <c:v>320502</c:v>
                </c:pt>
                <c:pt idx="14">
                  <c:v>321742</c:v>
                </c:pt>
                <c:pt idx="15">
                  <c:v>317841</c:v>
                </c:pt>
                <c:pt idx="16">
                  <c:v>313697</c:v>
                </c:pt>
                <c:pt idx="17">
                  <c:v>315746</c:v>
                </c:pt>
                <c:pt idx="18">
                  <c:v>314216</c:v>
                </c:pt>
                <c:pt idx="19">
                  <c:v>316549</c:v>
                </c:pt>
                <c:pt idx="20">
                  <c:v>324365</c:v>
                </c:pt>
                <c:pt idx="21">
                  <c:v>329542</c:v>
                </c:pt>
                <c:pt idx="22">
                  <c:v>324794</c:v>
                </c:pt>
                <c:pt idx="23">
                  <c:v>318833</c:v>
                </c:pt>
                <c:pt idx="24">
                  <c:v>316979</c:v>
                </c:pt>
                <c:pt idx="25">
                  <c:v>312672</c:v>
                </c:pt>
                <c:pt idx="26">
                  <c:v>308998</c:v>
                </c:pt>
                <c:pt idx="27">
                  <c:v>303083</c:v>
                </c:pt>
                <c:pt idx="28">
                  <c:v>322061</c:v>
                </c:pt>
                <c:pt idx="29">
                  <c:v>336561</c:v>
                </c:pt>
                <c:pt idx="30">
                  <c:v>337328</c:v>
                </c:pt>
                <c:pt idx="31">
                  <c:v>339646</c:v>
                </c:pt>
                <c:pt idx="32">
                  <c:v>340670</c:v>
                </c:pt>
                <c:pt idx="33">
                  <c:v>342993</c:v>
                </c:pt>
                <c:pt idx="34">
                  <c:v>353838</c:v>
                </c:pt>
                <c:pt idx="35">
                  <c:v>358537</c:v>
                </c:pt>
                <c:pt idx="36">
                  <c:v>353299</c:v>
                </c:pt>
                <c:pt idx="37">
                  <c:v>342685</c:v>
                </c:pt>
                <c:pt idx="38">
                  <c:v>334169</c:v>
                </c:pt>
                <c:pt idx="39">
                  <c:v>376991</c:v>
                </c:pt>
                <c:pt idx="40">
                  <c:v>346920</c:v>
                </c:pt>
                <c:pt idx="41">
                  <c:v>301279</c:v>
                </c:pt>
                <c:pt idx="42">
                  <c:v>266785</c:v>
                </c:pt>
                <c:pt idx="43">
                  <c:v>249703</c:v>
                </c:pt>
                <c:pt idx="44">
                  <c:v>260169</c:v>
                </c:pt>
                <c:pt idx="45">
                  <c:v>283434</c:v>
                </c:pt>
                <c:pt idx="46">
                  <c:v>285499</c:v>
                </c:pt>
                <c:pt idx="47">
                  <c:v>290074</c:v>
                </c:pt>
                <c:pt idx="48">
                  <c:v>295982</c:v>
                </c:pt>
                <c:pt idx="49">
                  <c:v>294594</c:v>
                </c:pt>
                <c:pt idx="50">
                  <c:v>292977</c:v>
                </c:pt>
                <c:pt idx="51">
                  <c:v>290538</c:v>
                </c:pt>
                <c:pt idx="52">
                  <c:v>285780</c:v>
                </c:pt>
                <c:pt idx="53">
                  <c:v>281890</c:v>
                </c:pt>
                <c:pt idx="54">
                  <c:v>279805</c:v>
                </c:pt>
                <c:pt idx="55">
                  <c:v>273548</c:v>
                </c:pt>
                <c:pt idx="56">
                  <c:v>265608</c:v>
                </c:pt>
                <c:pt idx="57">
                  <c:v>266170</c:v>
                </c:pt>
                <c:pt idx="58">
                  <c:v>264112</c:v>
                </c:pt>
                <c:pt idx="59">
                  <c:v>264485</c:v>
                </c:pt>
                <c:pt idx="60">
                  <c:v>265167</c:v>
                </c:pt>
                <c:pt idx="61">
                  <c:v>265571</c:v>
                </c:pt>
                <c:pt idx="62">
                  <c:v>264904</c:v>
                </c:pt>
                <c:pt idx="63">
                  <c:v>268352</c:v>
                </c:pt>
                <c:pt idx="64">
                  <c:v>269842</c:v>
                </c:pt>
                <c:pt idx="65">
                  <c:v>269987</c:v>
                </c:pt>
                <c:pt idx="66">
                  <c:v>270975</c:v>
                </c:pt>
                <c:pt idx="67">
                  <c:v>270230</c:v>
                </c:pt>
                <c:pt idx="68">
                  <c:v>270604</c:v>
                </c:pt>
                <c:pt idx="69">
                  <c:v>269855</c:v>
                </c:pt>
                <c:pt idx="70">
                  <c:v>270554</c:v>
                </c:pt>
                <c:pt idx="71">
                  <c:v>265988</c:v>
                </c:pt>
                <c:pt idx="72">
                  <c:v>265165</c:v>
                </c:pt>
                <c:pt idx="73">
                  <c:v>261096</c:v>
                </c:pt>
                <c:pt idx="74">
                  <c:v>258236</c:v>
                </c:pt>
                <c:pt idx="75">
                  <c:v>253725</c:v>
                </c:pt>
                <c:pt idx="76">
                  <c:v>254615</c:v>
                </c:pt>
                <c:pt idx="77">
                  <c:v>253718</c:v>
                </c:pt>
                <c:pt idx="78">
                  <c:v>255746</c:v>
                </c:pt>
                <c:pt idx="79">
                  <c:v>258131</c:v>
                </c:pt>
                <c:pt idx="80">
                  <c:v>258914</c:v>
                </c:pt>
                <c:pt idx="81">
                  <c:v>263501</c:v>
                </c:pt>
                <c:pt idx="82">
                  <c:v>266704</c:v>
                </c:pt>
                <c:pt idx="83">
                  <c:v>271926</c:v>
                </c:pt>
                <c:pt idx="84">
                  <c:v>269827</c:v>
                </c:pt>
                <c:pt idx="85">
                  <c:v>274458</c:v>
                </c:pt>
                <c:pt idx="86">
                  <c:v>275602</c:v>
                </c:pt>
                <c:pt idx="87">
                  <c:v>277476</c:v>
                </c:pt>
                <c:pt idx="88">
                  <c:v>284101</c:v>
                </c:pt>
                <c:pt idx="89">
                  <c:v>263046</c:v>
                </c:pt>
                <c:pt idx="90">
                  <c:v>254380</c:v>
                </c:pt>
                <c:pt idx="91">
                  <c:v>250157</c:v>
                </c:pt>
                <c:pt idx="92">
                  <c:v>258887</c:v>
                </c:pt>
                <c:pt idx="93">
                  <c:v>246645</c:v>
                </c:pt>
                <c:pt idx="94">
                  <c:v>252741</c:v>
                </c:pt>
                <c:pt idx="95">
                  <c:v>238098</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97</c:f>
              <c:numCache>
                <c:formatCode>yyyy\-mm\-dd</c:formatCode>
                <c:ptCount val="96"/>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109</c:v>
                </c:pt>
                <c:pt idx="21">
                  <c:v>45130</c:v>
                </c:pt>
                <c:pt idx="22">
                  <c:v>45172</c:v>
                </c:pt>
                <c:pt idx="23">
                  <c:v>45179</c:v>
                </c:pt>
                <c:pt idx="24">
                  <c:v>45186</c:v>
                </c:pt>
                <c:pt idx="25">
                  <c:v>45193</c:v>
                </c:pt>
                <c:pt idx="26">
                  <c:v>45200</c:v>
                </c:pt>
                <c:pt idx="27">
                  <c:v>45207</c:v>
                </c:pt>
                <c:pt idx="28">
                  <c:v>45214</c:v>
                </c:pt>
                <c:pt idx="29">
                  <c:v>45221</c:v>
                </c:pt>
                <c:pt idx="30">
                  <c:v>45228</c:v>
                </c:pt>
                <c:pt idx="31">
                  <c:v>45235</c:v>
                </c:pt>
                <c:pt idx="32">
                  <c:v>45242</c:v>
                </c:pt>
                <c:pt idx="33">
                  <c:v>45249</c:v>
                </c:pt>
                <c:pt idx="34">
                  <c:v>45256</c:v>
                </c:pt>
                <c:pt idx="35">
                  <c:v>45263</c:v>
                </c:pt>
                <c:pt idx="36">
                  <c:v>45270</c:v>
                </c:pt>
                <c:pt idx="37">
                  <c:v>45277</c:v>
                </c:pt>
                <c:pt idx="38">
                  <c:v>45284</c:v>
                </c:pt>
                <c:pt idx="39">
                  <c:v>45291</c:v>
                </c:pt>
                <c:pt idx="40">
                  <c:v>45298</c:v>
                </c:pt>
                <c:pt idx="41">
                  <c:v>45305</c:v>
                </c:pt>
                <c:pt idx="42">
                  <c:v>45312</c:v>
                </c:pt>
                <c:pt idx="43">
                  <c:v>45319</c:v>
                </c:pt>
                <c:pt idx="44">
                  <c:v>45326</c:v>
                </c:pt>
                <c:pt idx="45">
                  <c:v>45333</c:v>
                </c:pt>
                <c:pt idx="46">
                  <c:v>45340</c:v>
                </c:pt>
                <c:pt idx="47">
                  <c:v>45347</c:v>
                </c:pt>
                <c:pt idx="48">
                  <c:v>45354</c:v>
                </c:pt>
                <c:pt idx="49">
                  <c:v>45361</c:v>
                </c:pt>
                <c:pt idx="50">
                  <c:v>45368</c:v>
                </c:pt>
                <c:pt idx="51">
                  <c:v>45375</c:v>
                </c:pt>
                <c:pt idx="52">
                  <c:v>45382</c:v>
                </c:pt>
                <c:pt idx="53">
                  <c:v>45389</c:v>
                </c:pt>
                <c:pt idx="54">
                  <c:v>45396</c:v>
                </c:pt>
                <c:pt idx="55">
                  <c:v>45403</c:v>
                </c:pt>
                <c:pt idx="56">
                  <c:v>45410</c:v>
                </c:pt>
                <c:pt idx="57">
                  <c:v>45417</c:v>
                </c:pt>
                <c:pt idx="58">
                  <c:v>45424</c:v>
                </c:pt>
                <c:pt idx="59">
                  <c:v>45431</c:v>
                </c:pt>
                <c:pt idx="60">
                  <c:v>45438</c:v>
                </c:pt>
                <c:pt idx="61">
                  <c:v>45445</c:v>
                </c:pt>
                <c:pt idx="62">
                  <c:v>45452</c:v>
                </c:pt>
                <c:pt idx="63">
                  <c:v>45459</c:v>
                </c:pt>
                <c:pt idx="64">
                  <c:v>45466</c:v>
                </c:pt>
                <c:pt idx="65">
                  <c:v>45473</c:v>
                </c:pt>
                <c:pt idx="66">
                  <c:v>45480</c:v>
                </c:pt>
                <c:pt idx="67">
                  <c:v>45487</c:v>
                </c:pt>
                <c:pt idx="68">
                  <c:v>45494</c:v>
                </c:pt>
                <c:pt idx="69">
                  <c:v>45501</c:v>
                </c:pt>
                <c:pt idx="70">
                  <c:v>45508</c:v>
                </c:pt>
                <c:pt idx="71">
                  <c:v>45515</c:v>
                </c:pt>
                <c:pt idx="72">
                  <c:v>45522</c:v>
                </c:pt>
                <c:pt idx="73">
                  <c:v>45529</c:v>
                </c:pt>
                <c:pt idx="74">
                  <c:v>45536</c:v>
                </c:pt>
                <c:pt idx="75">
                  <c:v>45543</c:v>
                </c:pt>
                <c:pt idx="76">
                  <c:v>45550</c:v>
                </c:pt>
                <c:pt idx="77">
                  <c:v>45557</c:v>
                </c:pt>
                <c:pt idx="78">
                  <c:v>45564</c:v>
                </c:pt>
                <c:pt idx="79">
                  <c:v>45571</c:v>
                </c:pt>
                <c:pt idx="80">
                  <c:v>45578</c:v>
                </c:pt>
                <c:pt idx="81">
                  <c:v>45585</c:v>
                </c:pt>
                <c:pt idx="82">
                  <c:v>45592</c:v>
                </c:pt>
                <c:pt idx="83">
                  <c:v>45599</c:v>
                </c:pt>
                <c:pt idx="84">
                  <c:v>45606</c:v>
                </c:pt>
                <c:pt idx="85">
                  <c:v>45613</c:v>
                </c:pt>
                <c:pt idx="86">
                  <c:v>45620</c:v>
                </c:pt>
                <c:pt idx="87">
                  <c:v>45627</c:v>
                </c:pt>
                <c:pt idx="88">
                  <c:v>45634</c:v>
                </c:pt>
                <c:pt idx="89">
                  <c:v>45641</c:v>
                </c:pt>
                <c:pt idx="90">
                  <c:v>45648</c:v>
                </c:pt>
                <c:pt idx="91">
                  <c:v>45655</c:v>
                </c:pt>
                <c:pt idx="92">
                  <c:v>45662</c:v>
                </c:pt>
                <c:pt idx="93">
                  <c:v>45669</c:v>
                </c:pt>
                <c:pt idx="94">
                  <c:v>45676</c:v>
                </c:pt>
                <c:pt idx="95">
                  <c:v>45683</c:v>
                </c:pt>
              </c:numCache>
            </c:numRef>
          </c:cat>
          <c:val>
            <c:numRef>
              <c:f>Sheet1!$F$2:$F$97</c:f>
              <c:numCache>
                <c:formatCode>General</c:formatCode>
                <c:ptCount val="96"/>
                <c:pt idx="0">
                  <c:v>0.36</c:v>
                </c:pt>
                <c:pt idx="1">
                  <c:v>0.3</c:v>
                </c:pt>
                <c:pt idx="2">
                  <c:v>0.34</c:v>
                </c:pt>
                <c:pt idx="3">
                  <c:v>0.24</c:v>
                </c:pt>
                <c:pt idx="4">
                  <c:v>0.16</c:v>
                </c:pt>
                <c:pt idx="5">
                  <c:v>0.2</c:v>
                </c:pt>
                <c:pt idx="6">
                  <c:v>0.2</c:v>
                </c:pt>
                <c:pt idx="7">
                  <c:v>0.22</c:v>
                </c:pt>
                <c:pt idx="8">
                  <c:v>0.14000000000000001</c:v>
                </c:pt>
                <c:pt idx="9">
                  <c:v>0.14000000000000001</c:v>
                </c:pt>
                <c:pt idx="10">
                  <c:v>0.18</c:v>
                </c:pt>
                <c:pt idx="11">
                  <c:v>0.14000000000000001</c:v>
                </c:pt>
                <c:pt idx="12">
                  <c:v>0.12</c:v>
                </c:pt>
                <c:pt idx="13">
                  <c:v>0.11</c:v>
                </c:pt>
                <c:pt idx="14">
                  <c:v>0.13</c:v>
                </c:pt>
                <c:pt idx="15">
                  <c:v>0.19</c:v>
                </c:pt>
                <c:pt idx="16">
                  <c:v>0.12</c:v>
                </c:pt>
                <c:pt idx="17">
                  <c:v>0.03</c:v>
                </c:pt>
                <c:pt idx="18">
                  <c:v>0.01</c:v>
                </c:pt>
                <c:pt idx="19">
                  <c:v>0.01</c:v>
                </c:pt>
                <c:pt idx="20">
                  <c:v>0.01</c:v>
                </c:pt>
                <c:pt idx="21">
                  <c:v>0.18</c:v>
                </c:pt>
                <c:pt idx="22">
                  <c:v>0.15</c:v>
                </c:pt>
                <c:pt idx="23">
                  <c:v>0.06</c:v>
                </c:pt>
                <c:pt idx="24">
                  <c:v>0.01</c:v>
                </c:pt>
                <c:pt idx="25">
                  <c:v>0</c:v>
                </c:pt>
                <c:pt idx="26">
                  <c:v>0.06</c:v>
                </c:pt>
                <c:pt idx="27">
                  <c:v>0.1</c:v>
                </c:pt>
                <c:pt idx="28">
                  <c:v>0.24</c:v>
                </c:pt>
                <c:pt idx="29">
                  <c:v>0.27</c:v>
                </c:pt>
                <c:pt idx="30">
                  <c:v>0.27</c:v>
                </c:pt>
                <c:pt idx="31">
                  <c:v>0.25</c:v>
                </c:pt>
                <c:pt idx="32">
                  <c:v>0.17</c:v>
                </c:pt>
                <c:pt idx="33">
                  <c:v>0.19</c:v>
                </c:pt>
                <c:pt idx="34">
                  <c:v>0.28999999999999998</c:v>
                </c:pt>
                <c:pt idx="35">
                  <c:v>0.28000000000000003</c:v>
                </c:pt>
                <c:pt idx="36">
                  <c:v>0.33</c:v>
                </c:pt>
                <c:pt idx="37">
                  <c:v>0.49</c:v>
                </c:pt>
                <c:pt idx="38">
                  <c:v>0.61</c:v>
                </c:pt>
                <c:pt idx="39">
                  <c:v>0.81</c:v>
                </c:pt>
                <c:pt idx="40">
                  <c:v>0.33</c:v>
                </c:pt>
                <c:pt idx="41">
                  <c:v>0.27</c:v>
                </c:pt>
                <c:pt idx="42">
                  <c:v>0.18</c:v>
                </c:pt>
                <c:pt idx="43">
                  <c:v>0.1</c:v>
                </c:pt>
                <c:pt idx="44">
                  <c:v>0.19</c:v>
                </c:pt>
                <c:pt idx="45">
                  <c:v>0.3</c:v>
                </c:pt>
                <c:pt idx="46">
                  <c:v>0.36</c:v>
                </c:pt>
                <c:pt idx="47">
                  <c:v>0.48</c:v>
                </c:pt>
                <c:pt idx="48">
                  <c:v>0.45</c:v>
                </c:pt>
                <c:pt idx="49">
                  <c:v>0.43</c:v>
                </c:pt>
                <c:pt idx="50">
                  <c:v>0.36</c:v>
                </c:pt>
                <c:pt idx="51">
                  <c:v>0.28000000000000003</c:v>
                </c:pt>
                <c:pt idx="52">
                  <c:v>0.23</c:v>
                </c:pt>
                <c:pt idx="53">
                  <c:v>0.23</c:v>
                </c:pt>
                <c:pt idx="54">
                  <c:v>0.23</c:v>
                </c:pt>
                <c:pt idx="55">
                  <c:v>0.26</c:v>
                </c:pt>
                <c:pt idx="56">
                  <c:v>0.2</c:v>
                </c:pt>
                <c:pt idx="57">
                  <c:v>0.2</c:v>
                </c:pt>
                <c:pt idx="58">
                  <c:v>0.2</c:v>
                </c:pt>
                <c:pt idx="59">
                  <c:v>0.2</c:v>
                </c:pt>
                <c:pt idx="60">
                  <c:v>0.13</c:v>
                </c:pt>
                <c:pt idx="61">
                  <c:v>0</c:v>
                </c:pt>
                <c:pt idx="62">
                  <c:v>0</c:v>
                </c:pt>
                <c:pt idx="63">
                  <c:v>0</c:v>
                </c:pt>
                <c:pt idx="64">
                  <c:v>0.01</c:v>
                </c:pt>
                <c:pt idx="65">
                  <c:v>0</c:v>
                </c:pt>
                <c:pt idx="66">
                  <c:v>0.01</c:v>
                </c:pt>
                <c:pt idx="67">
                  <c:v>0.12</c:v>
                </c:pt>
                <c:pt idx="68">
                  <c:v>0.21</c:v>
                </c:pt>
                <c:pt idx="69">
                  <c:v>0.22</c:v>
                </c:pt>
                <c:pt idx="70">
                  <c:v>0.2</c:v>
                </c:pt>
                <c:pt idx="71">
                  <c:v>0.06</c:v>
                </c:pt>
                <c:pt idx="72">
                  <c:v>0.05</c:v>
                </c:pt>
                <c:pt idx="73">
                  <c:v>0</c:v>
                </c:pt>
                <c:pt idx="74">
                  <c:v>0.03</c:v>
                </c:pt>
                <c:pt idx="75">
                  <c:v>0</c:v>
                </c:pt>
                <c:pt idx="76">
                  <c:v>0.01</c:v>
                </c:pt>
                <c:pt idx="77">
                  <c:v>0</c:v>
                </c:pt>
                <c:pt idx="78">
                  <c:v>0.06</c:v>
                </c:pt>
                <c:pt idx="79">
                  <c:v>0.12</c:v>
                </c:pt>
                <c:pt idx="80">
                  <c:v>0.24</c:v>
                </c:pt>
                <c:pt idx="81">
                  <c:v>0.31</c:v>
                </c:pt>
                <c:pt idx="82">
                  <c:v>0.2</c:v>
                </c:pt>
                <c:pt idx="83">
                  <c:v>0.11</c:v>
                </c:pt>
                <c:pt idx="84">
                  <c:v>0.12</c:v>
                </c:pt>
                <c:pt idx="85">
                  <c:v>0.35</c:v>
                </c:pt>
                <c:pt idx="86">
                  <c:v>0.8</c:v>
                </c:pt>
                <c:pt idx="87">
                  <c:v>0.82</c:v>
                </c:pt>
                <c:pt idx="88">
                  <c:v>0.82</c:v>
                </c:pt>
                <c:pt idx="89">
                  <c:v>0.85</c:v>
                </c:pt>
                <c:pt idx="90">
                  <c:v>0.87</c:v>
                </c:pt>
                <c:pt idx="91">
                  <c:v>0.91</c:v>
                </c:pt>
                <c:pt idx="92">
                  <c:v>0.8</c:v>
                </c:pt>
                <c:pt idx="93">
                  <c:v>0.78</c:v>
                </c:pt>
                <c:pt idx="94">
                  <c:v>0.74</c:v>
                </c:pt>
                <c:pt idx="95">
                  <c:v>0.72</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73</c:f>
              <c:numCache>
                <c:formatCode>yyyy\-mm\-dd</c:formatCode>
                <c:ptCount val="72"/>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51</c:v>
                </c:pt>
                <c:pt idx="27">
                  <c:v>45158</c:v>
                </c:pt>
                <c:pt idx="28">
                  <c:v>45165</c:v>
                </c:pt>
                <c:pt idx="29">
                  <c:v>45172</c:v>
                </c:pt>
                <c:pt idx="30">
                  <c:v>45179</c:v>
                </c:pt>
                <c:pt idx="31">
                  <c:v>45186</c:v>
                </c:pt>
                <c:pt idx="32">
                  <c:v>45193</c:v>
                </c:pt>
                <c:pt idx="33">
                  <c:v>45200</c:v>
                </c:pt>
                <c:pt idx="34">
                  <c:v>45207</c:v>
                </c:pt>
                <c:pt idx="35">
                  <c:v>45214</c:v>
                </c:pt>
                <c:pt idx="36">
                  <c:v>45221</c:v>
                </c:pt>
                <c:pt idx="37">
                  <c:v>45228</c:v>
                </c:pt>
                <c:pt idx="38">
                  <c:v>45235</c:v>
                </c:pt>
                <c:pt idx="39">
                  <c:v>45242</c:v>
                </c:pt>
                <c:pt idx="40">
                  <c:v>45249</c:v>
                </c:pt>
                <c:pt idx="41">
                  <c:v>45256</c:v>
                </c:pt>
                <c:pt idx="42">
                  <c:v>45263</c:v>
                </c:pt>
                <c:pt idx="43">
                  <c:v>45270</c:v>
                </c:pt>
                <c:pt idx="44">
                  <c:v>45277</c:v>
                </c:pt>
                <c:pt idx="45">
                  <c:v>45284</c:v>
                </c:pt>
                <c:pt idx="46">
                  <c:v>45291</c:v>
                </c:pt>
                <c:pt idx="47">
                  <c:v>45298</c:v>
                </c:pt>
                <c:pt idx="48">
                  <c:v>45305</c:v>
                </c:pt>
                <c:pt idx="49">
                  <c:v>45312</c:v>
                </c:pt>
                <c:pt idx="50">
                  <c:v>45319</c:v>
                </c:pt>
                <c:pt idx="51">
                  <c:v>45326</c:v>
                </c:pt>
                <c:pt idx="52">
                  <c:v>45340</c:v>
                </c:pt>
                <c:pt idx="53">
                  <c:v>45347</c:v>
                </c:pt>
                <c:pt idx="54">
                  <c:v>45354</c:v>
                </c:pt>
                <c:pt idx="55">
                  <c:v>45368</c:v>
                </c:pt>
                <c:pt idx="56">
                  <c:v>45375</c:v>
                </c:pt>
                <c:pt idx="57">
                  <c:v>45522</c:v>
                </c:pt>
                <c:pt idx="58">
                  <c:v>45578</c:v>
                </c:pt>
                <c:pt idx="59">
                  <c:v>45585</c:v>
                </c:pt>
                <c:pt idx="60">
                  <c:v>45592</c:v>
                </c:pt>
                <c:pt idx="61">
                  <c:v>45599</c:v>
                </c:pt>
                <c:pt idx="62">
                  <c:v>45606</c:v>
                </c:pt>
                <c:pt idx="63">
                  <c:v>45613</c:v>
                </c:pt>
                <c:pt idx="64">
                  <c:v>45620</c:v>
                </c:pt>
                <c:pt idx="65">
                  <c:v>45627</c:v>
                </c:pt>
                <c:pt idx="66">
                  <c:v>45634</c:v>
                </c:pt>
                <c:pt idx="67">
                  <c:v>45641</c:v>
                </c:pt>
                <c:pt idx="68">
                  <c:v>45648</c:v>
                </c:pt>
                <c:pt idx="69">
                  <c:v>45655</c:v>
                </c:pt>
                <c:pt idx="70">
                  <c:v>45662</c:v>
                </c:pt>
                <c:pt idx="71">
                  <c:v>45669</c:v>
                </c:pt>
              </c:numCache>
            </c:numRef>
          </c:cat>
          <c:val>
            <c:numRef>
              <c:f>Sheet1!$B$2:$B$73</c:f>
              <c:numCache>
                <c:formatCode>General</c:formatCode>
                <c:ptCount val="72"/>
                <c:pt idx="0">
                  <c:v>42628</c:v>
                </c:pt>
                <c:pt idx="1">
                  <c:v>32802</c:v>
                </c:pt>
                <c:pt idx="2">
                  <c:v>27256</c:v>
                </c:pt>
                <c:pt idx="3">
                  <c:v>20787</c:v>
                </c:pt>
                <c:pt idx="4">
                  <c:v>20825</c:v>
                </c:pt>
                <c:pt idx="5">
                  <c:v>26522</c:v>
                </c:pt>
                <c:pt idx="6">
                  <c:v>30015</c:v>
                </c:pt>
                <c:pt idx="7">
                  <c:v>67174</c:v>
                </c:pt>
                <c:pt idx="8">
                  <c:v>55893</c:v>
                </c:pt>
                <c:pt idx="9">
                  <c:v>55685</c:v>
                </c:pt>
                <c:pt idx="10">
                  <c:v>54379</c:v>
                </c:pt>
                <c:pt idx="11">
                  <c:v>73708</c:v>
                </c:pt>
                <c:pt idx="12">
                  <c:v>1975</c:v>
                </c:pt>
                <c:pt idx="13">
                  <c:v>38234</c:v>
                </c:pt>
                <c:pt idx="14">
                  <c:v>59833</c:v>
                </c:pt>
                <c:pt idx="15">
                  <c:v>61077</c:v>
                </c:pt>
                <c:pt idx="16">
                  <c:v>9754</c:v>
                </c:pt>
                <c:pt idx="17">
                  <c:v>2816</c:v>
                </c:pt>
                <c:pt idx="18">
                  <c:v>2775</c:v>
                </c:pt>
                <c:pt idx="19">
                  <c:v>1705</c:v>
                </c:pt>
                <c:pt idx="20">
                  <c:v>1369</c:v>
                </c:pt>
                <c:pt idx="21">
                  <c:v>2180</c:v>
                </c:pt>
                <c:pt idx="22">
                  <c:v>2125</c:v>
                </c:pt>
                <c:pt idx="23">
                  <c:v>803</c:v>
                </c:pt>
                <c:pt idx="24">
                  <c:v>2754</c:v>
                </c:pt>
                <c:pt idx="25">
                  <c:v>3679</c:v>
                </c:pt>
                <c:pt idx="26">
                  <c:v>159967</c:v>
                </c:pt>
                <c:pt idx="27">
                  <c:v>383878</c:v>
                </c:pt>
                <c:pt idx="28">
                  <c:v>385926</c:v>
                </c:pt>
                <c:pt idx="29">
                  <c:v>387201</c:v>
                </c:pt>
                <c:pt idx="30">
                  <c:v>387973</c:v>
                </c:pt>
                <c:pt idx="31">
                  <c:v>369603</c:v>
                </c:pt>
                <c:pt idx="32">
                  <c:v>362386</c:v>
                </c:pt>
                <c:pt idx="33">
                  <c:v>354421</c:v>
                </c:pt>
                <c:pt idx="34">
                  <c:v>376092</c:v>
                </c:pt>
                <c:pt idx="35">
                  <c:v>387460</c:v>
                </c:pt>
                <c:pt idx="36">
                  <c:v>379727</c:v>
                </c:pt>
                <c:pt idx="37">
                  <c:v>360804</c:v>
                </c:pt>
                <c:pt idx="38">
                  <c:v>36320</c:v>
                </c:pt>
                <c:pt idx="39">
                  <c:v>43639</c:v>
                </c:pt>
                <c:pt idx="40">
                  <c:v>55831</c:v>
                </c:pt>
                <c:pt idx="41">
                  <c:v>83752</c:v>
                </c:pt>
                <c:pt idx="42">
                  <c:v>101123</c:v>
                </c:pt>
                <c:pt idx="43">
                  <c:v>170843</c:v>
                </c:pt>
                <c:pt idx="44">
                  <c:v>161549</c:v>
                </c:pt>
                <c:pt idx="45">
                  <c:v>277060</c:v>
                </c:pt>
                <c:pt idx="46">
                  <c:v>318873</c:v>
                </c:pt>
                <c:pt idx="47">
                  <c:v>7941</c:v>
                </c:pt>
                <c:pt idx="48">
                  <c:v>13646</c:v>
                </c:pt>
                <c:pt idx="49">
                  <c:v>5922</c:v>
                </c:pt>
                <c:pt idx="50">
                  <c:v>2623</c:v>
                </c:pt>
                <c:pt idx="51">
                  <c:v>1878</c:v>
                </c:pt>
                <c:pt idx="52">
                  <c:v>37369</c:v>
                </c:pt>
                <c:pt idx="53">
                  <c:v>113790</c:v>
                </c:pt>
                <c:pt idx="54">
                  <c:v>41119</c:v>
                </c:pt>
                <c:pt idx="55">
                  <c:v>1091</c:v>
                </c:pt>
                <c:pt idx="56">
                  <c:v>114890</c:v>
                </c:pt>
                <c:pt idx="57">
                  <c:v>1969</c:v>
                </c:pt>
                <c:pt idx="58">
                  <c:v>78889</c:v>
                </c:pt>
                <c:pt idx="59">
                  <c:v>105227</c:v>
                </c:pt>
                <c:pt idx="60">
                  <c:v>73897</c:v>
                </c:pt>
                <c:pt idx="61">
                  <c:v>37830</c:v>
                </c:pt>
                <c:pt idx="62">
                  <c:v>48221</c:v>
                </c:pt>
                <c:pt idx="63">
                  <c:v>59032</c:v>
                </c:pt>
                <c:pt idx="64">
                  <c:v>68742</c:v>
                </c:pt>
                <c:pt idx="65">
                  <c:v>144667</c:v>
                </c:pt>
                <c:pt idx="66">
                  <c:v>199436</c:v>
                </c:pt>
                <c:pt idx="67">
                  <c:v>186682</c:v>
                </c:pt>
                <c:pt idx="68">
                  <c:v>200065</c:v>
                </c:pt>
                <c:pt idx="69">
                  <c:v>288027</c:v>
                </c:pt>
                <c:pt idx="70">
                  <c:v>3827</c:v>
                </c:pt>
                <c:pt idx="71">
                  <c:v>1214</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73</c:f>
              <c:numCache>
                <c:formatCode>yyyy\-mm\-dd</c:formatCode>
                <c:ptCount val="72"/>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51</c:v>
                </c:pt>
                <c:pt idx="27">
                  <c:v>45158</c:v>
                </c:pt>
                <c:pt idx="28">
                  <c:v>45165</c:v>
                </c:pt>
                <c:pt idx="29">
                  <c:v>45172</c:v>
                </c:pt>
                <c:pt idx="30">
                  <c:v>45179</c:v>
                </c:pt>
                <c:pt idx="31">
                  <c:v>45186</c:v>
                </c:pt>
                <c:pt idx="32">
                  <c:v>45193</c:v>
                </c:pt>
                <c:pt idx="33">
                  <c:v>45200</c:v>
                </c:pt>
                <c:pt idx="34">
                  <c:v>45207</c:v>
                </c:pt>
                <c:pt idx="35">
                  <c:v>45214</c:v>
                </c:pt>
                <c:pt idx="36">
                  <c:v>45221</c:v>
                </c:pt>
                <c:pt idx="37">
                  <c:v>45228</c:v>
                </c:pt>
                <c:pt idx="38">
                  <c:v>45235</c:v>
                </c:pt>
                <c:pt idx="39">
                  <c:v>45242</c:v>
                </c:pt>
                <c:pt idx="40">
                  <c:v>45249</c:v>
                </c:pt>
                <c:pt idx="41">
                  <c:v>45256</c:v>
                </c:pt>
                <c:pt idx="42">
                  <c:v>45263</c:v>
                </c:pt>
                <c:pt idx="43">
                  <c:v>45270</c:v>
                </c:pt>
                <c:pt idx="44">
                  <c:v>45277</c:v>
                </c:pt>
                <c:pt idx="45">
                  <c:v>45284</c:v>
                </c:pt>
                <c:pt idx="46">
                  <c:v>45291</c:v>
                </c:pt>
                <c:pt idx="47">
                  <c:v>45298</c:v>
                </c:pt>
                <c:pt idx="48">
                  <c:v>45305</c:v>
                </c:pt>
                <c:pt idx="49">
                  <c:v>45312</c:v>
                </c:pt>
                <c:pt idx="50">
                  <c:v>45319</c:v>
                </c:pt>
                <c:pt idx="51">
                  <c:v>45326</c:v>
                </c:pt>
                <c:pt idx="52">
                  <c:v>45340</c:v>
                </c:pt>
                <c:pt idx="53">
                  <c:v>45347</c:v>
                </c:pt>
                <c:pt idx="54">
                  <c:v>45354</c:v>
                </c:pt>
                <c:pt idx="55">
                  <c:v>45368</c:v>
                </c:pt>
                <c:pt idx="56">
                  <c:v>45375</c:v>
                </c:pt>
                <c:pt idx="57">
                  <c:v>45522</c:v>
                </c:pt>
                <c:pt idx="58">
                  <c:v>45578</c:v>
                </c:pt>
                <c:pt idx="59">
                  <c:v>45585</c:v>
                </c:pt>
                <c:pt idx="60">
                  <c:v>45592</c:v>
                </c:pt>
                <c:pt idx="61">
                  <c:v>45599</c:v>
                </c:pt>
                <c:pt idx="62">
                  <c:v>45606</c:v>
                </c:pt>
                <c:pt idx="63">
                  <c:v>45613</c:v>
                </c:pt>
                <c:pt idx="64">
                  <c:v>45620</c:v>
                </c:pt>
                <c:pt idx="65">
                  <c:v>45627</c:v>
                </c:pt>
                <c:pt idx="66">
                  <c:v>45634</c:v>
                </c:pt>
                <c:pt idx="67">
                  <c:v>45641</c:v>
                </c:pt>
                <c:pt idx="68">
                  <c:v>45648</c:v>
                </c:pt>
                <c:pt idx="69">
                  <c:v>45655</c:v>
                </c:pt>
                <c:pt idx="70">
                  <c:v>45662</c:v>
                </c:pt>
                <c:pt idx="71">
                  <c:v>45669</c:v>
                </c:pt>
              </c:numCache>
            </c:numRef>
          </c:cat>
          <c:val>
            <c:numRef>
              <c:f>Sheet1!$C$2:$C$73</c:f>
              <c:numCache>
                <c:formatCode>General</c:formatCode>
                <c:ptCount val="72"/>
                <c:pt idx="0">
                  <c:v>361339</c:v>
                </c:pt>
                <c:pt idx="1">
                  <c:v>348270</c:v>
                </c:pt>
                <c:pt idx="2">
                  <c:v>336976</c:v>
                </c:pt>
                <c:pt idx="3">
                  <c:v>320825</c:v>
                </c:pt>
                <c:pt idx="4">
                  <c:v>333488</c:v>
                </c:pt>
                <c:pt idx="5">
                  <c:v>345937</c:v>
                </c:pt>
                <c:pt idx="6">
                  <c:v>331027</c:v>
                </c:pt>
                <c:pt idx="7">
                  <c:v>335322</c:v>
                </c:pt>
                <c:pt idx="8">
                  <c:v>356179</c:v>
                </c:pt>
                <c:pt idx="9">
                  <c:v>331158</c:v>
                </c:pt>
                <c:pt idx="10">
                  <c:v>316885</c:v>
                </c:pt>
                <c:pt idx="11">
                  <c:v>325742</c:v>
                </c:pt>
                <c:pt idx="12">
                  <c:v>353910</c:v>
                </c:pt>
                <c:pt idx="13">
                  <c:v>356322</c:v>
                </c:pt>
                <c:pt idx="14">
                  <c:v>300251</c:v>
                </c:pt>
                <c:pt idx="15">
                  <c:v>349653</c:v>
                </c:pt>
                <c:pt idx="16">
                  <c:v>351457</c:v>
                </c:pt>
                <c:pt idx="17">
                  <c:v>382350</c:v>
                </c:pt>
                <c:pt idx="18">
                  <c:v>358519</c:v>
                </c:pt>
                <c:pt idx="19">
                  <c:v>358730</c:v>
                </c:pt>
                <c:pt idx="20">
                  <c:v>385009</c:v>
                </c:pt>
                <c:pt idx="21">
                  <c:v>401797</c:v>
                </c:pt>
                <c:pt idx="22">
                  <c:v>412553</c:v>
                </c:pt>
                <c:pt idx="23">
                  <c:v>397248</c:v>
                </c:pt>
                <c:pt idx="24">
                  <c:v>385536</c:v>
                </c:pt>
                <c:pt idx="25">
                  <c:v>397955</c:v>
                </c:pt>
                <c:pt idx="26">
                  <c:v>246338</c:v>
                </c:pt>
                <c:pt idx="27">
                  <c:v>33830</c:v>
                </c:pt>
                <c:pt idx="28">
                  <c:v>18910</c:v>
                </c:pt>
                <c:pt idx="29">
                  <c:v>16355</c:v>
                </c:pt>
                <c:pt idx="30">
                  <c:v>17154</c:v>
                </c:pt>
                <c:pt idx="31">
                  <c:v>15724</c:v>
                </c:pt>
                <c:pt idx="32">
                  <c:v>17402</c:v>
                </c:pt>
                <c:pt idx="33">
                  <c:v>25195</c:v>
                </c:pt>
                <c:pt idx="34">
                  <c:v>30281</c:v>
                </c:pt>
                <c:pt idx="35">
                  <c:v>34965</c:v>
                </c:pt>
                <c:pt idx="36">
                  <c:v>36921</c:v>
                </c:pt>
                <c:pt idx="37">
                  <c:v>40367</c:v>
                </c:pt>
                <c:pt idx="38">
                  <c:v>382499</c:v>
                </c:pt>
                <c:pt idx="39">
                  <c:v>386236</c:v>
                </c:pt>
                <c:pt idx="40">
                  <c:v>362534</c:v>
                </c:pt>
                <c:pt idx="41">
                  <c:v>334080</c:v>
                </c:pt>
                <c:pt idx="42">
                  <c:v>361103</c:v>
                </c:pt>
                <c:pt idx="43">
                  <c:v>361116</c:v>
                </c:pt>
                <c:pt idx="44">
                  <c:v>374213</c:v>
                </c:pt>
                <c:pt idx="45">
                  <c:v>415302</c:v>
                </c:pt>
                <c:pt idx="46">
                  <c:v>321245</c:v>
                </c:pt>
                <c:pt idx="47">
                  <c:v>355141</c:v>
                </c:pt>
                <c:pt idx="48">
                  <c:v>311361</c:v>
                </c:pt>
                <c:pt idx="49">
                  <c:v>304778</c:v>
                </c:pt>
                <c:pt idx="50">
                  <c:v>330437</c:v>
                </c:pt>
                <c:pt idx="51">
                  <c:v>348414</c:v>
                </c:pt>
                <c:pt idx="52">
                  <c:v>291943</c:v>
                </c:pt>
                <c:pt idx="53">
                  <c:v>283770</c:v>
                </c:pt>
                <c:pt idx="54">
                  <c:v>330325</c:v>
                </c:pt>
                <c:pt idx="55">
                  <c:v>336754</c:v>
                </c:pt>
                <c:pt idx="56">
                  <c:v>265432</c:v>
                </c:pt>
                <c:pt idx="57">
                  <c:v>354662</c:v>
                </c:pt>
                <c:pt idx="58">
                  <c:v>273373</c:v>
                </c:pt>
                <c:pt idx="59">
                  <c:v>270767</c:v>
                </c:pt>
                <c:pt idx="60">
                  <c:v>294533</c:v>
                </c:pt>
                <c:pt idx="61">
                  <c:v>335538</c:v>
                </c:pt>
                <c:pt idx="62">
                  <c:v>344462</c:v>
                </c:pt>
                <c:pt idx="63">
                  <c:v>326396</c:v>
                </c:pt>
                <c:pt idx="64">
                  <c:v>322897</c:v>
                </c:pt>
                <c:pt idx="65">
                  <c:v>259799</c:v>
                </c:pt>
                <c:pt idx="66">
                  <c:v>283362</c:v>
                </c:pt>
                <c:pt idx="67">
                  <c:v>316565</c:v>
                </c:pt>
                <c:pt idx="68">
                  <c:v>363959</c:v>
                </c:pt>
                <c:pt idx="69">
                  <c:v>321048</c:v>
                </c:pt>
                <c:pt idx="70">
                  <c:v>330818</c:v>
                </c:pt>
                <c:pt idx="71">
                  <c:v>306518</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73</c:f>
              <c:numCache>
                <c:formatCode>yyyy\-mm\-dd</c:formatCode>
                <c:ptCount val="72"/>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51</c:v>
                </c:pt>
                <c:pt idx="27">
                  <c:v>45158</c:v>
                </c:pt>
                <c:pt idx="28">
                  <c:v>45165</c:v>
                </c:pt>
                <c:pt idx="29">
                  <c:v>45172</c:v>
                </c:pt>
                <c:pt idx="30">
                  <c:v>45179</c:v>
                </c:pt>
                <c:pt idx="31">
                  <c:v>45186</c:v>
                </c:pt>
                <c:pt idx="32">
                  <c:v>45193</c:v>
                </c:pt>
                <c:pt idx="33">
                  <c:v>45200</c:v>
                </c:pt>
                <c:pt idx="34">
                  <c:v>45207</c:v>
                </c:pt>
                <c:pt idx="35">
                  <c:v>45214</c:v>
                </c:pt>
                <c:pt idx="36">
                  <c:v>45221</c:v>
                </c:pt>
                <c:pt idx="37">
                  <c:v>45228</c:v>
                </c:pt>
                <c:pt idx="38">
                  <c:v>45235</c:v>
                </c:pt>
                <c:pt idx="39">
                  <c:v>45242</c:v>
                </c:pt>
                <c:pt idx="40">
                  <c:v>45249</c:v>
                </c:pt>
                <c:pt idx="41">
                  <c:v>45256</c:v>
                </c:pt>
                <c:pt idx="42">
                  <c:v>45263</c:v>
                </c:pt>
                <c:pt idx="43">
                  <c:v>45270</c:v>
                </c:pt>
                <c:pt idx="44">
                  <c:v>45277</c:v>
                </c:pt>
                <c:pt idx="45">
                  <c:v>45284</c:v>
                </c:pt>
                <c:pt idx="46">
                  <c:v>45291</c:v>
                </c:pt>
                <c:pt idx="47">
                  <c:v>45298</c:v>
                </c:pt>
                <c:pt idx="48">
                  <c:v>45305</c:v>
                </c:pt>
                <c:pt idx="49">
                  <c:v>45312</c:v>
                </c:pt>
                <c:pt idx="50">
                  <c:v>45319</c:v>
                </c:pt>
                <c:pt idx="51">
                  <c:v>45326</c:v>
                </c:pt>
                <c:pt idx="52">
                  <c:v>45340</c:v>
                </c:pt>
                <c:pt idx="53">
                  <c:v>45347</c:v>
                </c:pt>
                <c:pt idx="54">
                  <c:v>45354</c:v>
                </c:pt>
                <c:pt idx="55">
                  <c:v>45368</c:v>
                </c:pt>
                <c:pt idx="56">
                  <c:v>45375</c:v>
                </c:pt>
                <c:pt idx="57">
                  <c:v>45522</c:v>
                </c:pt>
                <c:pt idx="58">
                  <c:v>45578</c:v>
                </c:pt>
                <c:pt idx="59">
                  <c:v>45585</c:v>
                </c:pt>
                <c:pt idx="60">
                  <c:v>45592</c:v>
                </c:pt>
                <c:pt idx="61">
                  <c:v>45599</c:v>
                </c:pt>
                <c:pt idx="62">
                  <c:v>45606</c:v>
                </c:pt>
                <c:pt idx="63">
                  <c:v>45613</c:v>
                </c:pt>
                <c:pt idx="64">
                  <c:v>45620</c:v>
                </c:pt>
                <c:pt idx="65">
                  <c:v>45627</c:v>
                </c:pt>
                <c:pt idx="66">
                  <c:v>45634</c:v>
                </c:pt>
                <c:pt idx="67">
                  <c:v>45641</c:v>
                </c:pt>
                <c:pt idx="68">
                  <c:v>45648</c:v>
                </c:pt>
                <c:pt idx="69">
                  <c:v>45655</c:v>
                </c:pt>
                <c:pt idx="70">
                  <c:v>45662</c:v>
                </c:pt>
                <c:pt idx="71">
                  <c:v>45669</c:v>
                </c:pt>
              </c:numCache>
            </c:numRef>
          </c:cat>
          <c:val>
            <c:numRef>
              <c:f>Sheet1!$D$2:$D$73</c:f>
              <c:numCache>
                <c:formatCode>General</c:formatCode>
                <c:ptCount val="72"/>
                <c:pt idx="0">
                  <c:v>403967</c:v>
                </c:pt>
                <c:pt idx="1">
                  <c:v>381072</c:v>
                </c:pt>
                <c:pt idx="2">
                  <c:v>364232</c:v>
                </c:pt>
                <c:pt idx="3">
                  <c:v>341612</c:v>
                </c:pt>
                <c:pt idx="4">
                  <c:v>354313</c:v>
                </c:pt>
                <c:pt idx="5">
                  <c:v>372459</c:v>
                </c:pt>
                <c:pt idx="6">
                  <c:v>361042</c:v>
                </c:pt>
                <c:pt idx="7">
                  <c:v>402496</c:v>
                </c:pt>
                <c:pt idx="8">
                  <c:v>412072</c:v>
                </c:pt>
                <c:pt idx="9">
                  <c:v>386843</c:v>
                </c:pt>
                <c:pt idx="10">
                  <c:v>371264</c:v>
                </c:pt>
                <c:pt idx="11">
                  <c:v>399450</c:v>
                </c:pt>
                <c:pt idx="12">
                  <c:v>355885</c:v>
                </c:pt>
                <c:pt idx="13">
                  <c:v>394556</c:v>
                </c:pt>
                <c:pt idx="14">
                  <c:v>360084</c:v>
                </c:pt>
                <c:pt idx="15">
                  <c:v>410730</c:v>
                </c:pt>
                <c:pt idx="16">
                  <c:v>361211</c:v>
                </c:pt>
                <c:pt idx="17">
                  <c:v>385166</c:v>
                </c:pt>
                <c:pt idx="18">
                  <c:v>361294</c:v>
                </c:pt>
                <c:pt idx="19">
                  <c:v>360435</c:v>
                </c:pt>
                <c:pt idx="20">
                  <c:v>386378</c:v>
                </c:pt>
                <c:pt idx="21">
                  <c:v>403977</c:v>
                </c:pt>
                <c:pt idx="22">
                  <c:v>414678</c:v>
                </c:pt>
                <c:pt idx="23">
                  <c:v>398051</c:v>
                </c:pt>
                <c:pt idx="24">
                  <c:v>388290</c:v>
                </c:pt>
                <c:pt idx="25">
                  <c:v>401634</c:v>
                </c:pt>
                <c:pt idx="26">
                  <c:v>406305</c:v>
                </c:pt>
                <c:pt idx="27">
                  <c:v>417708</c:v>
                </c:pt>
                <c:pt idx="28">
                  <c:v>404836</c:v>
                </c:pt>
                <c:pt idx="29">
                  <c:v>403556</c:v>
                </c:pt>
                <c:pt idx="30">
                  <c:v>405127</c:v>
                </c:pt>
                <c:pt idx="31">
                  <c:v>385327</c:v>
                </c:pt>
                <c:pt idx="32">
                  <c:v>379788</c:v>
                </c:pt>
                <c:pt idx="33">
                  <c:v>379616</c:v>
                </c:pt>
                <c:pt idx="34">
                  <c:v>406373</c:v>
                </c:pt>
                <c:pt idx="35">
                  <c:v>422425</c:v>
                </c:pt>
                <c:pt idx="36">
                  <c:v>416648</c:v>
                </c:pt>
                <c:pt idx="37">
                  <c:v>401171</c:v>
                </c:pt>
                <c:pt idx="38">
                  <c:v>418819</c:v>
                </c:pt>
                <c:pt idx="39">
                  <c:v>429875</c:v>
                </c:pt>
                <c:pt idx="40">
                  <c:v>418365</c:v>
                </c:pt>
                <c:pt idx="41">
                  <c:v>417832</c:v>
                </c:pt>
                <c:pt idx="42">
                  <c:v>462226</c:v>
                </c:pt>
                <c:pt idx="43">
                  <c:v>531959</c:v>
                </c:pt>
                <c:pt idx="44">
                  <c:v>535762</c:v>
                </c:pt>
                <c:pt idx="45">
                  <c:v>692362</c:v>
                </c:pt>
                <c:pt idx="46">
                  <c:v>640118</c:v>
                </c:pt>
                <c:pt idx="47">
                  <c:v>363082</c:v>
                </c:pt>
                <c:pt idx="48">
                  <c:v>325007</c:v>
                </c:pt>
                <c:pt idx="49">
                  <c:v>310700</c:v>
                </c:pt>
                <c:pt idx="50">
                  <c:v>333060</c:v>
                </c:pt>
                <c:pt idx="51">
                  <c:v>350292</c:v>
                </c:pt>
                <c:pt idx="52">
                  <c:v>329312</c:v>
                </c:pt>
                <c:pt idx="53">
                  <c:v>397560</c:v>
                </c:pt>
                <c:pt idx="54">
                  <c:v>371444</c:v>
                </c:pt>
                <c:pt idx="55">
                  <c:v>337845</c:v>
                </c:pt>
                <c:pt idx="56">
                  <c:v>380322</c:v>
                </c:pt>
                <c:pt idx="57">
                  <c:v>356631</c:v>
                </c:pt>
                <c:pt idx="58">
                  <c:v>352262</c:v>
                </c:pt>
                <c:pt idx="59">
                  <c:v>375994</c:v>
                </c:pt>
                <c:pt idx="60">
                  <c:v>368430</c:v>
                </c:pt>
                <c:pt idx="61">
                  <c:v>373368</c:v>
                </c:pt>
                <c:pt idx="62">
                  <c:v>392683</c:v>
                </c:pt>
                <c:pt idx="63">
                  <c:v>385428</c:v>
                </c:pt>
                <c:pt idx="64">
                  <c:v>391639</c:v>
                </c:pt>
                <c:pt idx="65">
                  <c:v>404466</c:v>
                </c:pt>
                <c:pt idx="66">
                  <c:v>482798</c:v>
                </c:pt>
                <c:pt idx="67">
                  <c:v>503247</c:v>
                </c:pt>
                <c:pt idx="68">
                  <c:v>564024</c:v>
                </c:pt>
                <c:pt idx="69">
                  <c:v>609075</c:v>
                </c:pt>
                <c:pt idx="70">
                  <c:v>334645</c:v>
                </c:pt>
                <c:pt idx="71">
                  <c:v>307732</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73</c:f>
              <c:numCache>
                <c:formatCode>yyyy\-mm\-dd</c:formatCode>
                <c:ptCount val="72"/>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51</c:v>
                </c:pt>
                <c:pt idx="27">
                  <c:v>45158</c:v>
                </c:pt>
                <c:pt idx="28">
                  <c:v>45165</c:v>
                </c:pt>
                <c:pt idx="29">
                  <c:v>45172</c:v>
                </c:pt>
                <c:pt idx="30">
                  <c:v>45179</c:v>
                </c:pt>
                <c:pt idx="31">
                  <c:v>45186</c:v>
                </c:pt>
                <c:pt idx="32">
                  <c:v>45193</c:v>
                </c:pt>
                <c:pt idx="33">
                  <c:v>45200</c:v>
                </c:pt>
                <c:pt idx="34">
                  <c:v>45207</c:v>
                </c:pt>
                <c:pt idx="35">
                  <c:v>45214</c:v>
                </c:pt>
                <c:pt idx="36">
                  <c:v>45221</c:v>
                </c:pt>
                <c:pt idx="37">
                  <c:v>45228</c:v>
                </c:pt>
                <c:pt idx="38">
                  <c:v>45235</c:v>
                </c:pt>
                <c:pt idx="39">
                  <c:v>45242</c:v>
                </c:pt>
                <c:pt idx="40">
                  <c:v>45249</c:v>
                </c:pt>
                <c:pt idx="41">
                  <c:v>45256</c:v>
                </c:pt>
                <c:pt idx="42">
                  <c:v>45263</c:v>
                </c:pt>
                <c:pt idx="43">
                  <c:v>45270</c:v>
                </c:pt>
                <c:pt idx="44">
                  <c:v>45277</c:v>
                </c:pt>
                <c:pt idx="45">
                  <c:v>45284</c:v>
                </c:pt>
                <c:pt idx="46">
                  <c:v>45291</c:v>
                </c:pt>
                <c:pt idx="47">
                  <c:v>45298</c:v>
                </c:pt>
                <c:pt idx="48">
                  <c:v>45305</c:v>
                </c:pt>
                <c:pt idx="49">
                  <c:v>45312</c:v>
                </c:pt>
                <c:pt idx="50">
                  <c:v>45319</c:v>
                </c:pt>
                <c:pt idx="51">
                  <c:v>45326</c:v>
                </c:pt>
                <c:pt idx="52">
                  <c:v>45340</c:v>
                </c:pt>
                <c:pt idx="53">
                  <c:v>45347</c:v>
                </c:pt>
                <c:pt idx="54">
                  <c:v>45354</c:v>
                </c:pt>
                <c:pt idx="55">
                  <c:v>45368</c:v>
                </c:pt>
                <c:pt idx="56">
                  <c:v>45375</c:v>
                </c:pt>
                <c:pt idx="57">
                  <c:v>45522</c:v>
                </c:pt>
                <c:pt idx="58">
                  <c:v>45578</c:v>
                </c:pt>
                <c:pt idx="59">
                  <c:v>45585</c:v>
                </c:pt>
                <c:pt idx="60">
                  <c:v>45592</c:v>
                </c:pt>
                <c:pt idx="61">
                  <c:v>45599</c:v>
                </c:pt>
                <c:pt idx="62">
                  <c:v>45606</c:v>
                </c:pt>
                <c:pt idx="63">
                  <c:v>45613</c:v>
                </c:pt>
                <c:pt idx="64">
                  <c:v>45620</c:v>
                </c:pt>
                <c:pt idx="65">
                  <c:v>45627</c:v>
                </c:pt>
                <c:pt idx="66">
                  <c:v>45634</c:v>
                </c:pt>
                <c:pt idx="67">
                  <c:v>45641</c:v>
                </c:pt>
                <c:pt idx="68">
                  <c:v>45648</c:v>
                </c:pt>
                <c:pt idx="69">
                  <c:v>45655</c:v>
                </c:pt>
                <c:pt idx="70">
                  <c:v>45662</c:v>
                </c:pt>
                <c:pt idx="71">
                  <c:v>45669</c:v>
                </c:pt>
              </c:numCache>
            </c:numRef>
          </c:cat>
          <c:val>
            <c:numRef>
              <c:f>Sheet1!$E$2:$E$73</c:f>
              <c:numCache>
                <c:formatCode>General</c:formatCode>
                <c:ptCount val="72"/>
                <c:pt idx="0">
                  <c:v>362894</c:v>
                </c:pt>
                <c:pt idx="1">
                  <c:v>361146</c:v>
                </c:pt>
                <c:pt idx="2">
                  <c:v>362588</c:v>
                </c:pt>
                <c:pt idx="3">
                  <c:v>362573</c:v>
                </c:pt>
                <c:pt idx="4">
                  <c:v>366115</c:v>
                </c:pt>
                <c:pt idx="5">
                  <c:v>368718</c:v>
                </c:pt>
                <c:pt idx="6">
                  <c:v>371051</c:v>
                </c:pt>
                <c:pt idx="7">
                  <c:v>373266</c:v>
                </c:pt>
                <c:pt idx="8">
                  <c:v>380648</c:v>
                </c:pt>
                <c:pt idx="9">
                  <c:v>382046</c:v>
                </c:pt>
                <c:pt idx="10">
                  <c:v>383316</c:v>
                </c:pt>
                <c:pt idx="11">
                  <c:v>382878</c:v>
                </c:pt>
                <c:pt idx="12">
                  <c:v>384417</c:v>
                </c:pt>
                <c:pt idx="13">
                  <c:v>378897</c:v>
                </c:pt>
                <c:pt idx="14">
                  <c:v>378211</c:v>
                </c:pt>
                <c:pt idx="15">
                  <c:v>377665</c:v>
                </c:pt>
                <c:pt idx="16">
                  <c:v>373011</c:v>
                </c:pt>
                <c:pt idx="17">
                  <c:v>376391</c:v>
                </c:pt>
                <c:pt idx="18">
                  <c:v>378072</c:v>
                </c:pt>
                <c:pt idx="19">
                  <c:v>384817</c:v>
                </c:pt>
                <c:pt idx="20">
                  <c:v>383952</c:v>
                </c:pt>
                <c:pt idx="21">
                  <c:v>387411</c:v>
                </c:pt>
                <c:pt idx="22">
                  <c:v>389649</c:v>
                </c:pt>
                <c:pt idx="23">
                  <c:v>396288</c:v>
                </c:pt>
                <c:pt idx="24">
                  <c:v>401602</c:v>
                </c:pt>
                <c:pt idx="25">
                  <c:v>406204</c:v>
                </c:pt>
                <c:pt idx="26">
                  <c:v>411809</c:v>
                </c:pt>
                <c:pt idx="27">
                  <c:v>412686</c:v>
                </c:pt>
                <c:pt idx="28">
                  <c:v>406996</c:v>
                </c:pt>
                <c:pt idx="29">
                  <c:v>417401</c:v>
                </c:pt>
                <c:pt idx="30">
                  <c:v>416061</c:v>
                </c:pt>
                <c:pt idx="31">
                  <c:v>414782</c:v>
                </c:pt>
                <c:pt idx="32">
                  <c:v>411755</c:v>
                </c:pt>
                <c:pt idx="33">
                  <c:v>413016</c:v>
                </c:pt>
                <c:pt idx="34">
                  <c:v>416328</c:v>
                </c:pt>
                <c:pt idx="35">
                  <c:v>438091</c:v>
                </c:pt>
                <c:pt idx="36">
                  <c:v>441951</c:v>
                </c:pt>
                <c:pt idx="37">
                  <c:v>414356</c:v>
                </c:pt>
                <c:pt idx="38">
                  <c:v>392212</c:v>
                </c:pt>
                <c:pt idx="39">
                  <c:v>400563</c:v>
                </c:pt>
                <c:pt idx="40">
                  <c:v>423884</c:v>
                </c:pt>
                <c:pt idx="41">
                  <c:v>420826</c:v>
                </c:pt>
                <c:pt idx="42">
                  <c:v>424211</c:v>
                </c:pt>
                <c:pt idx="43">
                  <c:v>413057</c:v>
                </c:pt>
                <c:pt idx="44">
                  <c:v>406338</c:v>
                </c:pt>
                <c:pt idx="45">
                  <c:v>400718</c:v>
                </c:pt>
                <c:pt idx="46">
                  <c:v>406305</c:v>
                </c:pt>
                <c:pt idx="47">
                  <c:v>381286</c:v>
                </c:pt>
                <c:pt idx="48">
                  <c:v>371543</c:v>
                </c:pt>
                <c:pt idx="49">
                  <c:v>352312</c:v>
                </c:pt>
                <c:pt idx="50">
                  <c:v>332879</c:v>
                </c:pt>
                <c:pt idx="51">
                  <c:v>340699</c:v>
                </c:pt>
                <c:pt idx="52">
                  <c:v>347835</c:v>
                </c:pt>
                <c:pt idx="53">
                  <c:v>352936</c:v>
                </c:pt>
                <c:pt idx="54">
                  <c:v>358254</c:v>
                </c:pt>
                <c:pt idx="55">
                  <c:v>362247</c:v>
                </c:pt>
                <c:pt idx="56">
                  <c:v>364643</c:v>
                </c:pt>
                <c:pt idx="57">
                  <c:v>355365</c:v>
                </c:pt>
                <c:pt idx="58">
                  <c:v>356313</c:v>
                </c:pt>
                <c:pt idx="59">
                  <c:v>360367</c:v>
                </c:pt>
                <c:pt idx="60">
                  <c:v>363217</c:v>
                </c:pt>
                <c:pt idx="61">
                  <c:v>368198</c:v>
                </c:pt>
                <c:pt idx="62">
                  <c:v>361131</c:v>
                </c:pt>
                <c:pt idx="63">
                  <c:v>368404</c:v>
                </c:pt>
                <c:pt idx="64">
                  <c:v>370638</c:v>
                </c:pt>
                <c:pt idx="65">
                  <c:v>369749</c:v>
                </c:pt>
                <c:pt idx="66">
                  <c:v>372948</c:v>
                </c:pt>
                <c:pt idx="67">
                  <c:v>344818</c:v>
                </c:pt>
                <c:pt idx="68">
                  <c:v>334292</c:v>
                </c:pt>
                <c:pt idx="69">
                  <c:v>332007</c:v>
                </c:pt>
                <c:pt idx="70">
                  <c:v>338398</c:v>
                </c:pt>
                <c:pt idx="71">
                  <c:v>325933</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73</c:f>
              <c:numCache>
                <c:formatCode>yyyy\-mm\-dd</c:formatCode>
                <c:ptCount val="72"/>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51</c:v>
                </c:pt>
                <c:pt idx="27">
                  <c:v>45158</c:v>
                </c:pt>
                <c:pt idx="28">
                  <c:v>45165</c:v>
                </c:pt>
                <c:pt idx="29">
                  <c:v>45172</c:v>
                </c:pt>
                <c:pt idx="30">
                  <c:v>45179</c:v>
                </c:pt>
                <c:pt idx="31">
                  <c:v>45186</c:v>
                </c:pt>
                <c:pt idx="32">
                  <c:v>45193</c:v>
                </c:pt>
                <c:pt idx="33">
                  <c:v>45200</c:v>
                </c:pt>
                <c:pt idx="34">
                  <c:v>45207</c:v>
                </c:pt>
                <c:pt idx="35">
                  <c:v>45214</c:v>
                </c:pt>
                <c:pt idx="36">
                  <c:v>45221</c:v>
                </c:pt>
                <c:pt idx="37">
                  <c:v>45228</c:v>
                </c:pt>
                <c:pt idx="38">
                  <c:v>45235</c:v>
                </c:pt>
                <c:pt idx="39">
                  <c:v>45242</c:v>
                </c:pt>
                <c:pt idx="40">
                  <c:v>45249</c:v>
                </c:pt>
                <c:pt idx="41">
                  <c:v>45256</c:v>
                </c:pt>
                <c:pt idx="42">
                  <c:v>45263</c:v>
                </c:pt>
                <c:pt idx="43">
                  <c:v>45270</c:v>
                </c:pt>
                <c:pt idx="44">
                  <c:v>45277</c:v>
                </c:pt>
                <c:pt idx="45">
                  <c:v>45284</c:v>
                </c:pt>
                <c:pt idx="46">
                  <c:v>45291</c:v>
                </c:pt>
                <c:pt idx="47">
                  <c:v>45298</c:v>
                </c:pt>
                <c:pt idx="48">
                  <c:v>45305</c:v>
                </c:pt>
                <c:pt idx="49">
                  <c:v>45312</c:v>
                </c:pt>
                <c:pt idx="50">
                  <c:v>45319</c:v>
                </c:pt>
                <c:pt idx="51">
                  <c:v>45326</c:v>
                </c:pt>
                <c:pt idx="52">
                  <c:v>45340</c:v>
                </c:pt>
                <c:pt idx="53">
                  <c:v>45347</c:v>
                </c:pt>
                <c:pt idx="54">
                  <c:v>45354</c:v>
                </c:pt>
                <c:pt idx="55">
                  <c:v>45368</c:v>
                </c:pt>
                <c:pt idx="56">
                  <c:v>45375</c:v>
                </c:pt>
                <c:pt idx="57">
                  <c:v>45522</c:v>
                </c:pt>
                <c:pt idx="58">
                  <c:v>45578</c:v>
                </c:pt>
                <c:pt idx="59">
                  <c:v>45585</c:v>
                </c:pt>
                <c:pt idx="60">
                  <c:v>45592</c:v>
                </c:pt>
                <c:pt idx="61">
                  <c:v>45599</c:v>
                </c:pt>
                <c:pt idx="62">
                  <c:v>45606</c:v>
                </c:pt>
                <c:pt idx="63">
                  <c:v>45613</c:v>
                </c:pt>
                <c:pt idx="64">
                  <c:v>45620</c:v>
                </c:pt>
                <c:pt idx="65">
                  <c:v>45627</c:v>
                </c:pt>
                <c:pt idx="66">
                  <c:v>45634</c:v>
                </c:pt>
                <c:pt idx="67">
                  <c:v>45641</c:v>
                </c:pt>
                <c:pt idx="68">
                  <c:v>45648</c:v>
                </c:pt>
                <c:pt idx="69">
                  <c:v>45655</c:v>
                </c:pt>
                <c:pt idx="70">
                  <c:v>45662</c:v>
                </c:pt>
                <c:pt idx="71">
                  <c:v>45669</c:v>
                </c:pt>
              </c:numCache>
            </c:numRef>
          </c:cat>
          <c:val>
            <c:numRef>
              <c:f>Sheet1!$F$2:$F$73</c:f>
              <c:numCache>
                <c:formatCode>General</c:formatCode>
                <c:ptCount val="72"/>
                <c:pt idx="0">
                  <c:v>0.15</c:v>
                </c:pt>
                <c:pt idx="1">
                  <c:v>0.11</c:v>
                </c:pt>
                <c:pt idx="2">
                  <c:v>0.09</c:v>
                </c:pt>
                <c:pt idx="3">
                  <c:v>7.0000000000000007E-2</c:v>
                </c:pt>
                <c:pt idx="4">
                  <c:v>7.0000000000000007E-2</c:v>
                </c:pt>
                <c:pt idx="5">
                  <c:v>0.08</c:v>
                </c:pt>
                <c:pt idx="6">
                  <c:v>0.1</c:v>
                </c:pt>
                <c:pt idx="7">
                  <c:v>0.18</c:v>
                </c:pt>
                <c:pt idx="8">
                  <c:v>0.15</c:v>
                </c:pt>
                <c:pt idx="9">
                  <c:v>0.14000000000000001</c:v>
                </c:pt>
                <c:pt idx="10">
                  <c:v>0.15</c:v>
                </c:pt>
                <c:pt idx="11">
                  <c:v>0.18</c:v>
                </c:pt>
                <c:pt idx="12">
                  <c:v>0.01</c:v>
                </c:pt>
                <c:pt idx="13">
                  <c:v>0.09</c:v>
                </c:pt>
                <c:pt idx="14">
                  <c:v>0.15</c:v>
                </c:pt>
                <c:pt idx="15">
                  <c:v>0.12</c:v>
                </c:pt>
                <c:pt idx="16">
                  <c:v>0.02</c:v>
                </c:pt>
                <c:pt idx="17">
                  <c:v>0.01</c:v>
                </c:pt>
                <c:pt idx="18">
                  <c:v>0.01</c:v>
                </c:pt>
                <c:pt idx="19">
                  <c:v>0</c:v>
                </c:pt>
                <c:pt idx="20">
                  <c:v>0</c:v>
                </c:pt>
                <c:pt idx="21">
                  <c:v>0</c:v>
                </c:pt>
                <c:pt idx="22">
                  <c:v>0</c:v>
                </c:pt>
                <c:pt idx="23">
                  <c:v>0</c:v>
                </c:pt>
                <c:pt idx="24">
                  <c:v>0.01</c:v>
                </c:pt>
                <c:pt idx="25">
                  <c:v>0.01</c:v>
                </c:pt>
                <c:pt idx="26">
                  <c:v>0.4</c:v>
                </c:pt>
                <c:pt idx="27">
                  <c:v>0.92</c:v>
                </c:pt>
                <c:pt idx="28">
                  <c:v>0.95</c:v>
                </c:pt>
                <c:pt idx="29">
                  <c:v>0.96</c:v>
                </c:pt>
                <c:pt idx="30">
                  <c:v>0.96</c:v>
                </c:pt>
                <c:pt idx="31">
                  <c:v>0.96</c:v>
                </c:pt>
                <c:pt idx="32">
                  <c:v>0.95</c:v>
                </c:pt>
                <c:pt idx="33">
                  <c:v>0.94</c:v>
                </c:pt>
                <c:pt idx="34">
                  <c:v>0.93</c:v>
                </c:pt>
                <c:pt idx="35">
                  <c:v>0.92</c:v>
                </c:pt>
                <c:pt idx="36">
                  <c:v>0.92</c:v>
                </c:pt>
                <c:pt idx="37">
                  <c:v>0.91</c:v>
                </c:pt>
                <c:pt idx="38">
                  <c:v>0.05</c:v>
                </c:pt>
                <c:pt idx="39">
                  <c:v>0.06</c:v>
                </c:pt>
                <c:pt idx="40">
                  <c:v>0.09</c:v>
                </c:pt>
                <c:pt idx="41">
                  <c:v>0.13</c:v>
                </c:pt>
                <c:pt idx="42">
                  <c:v>0.15</c:v>
                </c:pt>
                <c:pt idx="43">
                  <c:v>0.24</c:v>
                </c:pt>
                <c:pt idx="44">
                  <c:v>0.22</c:v>
                </c:pt>
                <c:pt idx="45">
                  <c:v>0.3</c:v>
                </c:pt>
                <c:pt idx="46">
                  <c:v>0.5</c:v>
                </c:pt>
                <c:pt idx="47">
                  <c:v>0.03</c:v>
                </c:pt>
                <c:pt idx="48">
                  <c:v>0.06</c:v>
                </c:pt>
                <c:pt idx="49">
                  <c:v>0.03</c:v>
                </c:pt>
                <c:pt idx="50">
                  <c:v>0.01</c:v>
                </c:pt>
                <c:pt idx="51">
                  <c:v>0.01</c:v>
                </c:pt>
                <c:pt idx="52">
                  <c:v>0.1</c:v>
                </c:pt>
                <c:pt idx="53">
                  <c:v>0.3</c:v>
                </c:pt>
                <c:pt idx="54">
                  <c:v>0.11</c:v>
                </c:pt>
                <c:pt idx="55">
                  <c:v>0</c:v>
                </c:pt>
                <c:pt idx="56">
                  <c:v>0.31</c:v>
                </c:pt>
                <c:pt idx="57">
                  <c:v>0</c:v>
                </c:pt>
                <c:pt idx="58">
                  <c:v>0.24</c:v>
                </c:pt>
                <c:pt idx="59">
                  <c:v>0.28999999999999998</c:v>
                </c:pt>
                <c:pt idx="60">
                  <c:v>0.19</c:v>
                </c:pt>
                <c:pt idx="61">
                  <c:v>0.08</c:v>
                </c:pt>
                <c:pt idx="62">
                  <c:v>0.1</c:v>
                </c:pt>
                <c:pt idx="63">
                  <c:v>0.12</c:v>
                </c:pt>
                <c:pt idx="64">
                  <c:v>0.14000000000000001</c:v>
                </c:pt>
                <c:pt idx="65">
                  <c:v>0.32</c:v>
                </c:pt>
                <c:pt idx="66">
                  <c:v>0.41</c:v>
                </c:pt>
                <c:pt idx="67">
                  <c:v>0.33</c:v>
                </c:pt>
                <c:pt idx="68">
                  <c:v>0.3</c:v>
                </c:pt>
                <c:pt idx="69">
                  <c:v>0.52</c:v>
                </c:pt>
                <c:pt idx="70">
                  <c:v>0.02</c:v>
                </c:pt>
                <c:pt idx="71">
                  <c:v>0.0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85</c:f>
              <c:numCache>
                <c:formatCode>yyyy\-mm\-dd</c:formatCode>
                <c:ptCount val="84"/>
                <c:pt idx="0">
                  <c:v>44934</c:v>
                </c:pt>
                <c:pt idx="1">
                  <c:v>44941</c:v>
                </c:pt>
                <c:pt idx="2">
                  <c:v>44948</c:v>
                </c:pt>
                <c:pt idx="3">
                  <c:v>44955</c:v>
                </c:pt>
                <c:pt idx="4">
                  <c:v>44997</c:v>
                </c:pt>
                <c:pt idx="5">
                  <c:v>45004</c:v>
                </c:pt>
                <c:pt idx="6">
                  <c:v>45011</c:v>
                </c:pt>
                <c:pt idx="7">
                  <c:v>45018</c:v>
                </c:pt>
                <c:pt idx="8">
                  <c:v>45025</c:v>
                </c:pt>
                <c:pt idx="9">
                  <c:v>45032</c:v>
                </c:pt>
                <c:pt idx="10">
                  <c:v>45039</c:v>
                </c:pt>
                <c:pt idx="11">
                  <c:v>45046</c:v>
                </c:pt>
                <c:pt idx="12">
                  <c:v>45067</c:v>
                </c:pt>
                <c:pt idx="13">
                  <c:v>45074</c:v>
                </c:pt>
                <c:pt idx="14">
                  <c:v>45081</c:v>
                </c:pt>
                <c:pt idx="15">
                  <c:v>45088</c:v>
                </c:pt>
                <c:pt idx="16">
                  <c:v>45095</c:v>
                </c:pt>
                <c:pt idx="17">
                  <c:v>45102</c:v>
                </c:pt>
                <c:pt idx="18">
                  <c:v>45109</c:v>
                </c:pt>
                <c:pt idx="19">
                  <c:v>45116</c:v>
                </c:pt>
                <c:pt idx="20">
                  <c:v>45123</c:v>
                </c:pt>
                <c:pt idx="21">
                  <c:v>45165</c:v>
                </c:pt>
                <c:pt idx="22">
                  <c:v>45172</c:v>
                </c:pt>
                <c:pt idx="23">
                  <c:v>45179</c:v>
                </c:pt>
                <c:pt idx="24">
                  <c:v>45186</c:v>
                </c:pt>
                <c:pt idx="25">
                  <c:v>45221</c:v>
                </c:pt>
                <c:pt idx="26">
                  <c:v>45228</c:v>
                </c:pt>
                <c:pt idx="27">
                  <c:v>45235</c:v>
                </c:pt>
                <c:pt idx="28">
                  <c:v>45242</c:v>
                </c:pt>
                <c:pt idx="29">
                  <c:v>45249</c:v>
                </c:pt>
                <c:pt idx="30">
                  <c:v>45256</c:v>
                </c:pt>
                <c:pt idx="31">
                  <c:v>45263</c:v>
                </c:pt>
                <c:pt idx="32">
                  <c:v>45270</c:v>
                </c:pt>
                <c:pt idx="33">
                  <c:v>45277</c:v>
                </c:pt>
                <c:pt idx="34">
                  <c:v>45284</c:v>
                </c:pt>
                <c:pt idx="35">
                  <c:v>45291</c:v>
                </c:pt>
                <c:pt idx="36">
                  <c:v>45298</c:v>
                </c:pt>
                <c:pt idx="37">
                  <c:v>45305</c:v>
                </c:pt>
                <c:pt idx="38">
                  <c:v>45312</c:v>
                </c:pt>
                <c:pt idx="39">
                  <c:v>45319</c:v>
                </c:pt>
                <c:pt idx="40">
                  <c:v>45354</c:v>
                </c:pt>
                <c:pt idx="41">
                  <c:v>45361</c:v>
                </c:pt>
                <c:pt idx="42">
                  <c:v>45368</c:v>
                </c:pt>
                <c:pt idx="43">
                  <c:v>45375</c:v>
                </c:pt>
                <c:pt idx="44">
                  <c:v>45389</c:v>
                </c:pt>
                <c:pt idx="45">
                  <c:v>45396</c:v>
                </c:pt>
                <c:pt idx="46">
                  <c:v>45403</c:v>
                </c:pt>
                <c:pt idx="47">
                  <c:v>45410</c:v>
                </c:pt>
                <c:pt idx="48">
                  <c:v>45417</c:v>
                </c:pt>
                <c:pt idx="49">
                  <c:v>45424</c:v>
                </c:pt>
                <c:pt idx="50">
                  <c:v>45431</c:v>
                </c:pt>
                <c:pt idx="51">
                  <c:v>45438</c:v>
                </c:pt>
                <c:pt idx="52">
                  <c:v>45445</c:v>
                </c:pt>
                <c:pt idx="53">
                  <c:v>45452</c:v>
                </c:pt>
                <c:pt idx="54">
                  <c:v>45459</c:v>
                </c:pt>
                <c:pt idx="55">
                  <c:v>45466</c:v>
                </c:pt>
                <c:pt idx="56">
                  <c:v>45473</c:v>
                </c:pt>
                <c:pt idx="57">
                  <c:v>45480</c:v>
                </c:pt>
                <c:pt idx="58">
                  <c:v>45487</c:v>
                </c:pt>
                <c:pt idx="59">
                  <c:v>45508</c:v>
                </c:pt>
                <c:pt idx="60">
                  <c:v>45515</c:v>
                </c:pt>
                <c:pt idx="61">
                  <c:v>45522</c:v>
                </c:pt>
                <c:pt idx="62">
                  <c:v>45529</c:v>
                </c:pt>
                <c:pt idx="63">
                  <c:v>45536</c:v>
                </c:pt>
                <c:pt idx="64">
                  <c:v>45543</c:v>
                </c:pt>
                <c:pt idx="65">
                  <c:v>45550</c:v>
                </c:pt>
                <c:pt idx="66">
                  <c:v>45557</c:v>
                </c:pt>
                <c:pt idx="67">
                  <c:v>45564</c:v>
                </c:pt>
                <c:pt idx="68">
                  <c:v>45578</c:v>
                </c:pt>
                <c:pt idx="69">
                  <c:v>45585</c:v>
                </c:pt>
                <c:pt idx="70">
                  <c:v>45592</c:v>
                </c:pt>
                <c:pt idx="71">
                  <c:v>45599</c:v>
                </c:pt>
                <c:pt idx="72">
                  <c:v>45606</c:v>
                </c:pt>
                <c:pt idx="73">
                  <c:v>45613</c:v>
                </c:pt>
                <c:pt idx="74">
                  <c:v>45620</c:v>
                </c:pt>
                <c:pt idx="75">
                  <c:v>45627</c:v>
                </c:pt>
                <c:pt idx="76">
                  <c:v>45634</c:v>
                </c:pt>
                <c:pt idx="77">
                  <c:v>45641</c:v>
                </c:pt>
                <c:pt idx="78">
                  <c:v>45648</c:v>
                </c:pt>
                <c:pt idx="79">
                  <c:v>45655</c:v>
                </c:pt>
                <c:pt idx="80">
                  <c:v>45662</c:v>
                </c:pt>
                <c:pt idx="81">
                  <c:v>45669</c:v>
                </c:pt>
                <c:pt idx="82">
                  <c:v>45676</c:v>
                </c:pt>
                <c:pt idx="83">
                  <c:v>45683</c:v>
                </c:pt>
              </c:numCache>
            </c:numRef>
          </c:cat>
          <c:val>
            <c:numRef>
              <c:f>Sheet1!$B$2:$B$85</c:f>
              <c:numCache>
                <c:formatCode>General</c:formatCode>
                <c:ptCount val="84"/>
                <c:pt idx="0">
                  <c:v>73775</c:v>
                </c:pt>
                <c:pt idx="1">
                  <c:v>31097</c:v>
                </c:pt>
                <c:pt idx="2">
                  <c:v>27142</c:v>
                </c:pt>
                <c:pt idx="3">
                  <c:v>70632</c:v>
                </c:pt>
                <c:pt idx="4">
                  <c:v>79241</c:v>
                </c:pt>
                <c:pt idx="5">
                  <c:v>113982</c:v>
                </c:pt>
                <c:pt idx="6">
                  <c:v>89719</c:v>
                </c:pt>
                <c:pt idx="7">
                  <c:v>87998</c:v>
                </c:pt>
                <c:pt idx="8">
                  <c:v>77629</c:v>
                </c:pt>
                <c:pt idx="9">
                  <c:v>83787</c:v>
                </c:pt>
                <c:pt idx="10">
                  <c:v>99665</c:v>
                </c:pt>
                <c:pt idx="11">
                  <c:v>2798</c:v>
                </c:pt>
                <c:pt idx="12">
                  <c:v>70056</c:v>
                </c:pt>
                <c:pt idx="13">
                  <c:v>80589</c:v>
                </c:pt>
                <c:pt idx="14">
                  <c:v>282388</c:v>
                </c:pt>
                <c:pt idx="15">
                  <c:v>338683</c:v>
                </c:pt>
                <c:pt idx="16">
                  <c:v>341952</c:v>
                </c:pt>
                <c:pt idx="17">
                  <c:v>339879</c:v>
                </c:pt>
                <c:pt idx="18">
                  <c:v>340173</c:v>
                </c:pt>
                <c:pt idx="19">
                  <c:v>77321</c:v>
                </c:pt>
                <c:pt idx="20">
                  <c:v>65370</c:v>
                </c:pt>
                <c:pt idx="21">
                  <c:v>97781</c:v>
                </c:pt>
                <c:pt idx="22">
                  <c:v>73785</c:v>
                </c:pt>
                <c:pt idx="23">
                  <c:v>96929</c:v>
                </c:pt>
                <c:pt idx="24">
                  <c:v>63263</c:v>
                </c:pt>
                <c:pt idx="25">
                  <c:v>87075</c:v>
                </c:pt>
                <c:pt idx="26">
                  <c:v>98473</c:v>
                </c:pt>
                <c:pt idx="27">
                  <c:v>79184</c:v>
                </c:pt>
                <c:pt idx="28">
                  <c:v>347453</c:v>
                </c:pt>
                <c:pt idx="29">
                  <c:v>324416</c:v>
                </c:pt>
                <c:pt idx="30">
                  <c:v>288148</c:v>
                </c:pt>
                <c:pt idx="31">
                  <c:v>87121</c:v>
                </c:pt>
                <c:pt idx="32">
                  <c:v>67580</c:v>
                </c:pt>
                <c:pt idx="33">
                  <c:v>66161</c:v>
                </c:pt>
                <c:pt idx="34">
                  <c:v>99697</c:v>
                </c:pt>
                <c:pt idx="35">
                  <c:v>251809</c:v>
                </c:pt>
                <c:pt idx="36">
                  <c:v>322017</c:v>
                </c:pt>
                <c:pt idx="37">
                  <c:v>336233</c:v>
                </c:pt>
                <c:pt idx="38">
                  <c:v>310381</c:v>
                </c:pt>
                <c:pt idx="39">
                  <c:v>293721</c:v>
                </c:pt>
                <c:pt idx="40">
                  <c:v>77042</c:v>
                </c:pt>
                <c:pt idx="41">
                  <c:v>99260</c:v>
                </c:pt>
                <c:pt idx="42">
                  <c:v>71859</c:v>
                </c:pt>
                <c:pt idx="43">
                  <c:v>24823</c:v>
                </c:pt>
                <c:pt idx="44">
                  <c:v>84114</c:v>
                </c:pt>
                <c:pt idx="45">
                  <c:v>183068</c:v>
                </c:pt>
                <c:pt idx="46">
                  <c:v>171571</c:v>
                </c:pt>
                <c:pt idx="47">
                  <c:v>103565</c:v>
                </c:pt>
                <c:pt idx="48">
                  <c:v>53963</c:v>
                </c:pt>
                <c:pt idx="49">
                  <c:v>36041</c:v>
                </c:pt>
                <c:pt idx="50">
                  <c:v>61765</c:v>
                </c:pt>
                <c:pt idx="51">
                  <c:v>51951</c:v>
                </c:pt>
                <c:pt idx="52">
                  <c:v>193824</c:v>
                </c:pt>
                <c:pt idx="53">
                  <c:v>238147</c:v>
                </c:pt>
                <c:pt idx="54">
                  <c:v>236587</c:v>
                </c:pt>
                <c:pt idx="55">
                  <c:v>230302</c:v>
                </c:pt>
                <c:pt idx="56">
                  <c:v>228001</c:v>
                </c:pt>
                <c:pt idx="57">
                  <c:v>227491</c:v>
                </c:pt>
                <c:pt idx="58">
                  <c:v>26235</c:v>
                </c:pt>
                <c:pt idx="59">
                  <c:v>49312</c:v>
                </c:pt>
                <c:pt idx="60">
                  <c:v>56189</c:v>
                </c:pt>
                <c:pt idx="61">
                  <c:v>61690</c:v>
                </c:pt>
                <c:pt idx="62">
                  <c:v>54826</c:v>
                </c:pt>
                <c:pt idx="63">
                  <c:v>13618</c:v>
                </c:pt>
                <c:pt idx="64">
                  <c:v>14642</c:v>
                </c:pt>
                <c:pt idx="65">
                  <c:v>13438</c:v>
                </c:pt>
                <c:pt idx="66">
                  <c:v>14607</c:v>
                </c:pt>
                <c:pt idx="67">
                  <c:v>15617</c:v>
                </c:pt>
                <c:pt idx="68">
                  <c:v>910</c:v>
                </c:pt>
                <c:pt idx="69">
                  <c:v>46520</c:v>
                </c:pt>
                <c:pt idx="70">
                  <c:v>54916</c:v>
                </c:pt>
                <c:pt idx="71">
                  <c:v>247717</c:v>
                </c:pt>
                <c:pt idx="72">
                  <c:v>259457</c:v>
                </c:pt>
                <c:pt idx="73">
                  <c:v>248536</c:v>
                </c:pt>
                <c:pt idx="74">
                  <c:v>241752</c:v>
                </c:pt>
                <c:pt idx="75">
                  <c:v>221995</c:v>
                </c:pt>
                <c:pt idx="76">
                  <c:v>189946</c:v>
                </c:pt>
                <c:pt idx="77">
                  <c:v>56512</c:v>
                </c:pt>
                <c:pt idx="78">
                  <c:v>76181</c:v>
                </c:pt>
                <c:pt idx="79">
                  <c:v>65321</c:v>
                </c:pt>
                <c:pt idx="80">
                  <c:v>201725</c:v>
                </c:pt>
                <c:pt idx="81">
                  <c:v>281643</c:v>
                </c:pt>
                <c:pt idx="82">
                  <c:v>297071</c:v>
                </c:pt>
                <c:pt idx="83">
                  <c:v>269481</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85</c:f>
              <c:numCache>
                <c:formatCode>yyyy\-mm\-dd</c:formatCode>
                <c:ptCount val="84"/>
                <c:pt idx="0">
                  <c:v>44934</c:v>
                </c:pt>
                <c:pt idx="1">
                  <c:v>44941</c:v>
                </c:pt>
                <c:pt idx="2">
                  <c:v>44948</c:v>
                </c:pt>
                <c:pt idx="3">
                  <c:v>44955</c:v>
                </c:pt>
                <c:pt idx="4">
                  <c:v>44997</c:v>
                </c:pt>
                <c:pt idx="5">
                  <c:v>45004</c:v>
                </c:pt>
                <c:pt idx="6">
                  <c:v>45011</c:v>
                </c:pt>
                <c:pt idx="7">
                  <c:v>45018</c:v>
                </c:pt>
                <c:pt idx="8">
                  <c:v>45025</c:v>
                </c:pt>
                <c:pt idx="9">
                  <c:v>45032</c:v>
                </c:pt>
                <c:pt idx="10">
                  <c:v>45039</c:v>
                </c:pt>
                <c:pt idx="11">
                  <c:v>45046</c:v>
                </c:pt>
                <c:pt idx="12">
                  <c:v>45067</c:v>
                </c:pt>
                <c:pt idx="13">
                  <c:v>45074</c:v>
                </c:pt>
                <c:pt idx="14">
                  <c:v>45081</c:v>
                </c:pt>
                <c:pt idx="15">
                  <c:v>45088</c:v>
                </c:pt>
                <c:pt idx="16">
                  <c:v>45095</c:v>
                </c:pt>
                <c:pt idx="17">
                  <c:v>45102</c:v>
                </c:pt>
                <c:pt idx="18">
                  <c:v>45109</c:v>
                </c:pt>
                <c:pt idx="19">
                  <c:v>45116</c:v>
                </c:pt>
                <c:pt idx="20">
                  <c:v>45123</c:v>
                </c:pt>
                <c:pt idx="21">
                  <c:v>45165</c:v>
                </c:pt>
                <c:pt idx="22">
                  <c:v>45172</c:v>
                </c:pt>
                <c:pt idx="23">
                  <c:v>45179</c:v>
                </c:pt>
                <c:pt idx="24">
                  <c:v>45186</c:v>
                </c:pt>
                <c:pt idx="25">
                  <c:v>45221</c:v>
                </c:pt>
                <c:pt idx="26">
                  <c:v>45228</c:v>
                </c:pt>
                <c:pt idx="27">
                  <c:v>45235</c:v>
                </c:pt>
                <c:pt idx="28">
                  <c:v>45242</c:v>
                </c:pt>
                <c:pt idx="29">
                  <c:v>45249</c:v>
                </c:pt>
                <c:pt idx="30">
                  <c:v>45256</c:v>
                </c:pt>
                <c:pt idx="31">
                  <c:v>45263</c:v>
                </c:pt>
                <c:pt idx="32">
                  <c:v>45270</c:v>
                </c:pt>
                <c:pt idx="33">
                  <c:v>45277</c:v>
                </c:pt>
                <c:pt idx="34">
                  <c:v>45284</c:v>
                </c:pt>
                <c:pt idx="35">
                  <c:v>45291</c:v>
                </c:pt>
                <c:pt idx="36">
                  <c:v>45298</c:v>
                </c:pt>
                <c:pt idx="37">
                  <c:v>45305</c:v>
                </c:pt>
                <c:pt idx="38">
                  <c:v>45312</c:v>
                </c:pt>
                <c:pt idx="39">
                  <c:v>45319</c:v>
                </c:pt>
                <c:pt idx="40">
                  <c:v>45354</c:v>
                </c:pt>
                <c:pt idx="41">
                  <c:v>45361</c:v>
                </c:pt>
                <c:pt idx="42">
                  <c:v>45368</c:v>
                </c:pt>
                <c:pt idx="43">
                  <c:v>45375</c:v>
                </c:pt>
                <c:pt idx="44">
                  <c:v>45389</c:v>
                </c:pt>
                <c:pt idx="45">
                  <c:v>45396</c:v>
                </c:pt>
                <c:pt idx="46">
                  <c:v>45403</c:v>
                </c:pt>
                <c:pt idx="47">
                  <c:v>45410</c:v>
                </c:pt>
                <c:pt idx="48">
                  <c:v>45417</c:v>
                </c:pt>
                <c:pt idx="49">
                  <c:v>45424</c:v>
                </c:pt>
                <c:pt idx="50">
                  <c:v>45431</c:v>
                </c:pt>
                <c:pt idx="51">
                  <c:v>45438</c:v>
                </c:pt>
                <c:pt idx="52">
                  <c:v>45445</c:v>
                </c:pt>
                <c:pt idx="53">
                  <c:v>45452</c:v>
                </c:pt>
                <c:pt idx="54">
                  <c:v>45459</c:v>
                </c:pt>
                <c:pt idx="55">
                  <c:v>45466</c:v>
                </c:pt>
                <c:pt idx="56">
                  <c:v>45473</c:v>
                </c:pt>
                <c:pt idx="57">
                  <c:v>45480</c:v>
                </c:pt>
                <c:pt idx="58">
                  <c:v>45487</c:v>
                </c:pt>
                <c:pt idx="59">
                  <c:v>45508</c:v>
                </c:pt>
                <c:pt idx="60">
                  <c:v>45515</c:v>
                </c:pt>
                <c:pt idx="61">
                  <c:v>45522</c:v>
                </c:pt>
                <c:pt idx="62">
                  <c:v>45529</c:v>
                </c:pt>
                <c:pt idx="63">
                  <c:v>45536</c:v>
                </c:pt>
                <c:pt idx="64">
                  <c:v>45543</c:v>
                </c:pt>
                <c:pt idx="65">
                  <c:v>45550</c:v>
                </c:pt>
                <c:pt idx="66">
                  <c:v>45557</c:v>
                </c:pt>
                <c:pt idx="67">
                  <c:v>45564</c:v>
                </c:pt>
                <c:pt idx="68">
                  <c:v>45578</c:v>
                </c:pt>
                <c:pt idx="69">
                  <c:v>45585</c:v>
                </c:pt>
                <c:pt idx="70">
                  <c:v>45592</c:v>
                </c:pt>
                <c:pt idx="71">
                  <c:v>45599</c:v>
                </c:pt>
                <c:pt idx="72">
                  <c:v>45606</c:v>
                </c:pt>
                <c:pt idx="73">
                  <c:v>45613</c:v>
                </c:pt>
                <c:pt idx="74">
                  <c:v>45620</c:v>
                </c:pt>
                <c:pt idx="75">
                  <c:v>45627</c:v>
                </c:pt>
                <c:pt idx="76">
                  <c:v>45634</c:v>
                </c:pt>
                <c:pt idx="77">
                  <c:v>45641</c:v>
                </c:pt>
                <c:pt idx="78">
                  <c:v>45648</c:v>
                </c:pt>
                <c:pt idx="79">
                  <c:v>45655</c:v>
                </c:pt>
                <c:pt idx="80">
                  <c:v>45662</c:v>
                </c:pt>
                <c:pt idx="81">
                  <c:v>45669</c:v>
                </c:pt>
                <c:pt idx="82">
                  <c:v>45676</c:v>
                </c:pt>
                <c:pt idx="83">
                  <c:v>45683</c:v>
                </c:pt>
              </c:numCache>
            </c:numRef>
          </c:cat>
          <c:val>
            <c:numRef>
              <c:f>Sheet1!$C$2:$C$85</c:f>
              <c:numCache>
                <c:formatCode>General</c:formatCode>
                <c:ptCount val="84"/>
                <c:pt idx="0">
                  <c:v>172166</c:v>
                </c:pt>
                <c:pt idx="1">
                  <c:v>253812</c:v>
                </c:pt>
                <c:pt idx="2">
                  <c:v>260415</c:v>
                </c:pt>
                <c:pt idx="3">
                  <c:v>207675</c:v>
                </c:pt>
                <c:pt idx="4">
                  <c:v>225339</c:v>
                </c:pt>
                <c:pt idx="5">
                  <c:v>210860</c:v>
                </c:pt>
                <c:pt idx="6">
                  <c:v>221454</c:v>
                </c:pt>
                <c:pt idx="7">
                  <c:v>193408</c:v>
                </c:pt>
                <c:pt idx="8">
                  <c:v>235665</c:v>
                </c:pt>
                <c:pt idx="9">
                  <c:v>191153</c:v>
                </c:pt>
                <c:pt idx="10">
                  <c:v>234055</c:v>
                </c:pt>
                <c:pt idx="11">
                  <c:v>291802</c:v>
                </c:pt>
                <c:pt idx="12">
                  <c:v>206654</c:v>
                </c:pt>
                <c:pt idx="13">
                  <c:v>211694</c:v>
                </c:pt>
                <c:pt idx="14">
                  <c:v>22119</c:v>
                </c:pt>
                <c:pt idx="15">
                  <c:v>13587</c:v>
                </c:pt>
                <c:pt idx="16">
                  <c:v>15619</c:v>
                </c:pt>
                <c:pt idx="17">
                  <c:v>9485</c:v>
                </c:pt>
                <c:pt idx="18">
                  <c:v>38000</c:v>
                </c:pt>
                <c:pt idx="19">
                  <c:v>225292</c:v>
                </c:pt>
                <c:pt idx="20">
                  <c:v>219789</c:v>
                </c:pt>
                <c:pt idx="21">
                  <c:v>220492</c:v>
                </c:pt>
                <c:pt idx="22">
                  <c:v>244728</c:v>
                </c:pt>
                <c:pt idx="23">
                  <c:v>215148</c:v>
                </c:pt>
                <c:pt idx="24">
                  <c:v>226940</c:v>
                </c:pt>
                <c:pt idx="25">
                  <c:v>205352</c:v>
                </c:pt>
                <c:pt idx="26">
                  <c:v>198815</c:v>
                </c:pt>
                <c:pt idx="27">
                  <c:v>260952</c:v>
                </c:pt>
                <c:pt idx="28">
                  <c:v>0</c:v>
                </c:pt>
                <c:pt idx="29">
                  <c:v>0</c:v>
                </c:pt>
                <c:pt idx="30">
                  <c:v>302</c:v>
                </c:pt>
                <c:pt idx="31">
                  <c:v>183301</c:v>
                </c:pt>
                <c:pt idx="32">
                  <c:v>225514</c:v>
                </c:pt>
                <c:pt idx="33">
                  <c:v>226025</c:v>
                </c:pt>
                <c:pt idx="34">
                  <c:v>226010</c:v>
                </c:pt>
                <c:pt idx="35">
                  <c:v>780</c:v>
                </c:pt>
                <c:pt idx="36">
                  <c:v>117</c:v>
                </c:pt>
                <c:pt idx="37">
                  <c:v>51</c:v>
                </c:pt>
                <c:pt idx="38">
                  <c:v>96</c:v>
                </c:pt>
                <c:pt idx="39">
                  <c:v>9508</c:v>
                </c:pt>
                <c:pt idx="40">
                  <c:v>220771</c:v>
                </c:pt>
                <c:pt idx="41">
                  <c:v>212398</c:v>
                </c:pt>
                <c:pt idx="42">
                  <c:v>230289</c:v>
                </c:pt>
                <c:pt idx="43">
                  <c:v>247648</c:v>
                </c:pt>
                <c:pt idx="44">
                  <c:v>169548</c:v>
                </c:pt>
                <c:pt idx="45">
                  <c:v>120659</c:v>
                </c:pt>
                <c:pt idx="46">
                  <c:v>131631</c:v>
                </c:pt>
                <c:pt idx="47">
                  <c:v>157361</c:v>
                </c:pt>
                <c:pt idx="48">
                  <c:v>174275</c:v>
                </c:pt>
                <c:pt idx="49">
                  <c:v>177673</c:v>
                </c:pt>
                <c:pt idx="50">
                  <c:v>137772</c:v>
                </c:pt>
                <c:pt idx="51">
                  <c:v>157896</c:v>
                </c:pt>
                <c:pt idx="52">
                  <c:v>15818</c:v>
                </c:pt>
                <c:pt idx="53">
                  <c:v>3145</c:v>
                </c:pt>
                <c:pt idx="54">
                  <c:v>2297</c:v>
                </c:pt>
                <c:pt idx="55">
                  <c:v>3762</c:v>
                </c:pt>
                <c:pt idx="56">
                  <c:v>13365</c:v>
                </c:pt>
                <c:pt idx="57">
                  <c:v>18083</c:v>
                </c:pt>
                <c:pt idx="58">
                  <c:v>161472</c:v>
                </c:pt>
                <c:pt idx="59">
                  <c:v>147962</c:v>
                </c:pt>
                <c:pt idx="60">
                  <c:v>156460</c:v>
                </c:pt>
                <c:pt idx="61">
                  <c:v>147124</c:v>
                </c:pt>
                <c:pt idx="62">
                  <c:v>158578</c:v>
                </c:pt>
                <c:pt idx="63">
                  <c:v>182286</c:v>
                </c:pt>
                <c:pt idx="64">
                  <c:v>171706</c:v>
                </c:pt>
                <c:pt idx="65">
                  <c:v>172103</c:v>
                </c:pt>
                <c:pt idx="66">
                  <c:v>166994</c:v>
                </c:pt>
                <c:pt idx="67">
                  <c:v>172463</c:v>
                </c:pt>
                <c:pt idx="68">
                  <c:v>186980</c:v>
                </c:pt>
                <c:pt idx="69">
                  <c:v>154429</c:v>
                </c:pt>
                <c:pt idx="70">
                  <c:v>166645</c:v>
                </c:pt>
                <c:pt idx="71">
                  <c:v>0</c:v>
                </c:pt>
                <c:pt idx="72">
                  <c:v>181</c:v>
                </c:pt>
                <c:pt idx="73">
                  <c:v>633</c:v>
                </c:pt>
                <c:pt idx="74">
                  <c:v>19</c:v>
                </c:pt>
                <c:pt idx="75">
                  <c:v>24</c:v>
                </c:pt>
                <c:pt idx="76">
                  <c:v>29229</c:v>
                </c:pt>
                <c:pt idx="77">
                  <c:v>169291</c:v>
                </c:pt>
                <c:pt idx="78">
                  <c:v>162908</c:v>
                </c:pt>
                <c:pt idx="79">
                  <c:v>137342</c:v>
                </c:pt>
                <c:pt idx="80">
                  <c:v>17266</c:v>
                </c:pt>
                <c:pt idx="81">
                  <c:v>0</c:v>
                </c:pt>
                <c:pt idx="82">
                  <c:v>115</c:v>
                </c:pt>
                <c:pt idx="83">
                  <c:v>147</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85</c:f>
              <c:numCache>
                <c:formatCode>yyyy\-mm\-dd</c:formatCode>
                <c:ptCount val="84"/>
                <c:pt idx="0">
                  <c:v>44934</c:v>
                </c:pt>
                <c:pt idx="1">
                  <c:v>44941</c:v>
                </c:pt>
                <c:pt idx="2">
                  <c:v>44948</c:v>
                </c:pt>
                <c:pt idx="3">
                  <c:v>44955</c:v>
                </c:pt>
                <c:pt idx="4">
                  <c:v>44997</c:v>
                </c:pt>
                <c:pt idx="5">
                  <c:v>45004</c:v>
                </c:pt>
                <c:pt idx="6">
                  <c:v>45011</c:v>
                </c:pt>
                <c:pt idx="7">
                  <c:v>45018</c:v>
                </c:pt>
                <c:pt idx="8">
                  <c:v>45025</c:v>
                </c:pt>
                <c:pt idx="9">
                  <c:v>45032</c:v>
                </c:pt>
                <c:pt idx="10">
                  <c:v>45039</c:v>
                </c:pt>
                <c:pt idx="11">
                  <c:v>45046</c:v>
                </c:pt>
                <c:pt idx="12">
                  <c:v>45067</c:v>
                </c:pt>
                <c:pt idx="13">
                  <c:v>45074</c:v>
                </c:pt>
                <c:pt idx="14">
                  <c:v>45081</c:v>
                </c:pt>
                <c:pt idx="15">
                  <c:v>45088</c:v>
                </c:pt>
                <c:pt idx="16">
                  <c:v>45095</c:v>
                </c:pt>
                <c:pt idx="17">
                  <c:v>45102</c:v>
                </c:pt>
                <c:pt idx="18">
                  <c:v>45109</c:v>
                </c:pt>
                <c:pt idx="19">
                  <c:v>45116</c:v>
                </c:pt>
                <c:pt idx="20">
                  <c:v>45123</c:v>
                </c:pt>
                <c:pt idx="21">
                  <c:v>45165</c:v>
                </c:pt>
                <c:pt idx="22">
                  <c:v>45172</c:v>
                </c:pt>
                <c:pt idx="23">
                  <c:v>45179</c:v>
                </c:pt>
                <c:pt idx="24">
                  <c:v>45186</c:v>
                </c:pt>
                <c:pt idx="25">
                  <c:v>45221</c:v>
                </c:pt>
                <c:pt idx="26">
                  <c:v>45228</c:v>
                </c:pt>
                <c:pt idx="27">
                  <c:v>45235</c:v>
                </c:pt>
                <c:pt idx="28">
                  <c:v>45242</c:v>
                </c:pt>
                <c:pt idx="29">
                  <c:v>45249</c:v>
                </c:pt>
                <c:pt idx="30">
                  <c:v>45256</c:v>
                </c:pt>
                <c:pt idx="31">
                  <c:v>45263</c:v>
                </c:pt>
                <c:pt idx="32">
                  <c:v>45270</c:v>
                </c:pt>
                <c:pt idx="33">
                  <c:v>45277</c:v>
                </c:pt>
                <c:pt idx="34">
                  <c:v>45284</c:v>
                </c:pt>
                <c:pt idx="35">
                  <c:v>45291</c:v>
                </c:pt>
                <c:pt idx="36">
                  <c:v>45298</c:v>
                </c:pt>
                <c:pt idx="37">
                  <c:v>45305</c:v>
                </c:pt>
                <c:pt idx="38">
                  <c:v>45312</c:v>
                </c:pt>
                <c:pt idx="39">
                  <c:v>45319</c:v>
                </c:pt>
                <c:pt idx="40">
                  <c:v>45354</c:v>
                </c:pt>
                <c:pt idx="41">
                  <c:v>45361</c:v>
                </c:pt>
                <c:pt idx="42">
                  <c:v>45368</c:v>
                </c:pt>
                <c:pt idx="43">
                  <c:v>45375</c:v>
                </c:pt>
                <c:pt idx="44">
                  <c:v>45389</c:v>
                </c:pt>
                <c:pt idx="45">
                  <c:v>45396</c:v>
                </c:pt>
                <c:pt idx="46">
                  <c:v>45403</c:v>
                </c:pt>
                <c:pt idx="47">
                  <c:v>45410</c:v>
                </c:pt>
                <c:pt idx="48">
                  <c:v>45417</c:v>
                </c:pt>
                <c:pt idx="49">
                  <c:v>45424</c:v>
                </c:pt>
                <c:pt idx="50">
                  <c:v>45431</c:v>
                </c:pt>
                <c:pt idx="51">
                  <c:v>45438</c:v>
                </c:pt>
                <c:pt idx="52">
                  <c:v>45445</c:v>
                </c:pt>
                <c:pt idx="53">
                  <c:v>45452</c:v>
                </c:pt>
                <c:pt idx="54">
                  <c:v>45459</c:v>
                </c:pt>
                <c:pt idx="55">
                  <c:v>45466</c:v>
                </c:pt>
                <c:pt idx="56">
                  <c:v>45473</c:v>
                </c:pt>
                <c:pt idx="57">
                  <c:v>45480</c:v>
                </c:pt>
                <c:pt idx="58">
                  <c:v>45487</c:v>
                </c:pt>
                <c:pt idx="59">
                  <c:v>45508</c:v>
                </c:pt>
                <c:pt idx="60">
                  <c:v>45515</c:v>
                </c:pt>
                <c:pt idx="61">
                  <c:v>45522</c:v>
                </c:pt>
                <c:pt idx="62">
                  <c:v>45529</c:v>
                </c:pt>
                <c:pt idx="63">
                  <c:v>45536</c:v>
                </c:pt>
                <c:pt idx="64">
                  <c:v>45543</c:v>
                </c:pt>
                <c:pt idx="65">
                  <c:v>45550</c:v>
                </c:pt>
                <c:pt idx="66">
                  <c:v>45557</c:v>
                </c:pt>
                <c:pt idx="67">
                  <c:v>45564</c:v>
                </c:pt>
                <c:pt idx="68">
                  <c:v>45578</c:v>
                </c:pt>
                <c:pt idx="69">
                  <c:v>45585</c:v>
                </c:pt>
                <c:pt idx="70">
                  <c:v>45592</c:v>
                </c:pt>
                <c:pt idx="71">
                  <c:v>45599</c:v>
                </c:pt>
                <c:pt idx="72">
                  <c:v>45606</c:v>
                </c:pt>
                <c:pt idx="73">
                  <c:v>45613</c:v>
                </c:pt>
                <c:pt idx="74">
                  <c:v>45620</c:v>
                </c:pt>
                <c:pt idx="75">
                  <c:v>45627</c:v>
                </c:pt>
                <c:pt idx="76">
                  <c:v>45634</c:v>
                </c:pt>
                <c:pt idx="77">
                  <c:v>45641</c:v>
                </c:pt>
                <c:pt idx="78">
                  <c:v>45648</c:v>
                </c:pt>
                <c:pt idx="79">
                  <c:v>45655</c:v>
                </c:pt>
                <c:pt idx="80">
                  <c:v>45662</c:v>
                </c:pt>
                <c:pt idx="81">
                  <c:v>45669</c:v>
                </c:pt>
                <c:pt idx="82">
                  <c:v>45676</c:v>
                </c:pt>
                <c:pt idx="83">
                  <c:v>45683</c:v>
                </c:pt>
              </c:numCache>
            </c:numRef>
          </c:cat>
          <c:val>
            <c:numRef>
              <c:f>Sheet1!$D$2:$D$85</c:f>
              <c:numCache>
                <c:formatCode>General</c:formatCode>
                <c:ptCount val="84"/>
                <c:pt idx="0">
                  <c:v>245941</c:v>
                </c:pt>
                <c:pt idx="1">
                  <c:v>284909</c:v>
                </c:pt>
                <c:pt idx="2">
                  <c:v>287557</c:v>
                </c:pt>
                <c:pt idx="3">
                  <c:v>278307</c:v>
                </c:pt>
                <c:pt idx="4">
                  <c:v>304580</c:v>
                </c:pt>
                <c:pt idx="5">
                  <c:v>324842</c:v>
                </c:pt>
                <c:pt idx="6">
                  <c:v>311173</c:v>
                </c:pt>
                <c:pt idx="7">
                  <c:v>281406</c:v>
                </c:pt>
                <c:pt idx="8">
                  <c:v>313294</c:v>
                </c:pt>
                <c:pt idx="9">
                  <c:v>274940</c:v>
                </c:pt>
                <c:pt idx="10">
                  <c:v>333720</c:v>
                </c:pt>
                <c:pt idx="11">
                  <c:v>294600</c:v>
                </c:pt>
                <c:pt idx="12">
                  <c:v>276710</c:v>
                </c:pt>
                <c:pt idx="13">
                  <c:v>292283</c:v>
                </c:pt>
                <c:pt idx="14">
                  <c:v>304507</c:v>
                </c:pt>
                <c:pt idx="15">
                  <c:v>352270</c:v>
                </c:pt>
                <c:pt idx="16">
                  <c:v>357571</c:v>
                </c:pt>
                <c:pt idx="17">
                  <c:v>349364</c:v>
                </c:pt>
                <c:pt idx="18">
                  <c:v>378173</c:v>
                </c:pt>
                <c:pt idx="19">
                  <c:v>302613</c:v>
                </c:pt>
                <c:pt idx="20">
                  <c:v>285159</c:v>
                </c:pt>
                <c:pt idx="21">
                  <c:v>318273</c:v>
                </c:pt>
                <c:pt idx="22">
                  <c:v>318513</c:v>
                </c:pt>
                <c:pt idx="23">
                  <c:v>312077</c:v>
                </c:pt>
                <c:pt idx="24">
                  <c:v>290203</c:v>
                </c:pt>
                <c:pt idx="25">
                  <c:v>292427</c:v>
                </c:pt>
                <c:pt idx="26">
                  <c:v>297288</c:v>
                </c:pt>
                <c:pt idx="27">
                  <c:v>340136</c:v>
                </c:pt>
                <c:pt idx="28">
                  <c:v>347453</c:v>
                </c:pt>
                <c:pt idx="29">
                  <c:v>324416</c:v>
                </c:pt>
                <c:pt idx="30">
                  <c:v>288450</c:v>
                </c:pt>
                <c:pt idx="31">
                  <c:v>270422</c:v>
                </c:pt>
                <c:pt idx="32">
                  <c:v>293094</c:v>
                </c:pt>
                <c:pt idx="33">
                  <c:v>292186</c:v>
                </c:pt>
                <c:pt idx="34">
                  <c:v>325707</c:v>
                </c:pt>
                <c:pt idx="35">
                  <c:v>252589</c:v>
                </c:pt>
                <c:pt idx="36">
                  <c:v>322134</c:v>
                </c:pt>
                <c:pt idx="37">
                  <c:v>336284</c:v>
                </c:pt>
                <c:pt idx="38">
                  <c:v>310477</c:v>
                </c:pt>
                <c:pt idx="39">
                  <c:v>303229</c:v>
                </c:pt>
                <c:pt idx="40">
                  <c:v>297813</c:v>
                </c:pt>
                <c:pt idx="41">
                  <c:v>311658</c:v>
                </c:pt>
                <c:pt idx="42">
                  <c:v>302148</c:v>
                </c:pt>
                <c:pt idx="43">
                  <c:v>272471</c:v>
                </c:pt>
                <c:pt idx="44">
                  <c:v>253662</c:v>
                </c:pt>
                <c:pt idx="45">
                  <c:v>303727</c:v>
                </c:pt>
                <c:pt idx="46">
                  <c:v>303202</c:v>
                </c:pt>
                <c:pt idx="47">
                  <c:v>260926</c:v>
                </c:pt>
                <c:pt idx="48">
                  <c:v>228238</c:v>
                </c:pt>
                <c:pt idx="49">
                  <c:v>213714</c:v>
                </c:pt>
                <c:pt idx="50">
                  <c:v>199537</c:v>
                </c:pt>
                <c:pt idx="51">
                  <c:v>209847</c:v>
                </c:pt>
                <c:pt idx="52">
                  <c:v>209642</c:v>
                </c:pt>
                <c:pt idx="53">
                  <c:v>241292</c:v>
                </c:pt>
                <c:pt idx="54">
                  <c:v>238884</c:v>
                </c:pt>
                <c:pt idx="55">
                  <c:v>234064</c:v>
                </c:pt>
                <c:pt idx="56">
                  <c:v>241366</c:v>
                </c:pt>
                <c:pt idx="57">
                  <c:v>245574</c:v>
                </c:pt>
                <c:pt idx="58">
                  <c:v>187707</c:v>
                </c:pt>
                <c:pt idx="59">
                  <c:v>197274</c:v>
                </c:pt>
                <c:pt idx="60">
                  <c:v>212649</c:v>
                </c:pt>
                <c:pt idx="61">
                  <c:v>208814</c:v>
                </c:pt>
                <c:pt idx="62">
                  <c:v>213404</c:v>
                </c:pt>
                <c:pt idx="63">
                  <c:v>195904</c:v>
                </c:pt>
                <c:pt idx="64">
                  <c:v>186348</c:v>
                </c:pt>
                <c:pt idx="65">
                  <c:v>185541</c:v>
                </c:pt>
                <c:pt idx="66">
                  <c:v>181601</c:v>
                </c:pt>
                <c:pt idx="67">
                  <c:v>188080</c:v>
                </c:pt>
                <c:pt idx="68">
                  <c:v>187890</c:v>
                </c:pt>
                <c:pt idx="69">
                  <c:v>200949</c:v>
                </c:pt>
                <c:pt idx="70">
                  <c:v>221561</c:v>
                </c:pt>
                <c:pt idx="71">
                  <c:v>247717</c:v>
                </c:pt>
                <c:pt idx="72">
                  <c:v>259638</c:v>
                </c:pt>
                <c:pt idx="73">
                  <c:v>249169</c:v>
                </c:pt>
                <c:pt idx="74">
                  <c:v>241771</c:v>
                </c:pt>
                <c:pt idx="75">
                  <c:v>222019</c:v>
                </c:pt>
                <c:pt idx="76">
                  <c:v>219175</c:v>
                </c:pt>
                <c:pt idx="77">
                  <c:v>225803</c:v>
                </c:pt>
                <c:pt idx="78">
                  <c:v>239089</c:v>
                </c:pt>
                <c:pt idx="79">
                  <c:v>202663</c:v>
                </c:pt>
                <c:pt idx="80">
                  <c:v>218991</c:v>
                </c:pt>
                <c:pt idx="81">
                  <c:v>281643</c:v>
                </c:pt>
                <c:pt idx="82">
                  <c:v>297186</c:v>
                </c:pt>
                <c:pt idx="83">
                  <c:v>269628</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85</c:f>
              <c:numCache>
                <c:formatCode>yyyy\-mm\-dd</c:formatCode>
                <c:ptCount val="84"/>
                <c:pt idx="0">
                  <c:v>44934</c:v>
                </c:pt>
                <c:pt idx="1">
                  <c:v>44941</c:v>
                </c:pt>
                <c:pt idx="2">
                  <c:v>44948</c:v>
                </c:pt>
                <c:pt idx="3">
                  <c:v>44955</c:v>
                </c:pt>
                <c:pt idx="4">
                  <c:v>44997</c:v>
                </c:pt>
                <c:pt idx="5">
                  <c:v>45004</c:v>
                </c:pt>
                <c:pt idx="6">
                  <c:v>45011</c:v>
                </c:pt>
                <c:pt idx="7">
                  <c:v>45018</c:v>
                </c:pt>
                <c:pt idx="8">
                  <c:v>45025</c:v>
                </c:pt>
                <c:pt idx="9">
                  <c:v>45032</c:v>
                </c:pt>
                <c:pt idx="10">
                  <c:v>45039</c:v>
                </c:pt>
                <c:pt idx="11">
                  <c:v>45046</c:v>
                </c:pt>
                <c:pt idx="12">
                  <c:v>45067</c:v>
                </c:pt>
                <c:pt idx="13">
                  <c:v>45074</c:v>
                </c:pt>
                <c:pt idx="14">
                  <c:v>45081</c:v>
                </c:pt>
                <c:pt idx="15">
                  <c:v>45088</c:v>
                </c:pt>
                <c:pt idx="16">
                  <c:v>45095</c:v>
                </c:pt>
                <c:pt idx="17">
                  <c:v>45102</c:v>
                </c:pt>
                <c:pt idx="18">
                  <c:v>45109</c:v>
                </c:pt>
                <c:pt idx="19">
                  <c:v>45116</c:v>
                </c:pt>
                <c:pt idx="20">
                  <c:v>45123</c:v>
                </c:pt>
                <c:pt idx="21">
                  <c:v>45165</c:v>
                </c:pt>
                <c:pt idx="22">
                  <c:v>45172</c:v>
                </c:pt>
                <c:pt idx="23">
                  <c:v>45179</c:v>
                </c:pt>
                <c:pt idx="24">
                  <c:v>45186</c:v>
                </c:pt>
                <c:pt idx="25">
                  <c:v>45221</c:v>
                </c:pt>
                <c:pt idx="26">
                  <c:v>45228</c:v>
                </c:pt>
                <c:pt idx="27">
                  <c:v>45235</c:v>
                </c:pt>
                <c:pt idx="28">
                  <c:v>45242</c:v>
                </c:pt>
                <c:pt idx="29">
                  <c:v>45249</c:v>
                </c:pt>
                <c:pt idx="30">
                  <c:v>45256</c:v>
                </c:pt>
                <c:pt idx="31">
                  <c:v>45263</c:v>
                </c:pt>
                <c:pt idx="32">
                  <c:v>45270</c:v>
                </c:pt>
                <c:pt idx="33">
                  <c:v>45277</c:v>
                </c:pt>
                <c:pt idx="34">
                  <c:v>45284</c:v>
                </c:pt>
                <c:pt idx="35">
                  <c:v>45291</c:v>
                </c:pt>
                <c:pt idx="36">
                  <c:v>45298</c:v>
                </c:pt>
                <c:pt idx="37">
                  <c:v>45305</c:v>
                </c:pt>
                <c:pt idx="38">
                  <c:v>45312</c:v>
                </c:pt>
                <c:pt idx="39">
                  <c:v>45319</c:v>
                </c:pt>
                <c:pt idx="40">
                  <c:v>45354</c:v>
                </c:pt>
                <c:pt idx="41">
                  <c:v>45361</c:v>
                </c:pt>
                <c:pt idx="42">
                  <c:v>45368</c:v>
                </c:pt>
                <c:pt idx="43">
                  <c:v>45375</c:v>
                </c:pt>
                <c:pt idx="44">
                  <c:v>45389</c:v>
                </c:pt>
                <c:pt idx="45">
                  <c:v>45396</c:v>
                </c:pt>
                <c:pt idx="46">
                  <c:v>45403</c:v>
                </c:pt>
                <c:pt idx="47">
                  <c:v>45410</c:v>
                </c:pt>
                <c:pt idx="48">
                  <c:v>45417</c:v>
                </c:pt>
                <c:pt idx="49">
                  <c:v>45424</c:v>
                </c:pt>
                <c:pt idx="50">
                  <c:v>45431</c:v>
                </c:pt>
                <c:pt idx="51">
                  <c:v>45438</c:v>
                </c:pt>
                <c:pt idx="52">
                  <c:v>45445</c:v>
                </c:pt>
                <c:pt idx="53">
                  <c:v>45452</c:v>
                </c:pt>
                <c:pt idx="54">
                  <c:v>45459</c:v>
                </c:pt>
                <c:pt idx="55">
                  <c:v>45466</c:v>
                </c:pt>
                <c:pt idx="56">
                  <c:v>45473</c:v>
                </c:pt>
                <c:pt idx="57">
                  <c:v>45480</c:v>
                </c:pt>
                <c:pt idx="58">
                  <c:v>45487</c:v>
                </c:pt>
                <c:pt idx="59">
                  <c:v>45508</c:v>
                </c:pt>
                <c:pt idx="60">
                  <c:v>45515</c:v>
                </c:pt>
                <c:pt idx="61">
                  <c:v>45522</c:v>
                </c:pt>
                <c:pt idx="62">
                  <c:v>45529</c:v>
                </c:pt>
                <c:pt idx="63">
                  <c:v>45536</c:v>
                </c:pt>
                <c:pt idx="64">
                  <c:v>45543</c:v>
                </c:pt>
                <c:pt idx="65">
                  <c:v>45550</c:v>
                </c:pt>
                <c:pt idx="66">
                  <c:v>45557</c:v>
                </c:pt>
                <c:pt idx="67">
                  <c:v>45564</c:v>
                </c:pt>
                <c:pt idx="68">
                  <c:v>45578</c:v>
                </c:pt>
                <c:pt idx="69">
                  <c:v>45585</c:v>
                </c:pt>
                <c:pt idx="70">
                  <c:v>45592</c:v>
                </c:pt>
                <c:pt idx="71">
                  <c:v>45599</c:v>
                </c:pt>
                <c:pt idx="72">
                  <c:v>45606</c:v>
                </c:pt>
                <c:pt idx="73">
                  <c:v>45613</c:v>
                </c:pt>
                <c:pt idx="74">
                  <c:v>45620</c:v>
                </c:pt>
                <c:pt idx="75">
                  <c:v>45627</c:v>
                </c:pt>
                <c:pt idx="76">
                  <c:v>45634</c:v>
                </c:pt>
                <c:pt idx="77">
                  <c:v>45641</c:v>
                </c:pt>
                <c:pt idx="78">
                  <c:v>45648</c:v>
                </c:pt>
                <c:pt idx="79">
                  <c:v>45655</c:v>
                </c:pt>
                <c:pt idx="80">
                  <c:v>45662</c:v>
                </c:pt>
                <c:pt idx="81">
                  <c:v>45669</c:v>
                </c:pt>
                <c:pt idx="82">
                  <c:v>45676</c:v>
                </c:pt>
                <c:pt idx="83">
                  <c:v>45683</c:v>
                </c:pt>
              </c:numCache>
            </c:numRef>
          </c:cat>
          <c:val>
            <c:numRef>
              <c:f>Sheet1!$E$2:$E$85</c:f>
              <c:numCache>
                <c:formatCode>General</c:formatCode>
                <c:ptCount val="84"/>
                <c:pt idx="0">
                  <c:v>273061</c:v>
                </c:pt>
                <c:pt idx="1">
                  <c:v>272544</c:v>
                </c:pt>
                <c:pt idx="2">
                  <c:v>271452</c:v>
                </c:pt>
                <c:pt idx="3">
                  <c:v>267374</c:v>
                </c:pt>
                <c:pt idx="4">
                  <c:v>276001</c:v>
                </c:pt>
                <c:pt idx="5">
                  <c:v>277482</c:v>
                </c:pt>
                <c:pt idx="6">
                  <c:v>275479</c:v>
                </c:pt>
                <c:pt idx="7">
                  <c:v>273403</c:v>
                </c:pt>
                <c:pt idx="8">
                  <c:v>293781</c:v>
                </c:pt>
                <c:pt idx="9">
                  <c:v>286800</c:v>
                </c:pt>
                <c:pt idx="10">
                  <c:v>281856</c:v>
                </c:pt>
                <c:pt idx="11">
                  <c:v>279698</c:v>
                </c:pt>
                <c:pt idx="12">
                  <c:v>280268</c:v>
                </c:pt>
                <c:pt idx="13">
                  <c:v>278355</c:v>
                </c:pt>
                <c:pt idx="14">
                  <c:v>272674</c:v>
                </c:pt>
                <c:pt idx="15">
                  <c:v>267175</c:v>
                </c:pt>
                <c:pt idx="16">
                  <c:v>272538</c:v>
                </c:pt>
                <c:pt idx="17">
                  <c:v>269708</c:v>
                </c:pt>
                <c:pt idx="18">
                  <c:v>279142</c:v>
                </c:pt>
                <c:pt idx="19">
                  <c:v>275873</c:v>
                </c:pt>
                <c:pt idx="20">
                  <c:v>278644</c:v>
                </c:pt>
                <c:pt idx="21">
                  <c:v>280802</c:v>
                </c:pt>
                <c:pt idx="22">
                  <c:v>280992</c:v>
                </c:pt>
                <c:pt idx="23">
                  <c:v>279993</c:v>
                </c:pt>
                <c:pt idx="24">
                  <c:v>280225</c:v>
                </c:pt>
                <c:pt idx="25">
                  <c:v>284582</c:v>
                </c:pt>
                <c:pt idx="26">
                  <c:v>288263</c:v>
                </c:pt>
                <c:pt idx="27">
                  <c:v>289689</c:v>
                </c:pt>
                <c:pt idx="28">
                  <c:v>286103</c:v>
                </c:pt>
                <c:pt idx="29">
                  <c:v>286457</c:v>
                </c:pt>
                <c:pt idx="30">
                  <c:v>283815</c:v>
                </c:pt>
                <c:pt idx="31">
                  <c:v>287810</c:v>
                </c:pt>
                <c:pt idx="32">
                  <c:v>282205</c:v>
                </c:pt>
                <c:pt idx="33">
                  <c:v>282066</c:v>
                </c:pt>
                <c:pt idx="34">
                  <c:v>282917</c:v>
                </c:pt>
                <c:pt idx="35">
                  <c:v>276095</c:v>
                </c:pt>
                <c:pt idx="36">
                  <c:v>283033</c:v>
                </c:pt>
                <c:pt idx="37">
                  <c:v>289568</c:v>
                </c:pt>
                <c:pt idx="38">
                  <c:v>277803</c:v>
                </c:pt>
                <c:pt idx="39">
                  <c:v>255136</c:v>
                </c:pt>
                <c:pt idx="40">
                  <c:v>276367</c:v>
                </c:pt>
                <c:pt idx="41">
                  <c:v>271915</c:v>
                </c:pt>
                <c:pt idx="42">
                  <c:v>269094</c:v>
                </c:pt>
                <c:pt idx="43">
                  <c:v>271550</c:v>
                </c:pt>
                <c:pt idx="44">
                  <c:v>264076</c:v>
                </c:pt>
                <c:pt idx="45">
                  <c:v>255558</c:v>
                </c:pt>
                <c:pt idx="46">
                  <c:v>247035</c:v>
                </c:pt>
                <c:pt idx="47">
                  <c:v>239011</c:v>
                </c:pt>
                <c:pt idx="48">
                  <c:v>231578</c:v>
                </c:pt>
                <c:pt idx="49">
                  <c:v>227447</c:v>
                </c:pt>
                <c:pt idx="50">
                  <c:v>219789</c:v>
                </c:pt>
                <c:pt idx="51">
                  <c:v>214212</c:v>
                </c:pt>
                <c:pt idx="52">
                  <c:v>211206</c:v>
                </c:pt>
                <c:pt idx="53">
                  <c:v>205213</c:v>
                </c:pt>
                <c:pt idx="54">
                  <c:v>199412</c:v>
                </c:pt>
                <c:pt idx="55">
                  <c:v>196266</c:v>
                </c:pt>
                <c:pt idx="56">
                  <c:v>182240</c:v>
                </c:pt>
                <c:pt idx="57">
                  <c:v>183931</c:v>
                </c:pt>
                <c:pt idx="58">
                  <c:v>185071</c:v>
                </c:pt>
                <c:pt idx="59">
                  <c:v>187572</c:v>
                </c:pt>
                <c:pt idx="60">
                  <c:v>191872</c:v>
                </c:pt>
                <c:pt idx="61">
                  <c:v>191294</c:v>
                </c:pt>
                <c:pt idx="62">
                  <c:v>192601</c:v>
                </c:pt>
                <c:pt idx="63">
                  <c:v>190990</c:v>
                </c:pt>
                <c:pt idx="64">
                  <c:v>191698</c:v>
                </c:pt>
                <c:pt idx="65">
                  <c:v>197462</c:v>
                </c:pt>
                <c:pt idx="66">
                  <c:v>197582</c:v>
                </c:pt>
                <c:pt idx="67">
                  <c:v>196351</c:v>
                </c:pt>
                <c:pt idx="68">
                  <c:v>201608</c:v>
                </c:pt>
                <c:pt idx="69">
                  <c:v>202387</c:v>
                </c:pt>
                <c:pt idx="70">
                  <c:v>205115</c:v>
                </c:pt>
                <c:pt idx="71">
                  <c:v>210108</c:v>
                </c:pt>
                <c:pt idx="72">
                  <c:v>191349</c:v>
                </c:pt>
                <c:pt idx="73">
                  <c:v>192860</c:v>
                </c:pt>
                <c:pt idx="74">
                  <c:v>204034</c:v>
                </c:pt>
                <c:pt idx="75">
                  <c:v>212856</c:v>
                </c:pt>
                <c:pt idx="76">
                  <c:v>204172</c:v>
                </c:pt>
                <c:pt idx="77">
                  <c:v>203796</c:v>
                </c:pt>
                <c:pt idx="78">
                  <c:v>205121</c:v>
                </c:pt>
                <c:pt idx="79">
                  <c:v>204556</c:v>
                </c:pt>
                <c:pt idx="80">
                  <c:v>201373</c:v>
                </c:pt>
                <c:pt idx="81">
                  <c:v>201270</c:v>
                </c:pt>
                <c:pt idx="82">
                  <c:v>204364</c:v>
                </c:pt>
                <c:pt idx="83">
                  <c:v>18931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85</c:f>
              <c:numCache>
                <c:formatCode>yyyy\-mm\-dd</c:formatCode>
                <c:ptCount val="84"/>
                <c:pt idx="0">
                  <c:v>44934</c:v>
                </c:pt>
                <c:pt idx="1">
                  <c:v>44941</c:v>
                </c:pt>
                <c:pt idx="2">
                  <c:v>44948</c:v>
                </c:pt>
                <c:pt idx="3">
                  <c:v>44955</c:v>
                </c:pt>
                <c:pt idx="4">
                  <c:v>44997</c:v>
                </c:pt>
                <c:pt idx="5">
                  <c:v>45004</c:v>
                </c:pt>
                <c:pt idx="6">
                  <c:v>45011</c:v>
                </c:pt>
                <c:pt idx="7">
                  <c:v>45018</c:v>
                </c:pt>
                <c:pt idx="8">
                  <c:v>45025</c:v>
                </c:pt>
                <c:pt idx="9">
                  <c:v>45032</c:v>
                </c:pt>
                <c:pt idx="10">
                  <c:v>45039</c:v>
                </c:pt>
                <c:pt idx="11">
                  <c:v>45046</c:v>
                </c:pt>
                <c:pt idx="12">
                  <c:v>45067</c:v>
                </c:pt>
                <c:pt idx="13">
                  <c:v>45074</c:v>
                </c:pt>
                <c:pt idx="14">
                  <c:v>45081</c:v>
                </c:pt>
                <c:pt idx="15">
                  <c:v>45088</c:v>
                </c:pt>
                <c:pt idx="16">
                  <c:v>45095</c:v>
                </c:pt>
                <c:pt idx="17">
                  <c:v>45102</c:v>
                </c:pt>
                <c:pt idx="18">
                  <c:v>45109</c:v>
                </c:pt>
                <c:pt idx="19">
                  <c:v>45116</c:v>
                </c:pt>
                <c:pt idx="20">
                  <c:v>45123</c:v>
                </c:pt>
                <c:pt idx="21">
                  <c:v>45165</c:v>
                </c:pt>
                <c:pt idx="22">
                  <c:v>45172</c:v>
                </c:pt>
                <c:pt idx="23">
                  <c:v>45179</c:v>
                </c:pt>
                <c:pt idx="24">
                  <c:v>45186</c:v>
                </c:pt>
                <c:pt idx="25">
                  <c:v>45221</c:v>
                </c:pt>
                <c:pt idx="26">
                  <c:v>45228</c:v>
                </c:pt>
                <c:pt idx="27">
                  <c:v>45235</c:v>
                </c:pt>
                <c:pt idx="28">
                  <c:v>45242</c:v>
                </c:pt>
                <c:pt idx="29">
                  <c:v>45249</c:v>
                </c:pt>
                <c:pt idx="30">
                  <c:v>45256</c:v>
                </c:pt>
                <c:pt idx="31">
                  <c:v>45263</c:v>
                </c:pt>
                <c:pt idx="32">
                  <c:v>45270</c:v>
                </c:pt>
                <c:pt idx="33">
                  <c:v>45277</c:v>
                </c:pt>
                <c:pt idx="34">
                  <c:v>45284</c:v>
                </c:pt>
                <c:pt idx="35">
                  <c:v>45291</c:v>
                </c:pt>
                <c:pt idx="36">
                  <c:v>45298</c:v>
                </c:pt>
                <c:pt idx="37">
                  <c:v>45305</c:v>
                </c:pt>
                <c:pt idx="38">
                  <c:v>45312</c:v>
                </c:pt>
                <c:pt idx="39">
                  <c:v>45319</c:v>
                </c:pt>
                <c:pt idx="40">
                  <c:v>45354</c:v>
                </c:pt>
                <c:pt idx="41">
                  <c:v>45361</c:v>
                </c:pt>
                <c:pt idx="42">
                  <c:v>45368</c:v>
                </c:pt>
                <c:pt idx="43">
                  <c:v>45375</c:v>
                </c:pt>
                <c:pt idx="44">
                  <c:v>45389</c:v>
                </c:pt>
                <c:pt idx="45">
                  <c:v>45396</c:v>
                </c:pt>
                <c:pt idx="46">
                  <c:v>45403</c:v>
                </c:pt>
                <c:pt idx="47">
                  <c:v>45410</c:v>
                </c:pt>
                <c:pt idx="48">
                  <c:v>45417</c:v>
                </c:pt>
                <c:pt idx="49">
                  <c:v>45424</c:v>
                </c:pt>
                <c:pt idx="50">
                  <c:v>45431</c:v>
                </c:pt>
                <c:pt idx="51">
                  <c:v>45438</c:v>
                </c:pt>
                <c:pt idx="52">
                  <c:v>45445</c:v>
                </c:pt>
                <c:pt idx="53">
                  <c:v>45452</c:v>
                </c:pt>
                <c:pt idx="54">
                  <c:v>45459</c:v>
                </c:pt>
                <c:pt idx="55">
                  <c:v>45466</c:v>
                </c:pt>
                <c:pt idx="56">
                  <c:v>45473</c:v>
                </c:pt>
                <c:pt idx="57">
                  <c:v>45480</c:v>
                </c:pt>
                <c:pt idx="58">
                  <c:v>45487</c:v>
                </c:pt>
                <c:pt idx="59">
                  <c:v>45508</c:v>
                </c:pt>
                <c:pt idx="60">
                  <c:v>45515</c:v>
                </c:pt>
                <c:pt idx="61">
                  <c:v>45522</c:v>
                </c:pt>
                <c:pt idx="62">
                  <c:v>45529</c:v>
                </c:pt>
                <c:pt idx="63">
                  <c:v>45536</c:v>
                </c:pt>
                <c:pt idx="64">
                  <c:v>45543</c:v>
                </c:pt>
                <c:pt idx="65">
                  <c:v>45550</c:v>
                </c:pt>
                <c:pt idx="66">
                  <c:v>45557</c:v>
                </c:pt>
                <c:pt idx="67">
                  <c:v>45564</c:v>
                </c:pt>
                <c:pt idx="68">
                  <c:v>45578</c:v>
                </c:pt>
                <c:pt idx="69">
                  <c:v>45585</c:v>
                </c:pt>
                <c:pt idx="70">
                  <c:v>45592</c:v>
                </c:pt>
                <c:pt idx="71">
                  <c:v>45599</c:v>
                </c:pt>
                <c:pt idx="72">
                  <c:v>45606</c:v>
                </c:pt>
                <c:pt idx="73">
                  <c:v>45613</c:v>
                </c:pt>
                <c:pt idx="74">
                  <c:v>45620</c:v>
                </c:pt>
                <c:pt idx="75">
                  <c:v>45627</c:v>
                </c:pt>
                <c:pt idx="76">
                  <c:v>45634</c:v>
                </c:pt>
                <c:pt idx="77">
                  <c:v>45641</c:v>
                </c:pt>
                <c:pt idx="78">
                  <c:v>45648</c:v>
                </c:pt>
                <c:pt idx="79">
                  <c:v>45655</c:v>
                </c:pt>
                <c:pt idx="80">
                  <c:v>45662</c:v>
                </c:pt>
                <c:pt idx="81">
                  <c:v>45669</c:v>
                </c:pt>
                <c:pt idx="82">
                  <c:v>45676</c:v>
                </c:pt>
                <c:pt idx="83">
                  <c:v>45683</c:v>
                </c:pt>
              </c:numCache>
            </c:numRef>
          </c:cat>
          <c:val>
            <c:numRef>
              <c:f>Sheet1!$F$2:$F$85</c:f>
              <c:numCache>
                <c:formatCode>General</c:formatCode>
                <c:ptCount val="84"/>
                <c:pt idx="0">
                  <c:v>0.34</c:v>
                </c:pt>
                <c:pt idx="1">
                  <c:v>0.14000000000000001</c:v>
                </c:pt>
                <c:pt idx="2">
                  <c:v>0.12</c:v>
                </c:pt>
                <c:pt idx="3">
                  <c:v>0.3</c:v>
                </c:pt>
                <c:pt idx="4">
                  <c:v>0.28999999999999998</c:v>
                </c:pt>
                <c:pt idx="5">
                  <c:v>0.41</c:v>
                </c:pt>
                <c:pt idx="6">
                  <c:v>0.35</c:v>
                </c:pt>
                <c:pt idx="7">
                  <c:v>0.35</c:v>
                </c:pt>
                <c:pt idx="8">
                  <c:v>0.28000000000000003</c:v>
                </c:pt>
                <c:pt idx="9">
                  <c:v>0.34</c:v>
                </c:pt>
                <c:pt idx="10">
                  <c:v>0.34</c:v>
                </c:pt>
                <c:pt idx="11">
                  <c:v>0.01</c:v>
                </c:pt>
                <c:pt idx="12">
                  <c:v>0.3</c:v>
                </c:pt>
                <c:pt idx="13">
                  <c:v>0.33</c:v>
                </c:pt>
                <c:pt idx="14">
                  <c:v>0.93</c:v>
                </c:pt>
                <c:pt idx="15">
                  <c:v>0.97</c:v>
                </c:pt>
                <c:pt idx="16">
                  <c:v>0.96</c:v>
                </c:pt>
                <c:pt idx="17">
                  <c:v>0.98</c:v>
                </c:pt>
                <c:pt idx="18">
                  <c:v>0.9</c:v>
                </c:pt>
                <c:pt idx="19">
                  <c:v>0.27</c:v>
                </c:pt>
                <c:pt idx="20">
                  <c:v>0.23</c:v>
                </c:pt>
                <c:pt idx="21">
                  <c:v>0.32</c:v>
                </c:pt>
                <c:pt idx="22">
                  <c:v>0.24</c:v>
                </c:pt>
                <c:pt idx="23">
                  <c:v>0.32</c:v>
                </c:pt>
                <c:pt idx="24">
                  <c:v>0.23</c:v>
                </c:pt>
                <c:pt idx="25">
                  <c:v>0.3</c:v>
                </c:pt>
                <c:pt idx="26">
                  <c:v>0.36</c:v>
                </c:pt>
                <c:pt idx="27">
                  <c:v>0.25</c:v>
                </c:pt>
                <c:pt idx="28">
                  <c:v>1</c:v>
                </c:pt>
                <c:pt idx="29">
                  <c:v>1</c:v>
                </c:pt>
                <c:pt idx="30">
                  <c:v>1</c:v>
                </c:pt>
                <c:pt idx="31">
                  <c:v>0.34</c:v>
                </c:pt>
                <c:pt idx="32">
                  <c:v>0.25</c:v>
                </c:pt>
                <c:pt idx="33">
                  <c:v>0.24</c:v>
                </c:pt>
                <c:pt idx="34">
                  <c:v>0.32</c:v>
                </c:pt>
                <c:pt idx="35">
                  <c:v>1</c:v>
                </c:pt>
                <c:pt idx="36">
                  <c:v>1</c:v>
                </c:pt>
                <c:pt idx="37">
                  <c:v>1</c:v>
                </c:pt>
                <c:pt idx="38">
                  <c:v>1</c:v>
                </c:pt>
                <c:pt idx="39">
                  <c:v>0.97</c:v>
                </c:pt>
                <c:pt idx="40">
                  <c:v>0.26</c:v>
                </c:pt>
                <c:pt idx="41">
                  <c:v>0.31</c:v>
                </c:pt>
                <c:pt idx="42">
                  <c:v>0.23</c:v>
                </c:pt>
                <c:pt idx="43">
                  <c:v>0.1</c:v>
                </c:pt>
                <c:pt idx="44">
                  <c:v>0.34</c:v>
                </c:pt>
                <c:pt idx="45">
                  <c:v>0.62</c:v>
                </c:pt>
                <c:pt idx="46">
                  <c:v>0.59</c:v>
                </c:pt>
                <c:pt idx="47">
                  <c:v>0.4</c:v>
                </c:pt>
                <c:pt idx="48">
                  <c:v>0.24</c:v>
                </c:pt>
                <c:pt idx="49">
                  <c:v>0.18</c:v>
                </c:pt>
                <c:pt idx="50">
                  <c:v>0.32</c:v>
                </c:pt>
                <c:pt idx="51">
                  <c:v>0.26</c:v>
                </c:pt>
                <c:pt idx="52">
                  <c:v>0.93</c:v>
                </c:pt>
                <c:pt idx="53">
                  <c:v>0.99</c:v>
                </c:pt>
                <c:pt idx="54">
                  <c:v>0.99</c:v>
                </c:pt>
                <c:pt idx="55">
                  <c:v>0.99</c:v>
                </c:pt>
                <c:pt idx="56">
                  <c:v>0.95</c:v>
                </c:pt>
                <c:pt idx="57">
                  <c:v>0.93</c:v>
                </c:pt>
                <c:pt idx="58">
                  <c:v>0.14000000000000001</c:v>
                </c:pt>
                <c:pt idx="59">
                  <c:v>0.26</c:v>
                </c:pt>
                <c:pt idx="60">
                  <c:v>0.28000000000000003</c:v>
                </c:pt>
                <c:pt idx="61">
                  <c:v>0.34</c:v>
                </c:pt>
                <c:pt idx="62">
                  <c:v>0.28000000000000003</c:v>
                </c:pt>
                <c:pt idx="63">
                  <c:v>7.0000000000000007E-2</c:v>
                </c:pt>
                <c:pt idx="64">
                  <c:v>0.08</c:v>
                </c:pt>
                <c:pt idx="65">
                  <c:v>7.0000000000000007E-2</c:v>
                </c:pt>
                <c:pt idx="66">
                  <c:v>0.08</c:v>
                </c:pt>
                <c:pt idx="67">
                  <c:v>0.08</c:v>
                </c:pt>
                <c:pt idx="68">
                  <c:v>0</c:v>
                </c:pt>
                <c:pt idx="69">
                  <c:v>0.26</c:v>
                </c:pt>
                <c:pt idx="70">
                  <c:v>0.28999999999999998</c:v>
                </c:pt>
                <c:pt idx="71">
                  <c:v>1</c:v>
                </c:pt>
                <c:pt idx="72">
                  <c:v>1</c:v>
                </c:pt>
                <c:pt idx="73">
                  <c:v>1</c:v>
                </c:pt>
                <c:pt idx="74">
                  <c:v>1</c:v>
                </c:pt>
                <c:pt idx="75">
                  <c:v>1</c:v>
                </c:pt>
                <c:pt idx="76">
                  <c:v>0.87</c:v>
                </c:pt>
                <c:pt idx="77">
                  <c:v>0.26</c:v>
                </c:pt>
                <c:pt idx="78">
                  <c:v>0.34</c:v>
                </c:pt>
                <c:pt idx="79">
                  <c:v>0.36</c:v>
                </c:pt>
                <c:pt idx="80">
                  <c:v>0.93</c:v>
                </c:pt>
                <c:pt idx="81">
                  <c:v>1</c:v>
                </c:pt>
                <c:pt idx="82">
                  <c:v>1</c:v>
                </c:pt>
                <c:pt idx="83">
                  <c:v>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97</c:f>
              <c:numCache>
                <c:formatCode>yyyy\-mm\-dd</c:formatCode>
                <c:ptCount val="96"/>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109</c:v>
                </c:pt>
                <c:pt idx="21">
                  <c:v>45130</c:v>
                </c:pt>
                <c:pt idx="22">
                  <c:v>45172</c:v>
                </c:pt>
                <c:pt idx="23">
                  <c:v>45179</c:v>
                </c:pt>
                <c:pt idx="24">
                  <c:v>45186</c:v>
                </c:pt>
                <c:pt idx="25">
                  <c:v>45193</c:v>
                </c:pt>
                <c:pt idx="26">
                  <c:v>45200</c:v>
                </c:pt>
                <c:pt idx="27">
                  <c:v>45207</c:v>
                </c:pt>
                <c:pt idx="28">
                  <c:v>45214</c:v>
                </c:pt>
                <c:pt idx="29">
                  <c:v>45221</c:v>
                </c:pt>
                <c:pt idx="30">
                  <c:v>45228</c:v>
                </c:pt>
                <c:pt idx="31">
                  <c:v>45235</c:v>
                </c:pt>
                <c:pt idx="32">
                  <c:v>45242</c:v>
                </c:pt>
                <c:pt idx="33">
                  <c:v>45249</c:v>
                </c:pt>
                <c:pt idx="34">
                  <c:v>45256</c:v>
                </c:pt>
                <c:pt idx="35">
                  <c:v>45263</c:v>
                </c:pt>
                <c:pt idx="36">
                  <c:v>45270</c:v>
                </c:pt>
                <c:pt idx="37">
                  <c:v>45277</c:v>
                </c:pt>
                <c:pt idx="38">
                  <c:v>45284</c:v>
                </c:pt>
                <c:pt idx="39">
                  <c:v>45291</c:v>
                </c:pt>
                <c:pt idx="40">
                  <c:v>45298</c:v>
                </c:pt>
                <c:pt idx="41">
                  <c:v>45305</c:v>
                </c:pt>
                <c:pt idx="42">
                  <c:v>45312</c:v>
                </c:pt>
                <c:pt idx="43">
                  <c:v>45319</c:v>
                </c:pt>
                <c:pt idx="44">
                  <c:v>45326</c:v>
                </c:pt>
                <c:pt idx="45">
                  <c:v>45333</c:v>
                </c:pt>
                <c:pt idx="46">
                  <c:v>45340</c:v>
                </c:pt>
                <c:pt idx="47">
                  <c:v>45347</c:v>
                </c:pt>
                <c:pt idx="48">
                  <c:v>45354</c:v>
                </c:pt>
                <c:pt idx="49">
                  <c:v>45361</c:v>
                </c:pt>
                <c:pt idx="50">
                  <c:v>45368</c:v>
                </c:pt>
                <c:pt idx="51">
                  <c:v>45375</c:v>
                </c:pt>
                <c:pt idx="52">
                  <c:v>45382</c:v>
                </c:pt>
                <c:pt idx="53">
                  <c:v>45389</c:v>
                </c:pt>
                <c:pt idx="54">
                  <c:v>45396</c:v>
                </c:pt>
                <c:pt idx="55">
                  <c:v>45403</c:v>
                </c:pt>
                <c:pt idx="56">
                  <c:v>45410</c:v>
                </c:pt>
                <c:pt idx="57">
                  <c:v>45417</c:v>
                </c:pt>
                <c:pt idx="58">
                  <c:v>45424</c:v>
                </c:pt>
                <c:pt idx="59">
                  <c:v>45431</c:v>
                </c:pt>
                <c:pt idx="60">
                  <c:v>45438</c:v>
                </c:pt>
                <c:pt idx="61">
                  <c:v>45445</c:v>
                </c:pt>
                <c:pt idx="62">
                  <c:v>45452</c:v>
                </c:pt>
                <c:pt idx="63">
                  <c:v>45459</c:v>
                </c:pt>
                <c:pt idx="64">
                  <c:v>45466</c:v>
                </c:pt>
                <c:pt idx="65">
                  <c:v>45473</c:v>
                </c:pt>
                <c:pt idx="66">
                  <c:v>45480</c:v>
                </c:pt>
                <c:pt idx="67">
                  <c:v>45487</c:v>
                </c:pt>
                <c:pt idx="68">
                  <c:v>45494</c:v>
                </c:pt>
                <c:pt idx="69">
                  <c:v>45501</c:v>
                </c:pt>
                <c:pt idx="70">
                  <c:v>45508</c:v>
                </c:pt>
                <c:pt idx="71">
                  <c:v>45515</c:v>
                </c:pt>
                <c:pt idx="72">
                  <c:v>45522</c:v>
                </c:pt>
                <c:pt idx="73">
                  <c:v>45529</c:v>
                </c:pt>
                <c:pt idx="74">
                  <c:v>45536</c:v>
                </c:pt>
                <c:pt idx="75">
                  <c:v>45543</c:v>
                </c:pt>
                <c:pt idx="76">
                  <c:v>45550</c:v>
                </c:pt>
                <c:pt idx="77">
                  <c:v>45557</c:v>
                </c:pt>
                <c:pt idx="78">
                  <c:v>45564</c:v>
                </c:pt>
                <c:pt idx="79">
                  <c:v>45571</c:v>
                </c:pt>
                <c:pt idx="80">
                  <c:v>45578</c:v>
                </c:pt>
                <c:pt idx="81">
                  <c:v>45585</c:v>
                </c:pt>
                <c:pt idx="82">
                  <c:v>45592</c:v>
                </c:pt>
                <c:pt idx="83">
                  <c:v>45599</c:v>
                </c:pt>
                <c:pt idx="84">
                  <c:v>45606</c:v>
                </c:pt>
                <c:pt idx="85">
                  <c:v>45613</c:v>
                </c:pt>
                <c:pt idx="86">
                  <c:v>45620</c:v>
                </c:pt>
                <c:pt idx="87">
                  <c:v>45627</c:v>
                </c:pt>
                <c:pt idx="88">
                  <c:v>45634</c:v>
                </c:pt>
                <c:pt idx="89">
                  <c:v>45641</c:v>
                </c:pt>
                <c:pt idx="90">
                  <c:v>45648</c:v>
                </c:pt>
                <c:pt idx="91">
                  <c:v>45655</c:v>
                </c:pt>
                <c:pt idx="92">
                  <c:v>45662</c:v>
                </c:pt>
                <c:pt idx="93">
                  <c:v>45669</c:v>
                </c:pt>
                <c:pt idx="94">
                  <c:v>45676</c:v>
                </c:pt>
                <c:pt idx="95">
                  <c:v>45683</c:v>
                </c:pt>
              </c:numCache>
            </c:numRef>
          </c:cat>
          <c:val>
            <c:numRef>
              <c:f>Sheet1!$B$2:$B$97</c:f>
              <c:numCache>
                <c:formatCode>General</c:formatCode>
                <c:ptCount val="96"/>
                <c:pt idx="0">
                  <c:v>82259</c:v>
                </c:pt>
                <c:pt idx="1">
                  <c:v>55523</c:v>
                </c:pt>
                <c:pt idx="2">
                  <c:v>62066</c:v>
                </c:pt>
                <c:pt idx="3">
                  <c:v>38805</c:v>
                </c:pt>
                <c:pt idx="4">
                  <c:v>25160</c:v>
                </c:pt>
                <c:pt idx="5">
                  <c:v>36847</c:v>
                </c:pt>
                <c:pt idx="6">
                  <c:v>43294</c:v>
                </c:pt>
                <c:pt idx="7">
                  <c:v>61386</c:v>
                </c:pt>
                <c:pt idx="8">
                  <c:v>35869</c:v>
                </c:pt>
                <c:pt idx="9">
                  <c:v>35896</c:v>
                </c:pt>
                <c:pt idx="10">
                  <c:v>52287</c:v>
                </c:pt>
                <c:pt idx="11">
                  <c:v>40602</c:v>
                </c:pt>
                <c:pt idx="12">
                  <c:v>29449</c:v>
                </c:pt>
                <c:pt idx="13">
                  <c:v>30502</c:v>
                </c:pt>
                <c:pt idx="14">
                  <c:v>34262</c:v>
                </c:pt>
                <c:pt idx="15">
                  <c:v>60735</c:v>
                </c:pt>
                <c:pt idx="16">
                  <c:v>29203</c:v>
                </c:pt>
                <c:pt idx="17">
                  <c:v>6680</c:v>
                </c:pt>
                <c:pt idx="18">
                  <c:v>3057</c:v>
                </c:pt>
                <c:pt idx="19">
                  <c:v>2562</c:v>
                </c:pt>
                <c:pt idx="20">
                  <c:v>778</c:v>
                </c:pt>
                <c:pt idx="21">
                  <c:v>57953</c:v>
                </c:pt>
                <c:pt idx="22">
                  <c:v>44289</c:v>
                </c:pt>
                <c:pt idx="23">
                  <c:v>16073</c:v>
                </c:pt>
                <c:pt idx="24">
                  <c:v>1992</c:v>
                </c:pt>
                <c:pt idx="25">
                  <c:v>797</c:v>
                </c:pt>
                <c:pt idx="26">
                  <c:v>13874</c:v>
                </c:pt>
                <c:pt idx="27">
                  <c:v>26785</c:v>
                </c:pt>
                <c:pt idx="28">
                  <c:v>64590</c:v>
                </c:pt>
                <c:pt idx="29">
                  <c:v>75900</c:v>
                </c:pt>
                <c:pt idx="30">
                  <c:v>71423</c:v>
                </c:pt>
                <c:pt idx="31">
                  <c:v>73250</c:v>
                </c:pt>
                <c:pt idx="32">
                  <c:v>49290</c:v>
                </c:pt>
                <c:pt idx="33">
                  <c:v>55969</c:v>
                </c:pt>
                <c:pt idx="34">
                  <c:v>89836</c:v>
                </c:pt>
                <c:pt idx="35">
                  <c:v>89019</c:v>
                </c:pt>
                <c:pt idx="36">
                  <c:v>114913</c:v>
                </c:pt>
                <c:pt idx="37">
                  <c:v>185905</c:v>
                </c:pt>
                <c:pt idx="38">
                  <c:v>311789</c:v>
                </c:pt>
                <c:pt idx="39">
                  <c:v>300604</c:v>
                </c:pt>
                <c:pt idx="40">
                  <c:v>14537</c:v>
                </c:pt>
                <c:pt idx="41">
                  <c:v>32402</c:v>
                </c:pt>
                <c:pt idx="42">
                  <c:v>17029</c:v>
                </c:pt>
                <c:pt idx="43">
                  <c:v>8616</c:v>
                </c:pt>
                <c:pt idx="44">
                  <c:v>38880</c:v>
                </c:pt>
                <c:pt idx="45">
                  <c:v>71407</c:v>
                </c:pt>
                <c:pt idx="46">
                  <c:v>85905</c:v>
                </c:pt>
                <c:pt idx="47">
                  <c:v>140716</c:v>
                </c:pt>
                <c:pt idx="48">
                  <c:v>123889</c:v>
                </c:pt>
                <c:pt idx="49">
                  <c:v>114587</c:v>
                </c:pt>
                <c:pt idx="50">
                  <c:v>93820</c:v>
                </c:pt>
                <c:pt idx="51">
                  <c:v>76707</c:v>
                </c:pt>
                <c:pt idx="52">
                  <c:v>60663</c:v>
                </c:pt>
                <c:pt idx="53">
                  <c:v>58840</c:v>
                </c:pt>
                <c:pt idx="54">
                  <c:v>58504</c:v>
                </c:pt>
                <c:pt idx="55">
                  <c:v>71486</c:v>
                </c:pt>
                <c:pt idx="56">
                  <c:v>51419</c:v>
                </c:pt>
                <c:pt idx="57">
                  <c:v>52638</c:v>
                </c:pt>
                <c:pt idx="58">
                  <c:v>50074</c:v>
                </c:pt>
                <c:pt idx="59">
                  <c:v>48926</c:v>
                </c:pt>
                <c:pt idx="60">
                  <c:v>35142</c:v>
                </c:pt>
                <c:pt idx="61">
                  <c:v>517</c:v>
                </c:pt>
                <c:pt idx="62">
                  <c:v>1058</c:v>
                </c:pt>
                <c:pt idx="63">
                  <c:v>543</c:v>
                </c:pt>
                <c:pt idx="64">
                  <c:v>1666</c:v>
                </c:pt>
                <c:pt idx="65">
                  <c:v>439</c:v>
                </c:pt>
                <c:pt idx="66">
                  <c:v>1458</c:v>
                </c:pt>
                <c:pt idx="67">
                  <c:v>27586</c:v>
                </c:pt>
                <c:pt idx="68">
                  <c:v>52071</c:v>
                </c:pt>
                <c:pt idx="69">
                  <c:v>53579</c:v>
                </c:pt>
                <c:pt idx="70">
                  <c:v>51922</c:v>
                </c:pt>
                <c:pt idx="71">
                  <c:v>14391</c:v>
                </c:pt>
                <c:pt idx="72">
                  <c:v>11799</c:v>
                </c:pt>
                <c:pt idx="73">
                  <c:v>884</c:v>
                </c:pt>
                <c:pt idx="74">
                  <c:v>7938</c:v>
                </c:pt>
                <c:pt idx="75">
                  <c:v>1079</c:v>
                </c:pt>
                <c:pt idx="76">
                  <c:v>1138</c:v>
                </c:pt>
                <c:pt idx="77">
                  <c:v>1046</c:v>
                </c:pt>
                <c:pt idx="78">
                  <c:v>13474</c:v>
                </c:pt>
                <c:pt idx="79">
                  <c:v>29965</c:v>
                </c:pt>
                <c:pt idx="80">
                  <c:v>54504</c:v>
                </c:pt>
                <c:pt idx="81">
                  <c:v>82305</c:v>
                </c:pt>
                <c:pt idx="82">
                  <c:v>58368</c:v>
                </c:pt>
                <c:pt idx="83">
                  <c:v>35221</c:v>
                </c:pt>
                <c:pt idx="84">
                  <c:v>44696</c:v>
                </c:pt>
                <c:pt idx="85">
                  <c:v>103856</c:v>
                </c:pt>
                <c:pt idx="86">
                  <c:v>225472</c:v>
                </c:pt>
                <c:pt idx="87">
                  <c:v>260287</c:v>
                </c:pt>
                <c:pt idx="88">
                  <c:v>286691</c:v>
                </c:pt>
                <c:pt idx="89">
                  <c:v>334735</c:v>
                </c:pt>
                <c:pt idx="90">
                  <c:v>442184</c:v>
                </c:pt>
                <c:pt idx="91">
                  <c:v>616012</c:v>
                </c:pt>
                <c:pt idx="92">
                  <c:v>173231</c:v>
                </c:pt>
                <c:pt idx="93">
                  <c:v>152538</c:v>
                </c:pt>
                <c:pt idx="94">
                  <c:v>151156</c:v>
                </c:pt>
                <c:pt idx="95">
                  <c:v>135814</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97</c:f>
              <c:numCache>
                <c:formatCode>yyyy\-mm\-dd</c:formatCode>
                <c:ptCount val="96"/>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109</c:v>
                </c:pt>
                <c:pt idx="21">
                  <c:v>45130</c:v>
                </c:pt>
                <c:pt idx="22">
                  <c:v>45172</c:v>
                </c:pt>
                <c:pt idx="23">
                  <c:v>45179</c:v>
                </c:pt>
                <c:pt idx="24">
                  <c:v>45186</c:v>
                </c:pt>
                <c:pt idx="25">
                  <c:v>45193</c:v>
                </c:pt>
                <c:pt idx="26">
                  <c:v>45200</c:v>
                </c:pt>
                <c:pt idx="27">
                  <c:v>45207</c:v>
                </c:pt>
                <c:pt idx="28">
                  <c:v>45214</c:v>
                </c:pt>
                <c:pt idx="29">
                  <c:v>45221</c:v>
                </c:pt>
                <c:pt idx="30">
                  <c:v>45228</c:v>
                </c:pt>
                <c:pt idx="31">
                  <c:v>45235</c:v>
                </c:pt>
                <c:pt idx="32">
                  <c:v>45242</c:v>
                </c:pt>
                <c:pt idx="33">
                  <c:v>45249</c:v>
                </c:pt>
                <c:pt idx="34">
                  <c:v>45256</c:v>
                </c:pt>
                <c:pt idx="35">
                  <c:v>45263</c:v>
                </c:pt>
                <c:pt idx="36">
                  <c:v>45270</c:v>
                </c:pt>
                <c:pt idx="37">
                  <c:v>45277</c:v>
                </c:pt>
                <c:pt idx="38">
                  <c:v>45284</c:v>
                </c:pt>
                <c:pt idx="39">
                  <c:v>45291</c:v>
                </c:pt>
                <c:pt idx="40">
                  <c:v>45298</c:v>
                </c:pt>
                <c:pt idx="41">
                  <c:v>45305</c:v>
                </c:pt>
                <c:pt idx="42">
                  <c:v>45312</c:v>
                </c:pt>
                <c:pt idx="43">
                  <c:v>45319</c:v>
                </c:pt>
                <c:pt idx="44">
                  <c:v>45326</c:v>
                </c:pt>
                <c:pt idx="45">
                  <c:v>45333</c:v>
                </c:pt>
                <c:pt idx="46">
                  <c:v>45340</c:v>
                </c:pt>
                <c:pt idx="47">
                  <c:v>45347</c:v>
                </c:pt>
                <c:pt idx="48">
                  <c:v>45354</c:v>
                </c:pt>
                <c:pt idx="49">
                  <c:v>45361</c:v>
                </c:pt>
                <c:pt idx="50">
                  <c:v>45368</c:v>
                </c:pt>
                <c:pt idx="51">
                  <c:v>45375</c:v>
                </c:pt>
                <c:pt idx="52">
                  <c:v>45382</c:v>
                </c:pt>
                <c:pt idx="53">
                  <c:v>45389</c:v>
                </c:pt>
                <c:pt idx="54">
                  <c:v>45396</c:v>
                </c:pt>
                <c:pt idx="55">
                  <c:v>45403</c:v>
                </c:pt>
                <c:pt idx="56">
                  <c:v>45410</c:v>
                </c:pt>
                <c:pt idx="57">
                  <c:v>45417</c:v>
                </c:pt>
                <c:pt idx="58">
                  <c:v>45424</c:v>
                </c:pt>
                <c:pt idx="59">
                  <c:v>45431</c:v>
                </c:pt>
                <c:pt idx="60">
                  <c:v>45438</c:v>
                </c:pt>
                <c:pt idx="61">
                  <c:v>45445</c:v>
                </c:pt>
                <c:pt idx="62">
                  <c:v>45452</c:v>
                </c:pt>
                <c:pt idx="63">
                  <c:v>45459</c:v>
                </c:pt>
                <c:pt idx="64">
                  <c:v>45466</c:v>
                </c:pt>
                <c:pt idx="65">
                  <c:v>45473</c:v>
                </c:pt>
                <c:pt idx="66">
                  <c:v>45480</c:v>
                </c:pt>
                <c:pt idx="67">
                  <c:v>45487</c:v>
                </c:pt>
                <c:pt idx="68">
                  <c:v>45494</c:v>
                </c:pt>
                <c:pt idx="69">
                  <c:v>45501</c:v>
                </c:pt>
                <c:pt idx="70">
                  <c:v>45508</c:v>
                </c:pt>
                <c:pt idx="71">
                  <c:v>45515</c:v>
                </c:pt>
                <c:pt idx="72">
                  <c:v>45522</c:v>
                </c:pt>
                <c:pt idx="73">
                  <c:v>45529</c:v>
                </c:pt>
                <c:pt idx="74">
                  <c:v>45536</c:v>
                </c:pt>
                <c:pt idx="75">
                  <c:v>45543</c:v>
                </c:pt>
                <c:pt idx="76">
                  <c:v>45550</c:v>
                </c:pt>
                <c:pt idx="77">
                  <c:v>45557</c:v>
                </c:pt>
                <c:pt idx="78">
                  <c:v>45564</c:v>
                </c:pt>
                <c:pt idx="79">
                  <c:v>45571</c:v>
                </c:pt>
                <c:pt idx="80">
                  <c:v>45578</c:v>
                </c:pt>
                <c:pt idx="81">
                  <c:v>45585</c:v>
                </c:pt>
                <c:pt idx="82">
                  <c:v>45592</c:v>
                </c:pt>
                <c:pt idx="83">
                  <c:v>45599</c:v>
                </c:pt>
                <c:pt idx="84">
                  <c:v>45606</c:v>
                </c:pt>
                <c:pt idx="85">
                  <c:v>45613</c:v>
                </c:pt>
                <c:pt idx="86">
                  <c:v>45620</c:v>
                </c:pt>
                <c:pt idx="87">
                  <c:v>45627</c:v>
                </c:pt>
                <c:pt idx="88">
                  <c:v>45634</c:v>
                </c:pt>
                <c:pt idx="89">
                  <c:v>45641</c:v>
                </c:pt>
                <c:pt idx="90">
                  <c:v>45648</c:v>
                </c:pt>
                <c:pt idx="91">
                  <c:v>45655</c:v>
                </c:pt>
                <c:pt idx="92">
                  <c:v>45662</c:v>
                </c:pt>
                <c:pt idx="93">
                  <c:v>45669</c:v>
                </c:pt>
                <c:pt idx="94">
                  <c:v>45676</c:v>
                </c:pt>
                <c:pt idx="95">
                  <c:v>45683</c:v>
                </c:pt>
              </c:numCache>
            </c:numRef>
          </c:cat>
          <c:val>
            <c:numRef>
              <c:f>Sheet1!$C$2:$C$97</c:f>
              <c:numCache>
                <c:formatCode>General</c:formatCode>
                <c:ptCount val="96"/>
                <c:pt idx="0">
                  <c:v>265427</c:v>
                </c:pt>
                <c:pt idx="1">
                  <c:v>273438</c:v>
                </c:pt>
                <c:pt idx="2">
                  <c:v>274004</c:v>
                </c:pt>
                <c:pt idx="3">
                  <c:v>267100</c:v>
                </c:pt>
                <c:pt idx="4">
                  <c:v>276596</c:v>
                </c:pt>
                <c:pt idx="5">
                  <c:v>272192</c:v>
                </c:pt>
                <c:pt idx="6">
                  <c:v>257831</c:v>
                </c:pt>
                <c:pt idx="7">
                  <c:v>272467</c:v>
                </c:pt>
                <c:pt idx="8">
                  <c:v>293227</c:v>
                </c:pt>
                <c:pt idx="9">
                  <c:v>270132</c:v>
                </c:pt>
                <c:pt idx="10">
                  <c:v>272293</c:v>
                </c:pt>
                <c:pt idx="11">
                  <c:v>272364</c:v>
                </c:pt>
                <c:pt idx="12">
                  <c:v>267863</c:v>
                </c:pt>
                <c:pt idx="13">
                  <c:v>293796</c:v>
                </c:pt>
                <c:pt idx="14">
                  <c:v>253400</c:v>
                </c:pt>
                <c:pt idx="15">
                  <c:v>261002</c:v>
                </c:pt>
                <c:pt idx="16">
                  <c:v>264945</c:v>
                </c:pt>
                <c:pt idx="17">
                  <c:v>298971</c:v>
                </c:pt>
                <c:pt idx="18">
                  <c:v>282697</c:v>
                </c:pt>
                <c:pt idx="19">
                  <c:v>278409</c:v>
                </c:pt>
                <c:pt idx="20">
                  <c:v>300056</c:v>
                </c:pt>
                <c:pt idx="21">
                  <c:v>278306</c:v>
                </c:pt>
                <c:pt idx="22">
                  <c:v>280069</c:v>
                </c:pt>
                <c:pt idx="23">
                  <c:v>298098</c:v>
                </c:pt>
                <c:pt idx="24">
                  <c:v>290032</c:v>
                </c:pt>
                <c:pt idx="25">
                  <c:v>281810</c:v>
                </c:pt>
                <c:pt idx="26">
                  <c:v>269880</c:v>
                </c:pt>
                <c:pt idx="27">
                  <c:v>270487</c:v>
                </c:pt>
                <c:pt idx="28">
                  <c:v>236103</c:v>
                </c:pt>
                <c:pt idx="29">
                  <c:v>235429</c:v>
                </c:pt>
                <c:pt idx="30">
                  <c:v>237621</c:v>
                </c:pt>
                <c:pt idx="31">
                  <c:v>245956</c:v>
                </c:pt>
                <c:pt idx="32">
                  <c:v>271650</c:v>
                </c:pt>
                <c:pt idx="33">
                  <c:v>266549</c:v>
                </c:pt>
                <c:pt idx="34">
                  <c:v>249893</c:v>
                </c:pt>
                <c:pt idx="35">
                  <c:v>261179</c:v>
                </c:pt>
                <c:pt idx="36">
                  <c:v>274113</c:v>
                </c:pt>
                <c:pt idx="37">
                  <c:v>249061</c:v>
                </c:pt>
                <c:pt idx="38">
                  <c:v>258407</c:v>
                </c:pt>
                <c:pt idx="39">
                  <c:v>177998</c:v>
                </c:pt>
                <c:pt idx="40">
                  <c:v>196754</c:v>
                </c:pt>
                <c:pt idx="41">
                  <c:v>189316</c:v>
                </c:pt>
                <c:pt idx="42">
                  <c:v>229287</c:v>
                </c:pt>
                <c:pt idx="43">
                  <c:v>256670</c:v>
                </c:pt>
                <c:pt idx="44">
                  <c:v>239199</c:v>
                </c:pt>
                <c:pt idx="45">
                  <c:v>216428</c:v>
                </c:pt>
                <c:pt idx="46">
                  <c:v>188390</c:v>
                </c:pt>
                <c:pt idx="47">
                  <c:v>184857</c:v>
                </c:pt>
                <c:pt idx="48">
                  <c:v>181616</c:v>
                </c:pt>
                <c:pt idx="49">
                  <c:v>179526</c:v>
                </c:pt>
                <c:pt idx="50">
                  <c:v>186033</c:v>
                </c:pt>
                <c:pt idx="51">
                  <c:v>212554</c:v>
                </c:pt>
                <c:pt idx="52">
                  <c:v>215373</c:v>
                </c:pt>
                <c:pt idx="53">
                  <c:v>218920</c:v>
                </c:pt>
                <c:pt idx="54">
                  <c:v>206896</c:v>
                </c:pt>
                <c:pt idx="55">
                  <c:v>205692</c:v>
                </c:pt>
                <c:pt idx="56">
                  <c:v>204720</c:v>
                </c:pt>
                <c:pt idx="57">
                  <c:v>215373</c:v>
                </c:pt>
                <c:pt idx="58">
                  <c:v>210526</c:v>
                </c:pt>
                <c:pt idx="59">
                  <c:v>203692</c:v>
                </c:pt>
                <c:pt idx="60">
                  <c:v>243060</c:v>
                </c:pt>
                <c:pt idx="61">
                  <c:v>258491</c:v>
                </c:pt>
                <c:pt idx="62">
                  <c:v>276014</c:v>
                </c:pt>
                <c:pt idx="63">
                  <c:v>264105</c:v>
                </c:pt>
                <c:pt idx="64">
                  <c:v>262851</c:v>
                </c:pt>
                <c:pt idx="65">
                  <c:v>262631</c:v>
                </c:pt>
                <c:pt idx="66">
                  <c:v>285612</c:v>
                </c:pt>
                <c:pt idx="67">
                  <c:v>238450</c:v>
                </c:pt>
                <c:pt idx="68">
                  <c:v>225678</c:v>
                </c:pt>
                <c:pt idx="69">
                  <c:v>213900</c:v>
                </c:pt>
                <c:pt idx="70">
                  <c:v>222822</c:v>
                </c:pt>
                <c:pt idx="71">
                  <c:v>252397</c:v>
                </c:pt>
                <c:pt idx="72">
                  <c:v>250937</c:v>
                </c:pt>
                <c:pt idx="73">
                  <c:v>257576</c:v>
                </c:pt>
                <c:pt idx="74">
                  <c:v>247333</c:v>
                </c:pt>
                <c:pt idx="75">
                  <c:v>258329</c:v>
                </c:pt>
                <c:pt idx="76">
                  <c:v>240812</c:v>
                </c:pt>
                <c:pt idx="77">
                  <c:v>244295</c:v>
                </c:pt>
                <c:pt idx="78">
                  <c:v>223708</c:v>
                </c:pt>
                <c:pt idx="79">
                  <c:v>244443</c:v>
                </c:pt>
                <c:pt idx="80">
                  <c:v>204106</c:v>
                </c:pt>
                <c:pt idx="81">
                  <c:v>194732</c:v>
                </c:pt>
                <c:pt idx="82">
                  <c:v>213407</c:v>
                </c:pt>
                <c:pt idx="83">
                  <c:v>236778</c:v>
                </c:pt>
                <c:pt idx="84">
                  <c:v>249752</c:v>
                </c:pt>
                <c:pt idx="85">
                  <c:v>189338</c:v>
                </c:pt>
                <c:pt idx="86">
                  <c:v>73823</c:v>
                </c:pt>
                <c:pt idx="87">
                  <c:v>71145</c:v>
                </c:pt>
                <c:pt idx="88">
                  <c:v>78911</c:v>
                </c:pt>
                <c:pt idx="89">
                  <c:v>74783</c:v>
                </c:pt>
                <c:pt idx="90">
                  <c:v>82178</c:v>
                </c:pt>
                <c:pt idx="91">
                  <c:v>89829</c:v>
                </c:pt>
                <c:pt idx="92">
                  <c:v>69171</c:v>
                </c:pt>
                <c:pt idx="93">
                  <c:v>66863</c:v>
                </c:pt>
                <c:pt idx="94">
                  <c:v>75204</c:v>
                </c:pt>
                <c:pt idx="95">
                  <c:v>70675</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97</c:f>
              <c:numCache>
                <c:formatCode>yyyy\-mm\-dd</c:formatCode>
                <c:ptCount val="96"/>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109</c:v>
                </c:pt>
                <c:pt idx="21">
                  <c:v>45130</c:v>
                </c:pt>
                <c:pt idx="22">
                  <c:v>45172</c:v>
                </c:pt>
                <c:pt idx="23">
                  <c:v>45179</c:v>
                </c:pt>
                <c:pt idx="24">
                  <c:v>45186</c:v>
                </c:pt>
                <c:pt idx="25">
                  <c:v>45193</c:v>
                </c:pt>
                <c:pt idx="26">
                  <c:v>45200</c:v>
                </c:pt>
                <c:pt idx="27">
                  <c:v>45207</c:v>
                </c:pt>
                <c:pt idx="28">
                  <c:v>45214</c:v>
                </c:pt>
                <c:pt idx="29">
                  <c:v>45221</c:v>
                </c:pt>
                <c:pt idx="30">
                  <c:v>45228</c:v>
                </c:pt>
                <c:pt idx="31">
                  <c:v>45235</c:v>
                </c:pt>
                <c:pt idx="32">
                  <c:v>45242</c:v>
                </c:pt>
                <c:pt idx="33">
                  <c:v>45249</c:v>
                </c:pt>
                <c:pt idx="34">
                  <c:v>45256</c:v>
                </c:pt>
                <c:pt idx="35">
                  <c:v>45263</c:v>
                </c:pt>
                <c:pt idx="36">
                  <c:v>45270</c:v>
                </c:pt>
                <c:pt idx="37">
                  <c:v>45277</c:v>
                </c:pt>
                <c:pt idx="38">
                  <c:v>45284</c:v>
                </c:pt>
                <c:pt idx="39">
                  <c:v>45291</c:v>
                </c:pt>
                <c:pt idx="40">
                  <c:v>45298</c:v>
                </c:pt>
                <c:pt idx="41">
                  <c:v>45305</c:v>
                </c:pt>
                <c:pt idx="42">
                  <c:v>45312</c:v>
                </c:pt>
                <c:pt idx="43">
                  <c:v>45319</c:v>
                </c:pt>
                <c:pt idx="44">
                  <c:v>45326</c:v>
                </c:pt>
                <c:pt idx="45">
                  <c:v>45333</c:v>
                </c:pt>
                <c:pt idx="46">
                  <c:v>45340</c:v>
                </c:pt>
                <c:pt idx="47">
                  <c:v>45347</c:v>
                </c:pt>
                <c:pt idx="48">
                  <c:v>45354</c:v>
                </c:pt>
                <c:pt idx="49">
                  <c:v>45361</c:v>
                </c:pt>
                <c:pt idx="50">
                  <c:v>45368</c:v>
                </c:pt>
                <c:pt idx="51">
                  <c:v>45375</c:v>
                </c:pt>
                <c:pt idx="52">
                  <c:v>45382</c:v>
                </c:pt>
                <c:pt idx="53">
                  <c:v>45389</c:v>
                </c:pt>
                <c:pt idx="54">
                  <c:v>45396</c:v>
                </c:pt>
                <c:pt idx="55">
                  <c:v>45403</c:v>
                </c:pt>
                <c:pt idx="56">
                  <c:v>45410</c:v>
                </c:pt>
                <c:pt idx="57">
                  <c:v>45417</c:v>
                </c:pt>
                <c:pt idx="58">
                  <c:v>45424</c:v>
                </c:pt>
                <c:pt idx="59">
                  <c:v>45431</c:v>
                </c:pt>
                <c:pt idx="60">
                  <c:v>45438</c:v>
                </c:pt>
                <c:pt idx="61">
                  <c:v>45445</c:v>
                </c:pt>
                <c:pt idx="62">
                  <c:v>45452</c:v>
                </c:pt>
                <c:pt idx="63">
                  <c:v>45459</c:v>
                </c:pt>
                <c:pt idx="64">
                  <c:v>45466</c:v>
                </c:pt>
                <c:pt idx="65">
                  <c:v>45473</c:v>
                </c:pt>
                <c:pt idx="66">
                  <c:v>45480</c:v>
                </c:pt>
                <c:pt idx="67">
                  <c:v>45487</c:v>
                </c:pt>
                <c:pt idx="68">
                  <c:v>45494</c:v>
                </c:pt>
                <c:pt idx="69">
                  <c:v>45501</c:v>
                </c:pt>
                <c:pt idx="70">
                  <c:v>45508</c:v>
                </c:pt>
                <c:pt idx="71">
                  <c:v>45515</c:v>
                </c:pt>
                <c:pt idx="72">
                  <c:v>45522</c:v>
                </c:pt>
                <c:pt idx="73">
                  <c:v>45529</c:v>
                </c:pt>
                <c:pt idx="74">
                  <c:v>45536</c:v>
                </c:pt>
                <c:pt idx="75">
                  <c:v>45543</c:v>
                </c:pt>
                <c:pt idx="76">
                  <c:v>45550</c:v>
                </c:pt>
                <c:pt idx="77">
                  <c:v>45557</c:v>
                </c:pt>
                <c:pt idx="78">
                  <c:v>45564</c:v>
                </c:pt>
                <c:pt idx="79">
                  <c:v>45571</c:v>
                </c:pt>
                <c:pt idx="80">
                  <c:v>45578</c:v>
                </c:pt>
                <c:pt idx="81">
                  <c:v>45585</c:v>
                </c:pt>
                <c:pt idx="82">
                  <c:v>45592</c:v>
                </c:pt>
                <c:pt idx="83">
                  <c:v>45599</c:v>
                </c:pt>
                <c:pt idx="84">
                  <c:v>45606</c:v>
                </c:pt>
                <c:pt idx="85">
                  <c:v>45613</c:v>
                </c:pt>
                <c:pt idx="86">
                  <c:v>45620</c:v>
                </c:pt>
                <c:pt idx="87">
                  <c:v>45627</c:v>
                </c:pt>
                <c:pt idx="88">
                  <c:v>45634</c:v>
                </c:pt>
                <c:pt idx="89">
                  <c:v>45641</c:v>
                </c:pt>
                <c:pt idx="90">
                  <c:v>45648</c:v>
                </c:pt>
                <c:pt idx="91">
                  <c:v>45655</c:v>
                </c:pt>
                <c:pt idx="92">
                  <c:v>45662</c:v>
                </c:pt>
                <c:pt idx="93">
                  <c:v>45669</c:v>
                </c:pt>
                <c:pt idx="94">
                  <c:v>45676</c:v>
                </c:pt>
                <c:pt idx="95">
                  <c:v>45683</c:v>
                </c:pt>
              </c:numCache>
            </c:numRef>
          </c:cat>
          <c:val>
            <c:numRef>
              <c:f>Sheet1!$D$2:$D$97</c:f>
              <c:numCache>
                <c:formatCode>General</c:formatCode>
                <c:ptCount val="96"/>
                <c:pt idx="0">
                  <c:v>347686</c:v>
                </c:pt>
                <c:pt idx="1">
                  <c:v>328961</c:v>
                </c:pt>
                <c:pt idx="2">
                  <c:v>336070</c:v>
                </c:pt>
                <c:pt idx="3">
                  <c:v>305905</c:v>
                </c:pt>
                <c:pt idx="4">
                  <c:v>301756</c:v>
                </c:pt>
                <c:pt idx="5">
                  <c:v>309039</c:v>
                </c:pt>
                <c:pt idx="6">
                  <c:v>301125</c:v>
                </c:pt>
                <c:pt idx="7">
                  <c:v>333853</c:v>
                </c:pt>
                <c:pt idx="8">
                  <c:v>329096</c:v>
                </c:pt>
                <c:pt idx="9">
                  <c:v>306028</c:v>
                </c:pt>
                <c:pt idx="10">
                  <c:v>324580</c:v>
                </c:pt>
                <c:pt idx="11">
                  <c:v>312966</c:v>
                </c:pt>
                <c:pt idx="12">
                  <c:v>297312</c:v>
                </c:pt>
                <c:pt idx="13">
                  <c:v>324298</c:v>
                </c:pt>
                <c:pt idx="14">
                  <c:v>287662</c:v>
                </c:pt>
                <c:pt idx="15">
                  <c:v>321737</c:v>
                </c:pt>
                <c:pt idx="16">
                  <c:v>294148</c:v>
                </c:pt>
                <c:pt idx="17">
                  <c:v>305651</c:v>
                </c:pt>
                <c:pt idx="18">
                  <c:v>285754</c:v>
                </c:pt>
                <c:pt idx="19">
                  <c:v>280971</c:v>
                </c:pt>
                <c:pt idx="20">
                  <c:v>300834</c:v>
                </c:pt>
                <c:pt idx="21">
                  <c:v>336259</c:v>
                </c:pt>
                <c:pt idx="22">
                  <c:v>324358</c:v>
                </c:pt>
                <c:pt idx="23">
                  <c:v>314171</c:v>
                </c:pt>
                <c:pt idx="24">
                  <c:v>292024</c:v>
                </c:pt>
                <c:pt idx="25">
                  <c:v>282607</c:v>
                </c:pt>
                <c:pt idx="26">
                  <c:v>283754</c:v>
                </c:pt>
                <c:pt idx="27">
                  <c:v>297272</c:v>
                </c:pt>
                <c:pt idx="28">
                  <c:v>300693</c:v>
                </c:pt>
                <c:pt idx="29">
                  <c:v>311329</c:v>
                </c:pt>
                <c:pt idx="30">
                  <c:v>309044</c:v>
                </c:pt>
                <c:pt idx="31">
                  <c:v>319206</c:v>
                </c:pt>
                <c:pt idx="32">
                  <c:v>320940</c:v>
                </c:pt>
                <c:pt idx="33">
                  <c:v>322518</c:v>
                </c:pt>
                <c:pt idx="34">
                  <c:v>339729</c:v>
                </c:pt>
                <c:pt idx="35">
                  <c:v>350198</c:v>
                </c:pt>
                <c:pt idx="36">
                  <c:v>389026</c:v>
                </c:pt>
                <c:pt idx="37">
                  <c:v>434966</c:v>
                </c:pt>
                <c:pt idx="38">
                  <c:v>570196</c:v>
                </c:pt>
                <c:pt idx="39">
                  <c:v>478602</c:v>
                </c:pt>
                <c:pt idx="40">
                  <c:v>211291</c:v>
                </c:pt>
                <c:pt idx="41">
                  <c:v>221718</c:v>
                </c:pt>
                <c:pt idx="42">
                  <c:v>246316</c:v>
                </c:pt>
                <c:pt idx="43">
                  <c:v>265286</c:v>
                </c:pt>
                <c:pt idx="44">
                  <c:v>278079</c:v>
                </c:pt>
                <c:pt idx="45">
                  <c:v>287835</c:v>
                </c:pt>
                <c:pt idx="46">
                  <c:v>274295</c:v>
                </c:pt>
                <c:pt idx="47">
                  <c:v>325573</c:v>
                </c:pt>
                <c:pt idx="48">
                  <c:v>305505</c:v>
                </c:pt>
                <c:pt idx="49">
                  <c:v>294113</c:v>
                </c:pt>
                <c:pt idx="50">
                  <c:v>279853</c:v>
                </c:pt>
                <c:pt idx="51">
                  <c:v>289261</c:v>
                </c:pt>
                <c:pt idx="52">
                  <c:v>276036</c:v>
                </c:pt>
                <c:pt idx="53">
                  <c:v>277760</c:v>
                </c:pt>
                <c:pt idx="54">
                  <c:v>265400</c:v>
                </c:pt>
                <c:pt idx="55">
                  <c:v>277178</c:v>
                </c:pt>
                <c:pt idx="56">
                  <c:v>256139</c:v>
                </c:pt>
                <c:pt idx="57">
                  <c:v>268011</c:v>
                </c:pt>
                <c:pt idx="58">
                  <c:v>260600</c:v>
                </c:pt>
                <c:pt idx="59">
                  <c:v>252618</c:v>
                </c:pt>
                <c:pt idx="60">
                  <c:v>278202</c:v>
                </c:pt>
                <c:pt idx="61">
                  <c:v>259008</c:v>
                </c:pt>
                <c:pt idx="62">
                  <c:v>277072</c:v>
                </c:pt>
                <c:pt idx="63">
                  <c:v>264648</c:v>
                </c:pt>
                <c:pt idx="64">
                  <c:v>264517</c:v>
                </c:pt>
                <c:pt idx="65">
                  <c:v>263070</c:v>
                </c:pt>
                <c:pt idx="66">
                  <c:v>287070</c:v>
                </c:pt>
                <c:pt idx="67">
                  <c:v>266036</c:v>
                </c:pt>
                <c:pt idx="68">
                  <c:v>277749</c:v>
                </c:pt>
                <c:pt idx="69">
                  <c:v>267479</c:v>
                </c:pt>
                <c:pt idx="70">
                  <c:v>274744</c:v>
                </c:pt>
                <c:pt idx="71">
                  <c:v>266788</c:v>
                </c:pt>
                <c:pt idx="72">
                  <c:v>262736</c:v>
                </c:pt>
                <c:pt idx="73">
                  <c:v>258460</c:v>
                </c:pt>
                <c:pt idx="74">
                  <c:v>255271</c:v>
                </c:pt>
                <c:pt idx="75">
                  <c:v>259408</c:v>
                </c:pt>
                <c:pt idx="76">
                  <c:v>241950</c:v>
                </c:pt>
                <c:pt idx="77">
                  <c:v>245341</c:v>
                </c:pt>
                <c:pt idx="78">
                  <c:v>237182</c:v>
                </c:pt>
                <c:pt idx="79">
                  <c:v>274408</c:v>
                </c:pt>
                <c:pt idx="80">
                  <c:v>258610</c:v>
                </c:pt>
                <c:pt idx="81">
                  <c:v>277037</c:v>
                </c:pt>
                <c:pt idx="82">
                  <c:v>271775</c:v>
                </c:pt>
                <c:pt idx="83">
                  <c:v>271999</c:v>
                </c:pt>
                <c:pt idx="84">
                  <c:v>294448</c:v>
                </c:pt>
                <c:pt idx="85">
                  <c:v>293194</c:v>
                </c:pt>
                <c:pt idx="86">
                  <c:v>299295</c:v>
                </c:pt>
                <c:pt idx="87">
                  <c:v>331432</c:v>
                </c:pt>
                <c:pt idx="88">
                  <c:v>365602</c:v>
                </c:pt>
                <c:pt idx="89">
                  <c:v>409518</c:v>
                </c:pt>
                <c:pt idx="90">
                  <c:v>524362</c:v>
                </c:pt>
                <c:pt idx="91">
                  <c:v>705841</c:v>
                </c:pt>
                <c:pt idx="92">
                  <c:v>242402</c:v>
                </c:pt>
                <c:pt idx="93">
                  <c:v>219401</c:v>
                </c:pt>
                <c:pt idx="94">
                  <c:v>226360</c:v>
                </c:pt>
                <c:pt idx="95">
                  <c:v>206489</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97</c:f>
              <c:numCache>
                <c:formatCode>yyyy\-mm\-dd</c:formatCode>
                <c:ptCount val="96"/>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109</c:v>
                </c:pt>
                <c:pt idx="21">
                  <c:v>45130</c:v>
                </c:pt>
                <c:pt idx="22">
                  <c:v>45172</c:v>
                </c:pt>
                <c:pt idx="23">
                  <c:v>45179</c:v>
                </c:pt>
                <c:pt idx="24">
                  <c:v>45186</c:v>
                </c:pt>
                <c:pt idx="25">
                  <c:v>45193</c:v>
                </c:pt>
                <c:pt idx="26">
                  <c:v>45200</c:v>
                </c:pt>
                <c:pt idx="27">
                  <c:v>45207</c:v>
                </c:pt>
                <c:pt idx="28">
                  <c:v>45214</c:v>
                </c:pt>
                <c:pt idx="29">
                  <c:v>45221</c:v>
                </c:pt>
                <c:pt idx="30">
                  <c:v>45228</c:v>
                </c:pt>
                <c:pt idx="31">
                  <c:v>45235</c:v>
                </c:pt>
                <c:pt idx="32">
                  <c:v>45242</c:v>
                </c:pt>
                <c:pt idx="33">
                  <c:v>45249</c:v>
                </c:pt>
                <c:pt idx="34">
                  <c:v>45256</c:v>
                </c:pt>
                <c:pt idx="35">
                  <c:v>45263</c:v>
                </c:pt>
                <c:pt idx="36">
                  <c:v>45270</c:v>
                </c:pt>
                <c:pt idx="37">
                  <c:v>45277</c:v>
                </c:pt>
                <c:pt idx="38">
                  <c:v>45284</c:v>
                </c:pt>
                <c:pt idx="39">
                  <c:v>45291</c:v>
                </c:pt>
                <c:pt idx="40">
                  <c:v>45298</c:v>
                </c:pt>
                <c:pt idx="41">
                  <c:v>45305</c:v>
                </c:pt>
                <c:pt idx="42">
                  <c:v>45312</c:v>
                </c:pt>
                <c:pt idx="43">
                  <c:v>45319</c:v>
                </c:pt>
                <c:pt idx="44">
                  <c:v>45326</c:v>
                </c:pt>
                <c:pt idx="45">
                  <c:v>45333</c:v>
                </c:pt>
                <c:pt idx="46">
                  <c:v>45340</c:v>
                </c:pt>
                <c:pt idx="47">
                  <c:v>45347</c:v>
                </c:pt>
                <c:pt idx="48">
                  <c:v>45354</c:v>
                </c:pt>
                <c:pt idx="49">
                  <c:v>45361</c:v>
                </c:pt>
                <c:pt idx="50">
                  <c:v>45368</c:v>
                </c:pt>
                <c:pt idx="51">
                  <c:v>45375</c:v>
                </c:pt>
                <c:pt idx="52">
                  <c:v>45382</c:v>
                </c:pt>
                <c:pt idx="53">
                  <c:v>45389</c:v>
                </c:pt>
                <c:pt idx="54">
                  <c:v>45396</c:v>
                </c:pt>
                <c:pt idx="55">
                  <c:v>45403</c:v>
                </c:pt>
                <c:pt idx="56">
                  <c:v>45410</c:v>
                </c:pt>
                <c:pt idx="57">
                  <c:v>45417</c:v>
                </c:pt>
                <c:pt idx="58">
                  <c:v>45424</c:v>
                </c:pt>
                <c:pt idx="59">
                  <c:v>45431</c:v>
                </c:pt>
                <c:pt idx="60">
                  <c:v>45438</c:v>
                </c:pt>
                <c:pt idx="61">
                  <c:v>45445</c:v>
                </c:pt>
                <c:pt idx="62">
                  <c:v>45452</c:v>
                </c:pt>
                <c:pt idx="63">
                  <c:v>45459</c:v>
                </c:pt>
                <c:pt idx="64">
                  <c:v>45466</c:v>
                </c:pt>
                <c:pt idx="65">
                  <c:v>45473</c:v>
                </c:pt>
                <c:pt idx="66">
                  <c:v>45480</c:v>
                </c:pt>
                <c:pt idx="67">
                  <c:v>45487</c:v>
                </c:pt>
                <c:pt idx="68">
                  <c:v>45494</c:v>
                </c:pt>
                <c:pt idx="69">
                  <c:v>45501</c:v>
                </c:pt>
                <c:pt idx="70">
                  <c:v>45508</c:v>
                </c:pt>
                <c:pt idx="71">
                  <c:v>45515</c:v>
                </c:pt>
                <c:pt idx="72">
                  <c:v>45522</c:v>
                </c:pt>
                <c:pt idx="73">
                  <c:v>45529</c:v>
                </c:pt>
                <c:pt idx="74">
                  <c:v>45536</c:v>
                </c:pt>
                <c:pt idx="75">
                  <c:v>45543</c:v>
                </c:pt>
                <c:pt idx="76">
                  <c:v>45550</c:v>
                </c:pt>
                <c:pt idx="77">
                  <c:v>45557</c:v>
                </c:pt>
                <c:pt idx="78">
                  <c:v>45564</c:v>
                </c:pt>
                <c:pt idx="79">
                  <c:v>45571</c:v>
                </c:pt>
                <c:pt idx="80">
                  <c:v>45578</c:v>
                </c:pt>
                <c:pt idx="81">
                  <c:v>45585</c:v>
                </c:pt>
                <c:pt idx="82">
                  <c:v>45592</c:v>
                </c:pt>
                <c:pt idx="83">
                  <c:v>45599</c:v>
                </c:pt>
                <c:pt idx="84">
                  <c:v>45606</c:v>
                </c:pt>
                <c:pt idx="85">
                  <c:v>45613</c:v>
                </c:pt>
                <c:pt idx="86">
                  <c:v>45620</c:v>
                </c:pt>
                <c:pt idx="87">
                  <c:v>45627</c:v>
                </c:pt>
                <c:pt idx="88">
                  <c:v>45634</c:v>
                </c:pt>
                <c:pt idx="89">
                  <c:v>45641</c:v>
                </c:pt>
                <c:pt idx="90">
                  <c:v>45648</c:v>
                </c:pt>
                <c:pt idx="91">
                  <c:v>45655</c:v>
                </c:pt>
                <c:pt idx="92">
                  <c:v>45662</c:v>
                </c:pt>
                <c:pt idx="93">
                  <c:v>45669</c:v>
                </c:pt>
                <c:pt idx="94">
                  <c:v>45676</c:v>
                </c:pt>
                <c:pt idx="95">
                  <c:v>45683</c:v>
                </c:pt>
              </c:numCache>
            </c:numRef>
          </c:cat>
          <c:val>
            <c:numRef>
              <c:f>Sheet1!$E$2:$E$97</c:f>
              <c:numCache>
                <c:formatCode>General</c:formatCode>
                <c:ptCount val="96"/>
                <c:pt idx="0">
                  <c:v>283980</c:v>
                </c:pt>
                <c:pt idx="1">
                  <c:v>285400</c:v>
                </c:pt>
                <c:pt idx="2">
                  <c:v>288061</c:v>
                </c:pt>
                <c:pt idx="3">
                  <c:v>288932</c:v>
                </c:pt>
                <c:pt idx="4">
                  <c:v>291798</c:v>
                </c:pt>
                <c:pt idx="5">
                  <c:v>296266</c:v>
                </c:pt>
                <c:pt idx="6">
                  <c:v>302741</c:v>
                </c:pt>
                <c:pt idx="7">
                  <c:v>314587</c:v>
                </c:pt>
                <c:pt idx="8">
                  <c:v>317624</c:v>
                </c:pt>
                <c:pt idx="9">
                  <c:v>317269</c:v>
                </c:pt>
                <c:pt idx="10">
                  <c:v>313110</c:v>
                </c:pt>
                <c:pt idx="11">
                  <c:v>311035</c:v>
                </c:pt>
                <c:pt idx="12">
                  <c:v>309476</c:v>
                </c:pt>
                <c:pt idx="13">
                  <c:v>306158</c:v>
                </c:pt>
                <c:pt idx="14">
                  <c:v>306935</c:v>
                </c:pt>
                <c:pt idx="15">
                  <c:v>302798</c:v>
                </c:pt>
                <c:pt idx="16">
                  <c:v>298374</c:v>
                </c:pt>
                <c:pt idx="17">
                  <c:v>300141</c:v>
                </c:pt>
                <c:pt idx="18">
                  <c:v>298820</c:v>
                </c:pt>
                <c:pt idx="19">
                  <c:v>301285</c:v>
                </c:pt>
                <c:pt idx="20">
                  <c:v>308155</c:v>
                </c:pt>
                <c:pt idx="21">
                  <c:v>313117</c:v>
                </c:pt>
                <c:pt idx="22">
                  <c:v>309264</c:v>
                </c:pt>
                <c:pt idx="23">
                  <c:v>303464</c:v>
                </c:pt>
                <c:pt idx="24">
                  <c:v>301786</c:v>
                </c:pt>
                <c:pt idx="25">
                  <c:v>297776</c:v>
                </c:pt>
                <c:pt idx="26">
                  <c:v>294278</c:v>
                </c:pt>
                <c:pt idx="27">
                  <c:v>288459</c:v>
                </c:pt>
                <c:pt idx="28">
                  <c:v>302156</c:v>
                </c:pt>
                <c:pt idx="29">
                  <c:v>312677</c:v>
                </c:pt>
                <c:pt idx="30">
                  <c:v>312028</c:v>
                </c:pt>
                <c:pt idx="31">
                  <c:v>313097</c:v>
                </c:pt>
                <c:pt idx="32">
                  <c:v>310924</c:v>
                </c:pt>
                <c:pt idx="33">
                  <c:v>310085</c:v>
                </c:pt>
                <c:pt idx="34">
                  <c:v>311507</c:v>
                </c:pt>
                <c:pt idx="35">
                  <c:v>316855</c:v>
                </c:pt>
                <c:pt idx="36">
                  <c:v>307281</c:v>
                </c:pt>
                <c:pt idx="37">
                  <c:v>296725</c:v>
                </c:pt>
                <c:pt idx="38">
                  <c:v>287841</c:v>
                </c:pt>
                <c:pt idx="39">
                  <c:v>331947</c:v>
                </c:pt>
                <c:pt idx="40">
                  <c:v>304724</c:v>
                </c:pt>
                <c:pt idx="41">
                  <c:v>279322</c:v>
                </c:pt>
                <c:pt idx="42">
                  <c:v>255113</c:v>
                </c:pt>
                <c:pt idx="43">
                  <c:v>240626</c:v>
                </c:pt>
                <c:pt idx="44">
                  <c:v>253496</c:v>
                </c:pt>
                <c:pt idx="45">
                  <c:v>276788</c:v>
                </c:pt>
                <c:pt idx="46">
                  <c:v>282334</c:v>
                </c:pt>
                <c:pt idx="47">
                  <c:v>286561</c:v>
                </c:pt>
                <c:pt idx="48">
                  <c:v>293390</c:v>
                </c:pt>
                <c:pt idx="49">
                  <c:v>293475</c:v>
                </c:pt>
                <c:pt idx="50">
                  <c:v>292278</c:v>
                </c:pt>
                <c:pt idx="51">
                  <c:v>289675</c:v>
                </c:pt>
                <c:pt idx="52">
                  <c:v>285399</c:v>
                </c:pt>
                <c:pt idx="53">
                  <c:v>281595</c:v>
                </c:pt>
                <c:pt idx="54">
                  <c:v>279564</c:v>
                </c:pt>
                <c:pt idx="55">
                  <c:v>273292</c:v>
                </c:pt>
                <c:pt idx="56">
                  <c:v>265446</c:v>
                </c:pt>
                <c:pt idx="57">
                  <c:v>266017</c:v>
                </c:pt>
                <c:pt idx="58">
                  <c:v>263873</c:v>
                </c:pt>
                <c:pt idx="59">
                  <c:v>264349</c:v>
                </c:pt>
                <c:pt idx="60">
                  <c:v>265055</c:v>
                </c:pt>
                <c:pt idx="61">
                  <c:v>265461</c:v>
                </c:pt>
                <c:pt idx="62">
                  <c:v>264806</c:v>
                </c:pt>
                <c:pt idx="63">
                  <c:v>268272</c:v>
                </c:pt>
                <c:pt idx="64">
                  <c:v>269754</c:v>
                </c:pt>
                <c:pt idx="65">
                  <c:v>269927</c:v>
                </c:pt>
                <c:pt idx="66">
                  <c:v>270901</c:v>
                </c:pt>
                <c:pt idx="67">
                  <c:v>270182</c:v>
                </c:pt>
                <c:pt idx="68">
                  <c:v>270531</c:v>
                </c:pt>
                <c:pt idx="69">
                  <c:v>269797</c:v>
                </c:pt>
                <c:pt idx="70">
                  <c:v>270511</c:v>
                </c:pt>
                <c:pt idx="71">
                  <c:v>265930</c:v>
                </c:pt>
                <c:pt idx="72">
                  <c:v>265130</c:v>
                </c:pt>
                <c:pt idx="73">
                  <c:v>261057</c:v>
                </c:pt>
                <c:pt idx="74">
                  <c:v>258197</c:v>
                </c:pt>
                <c:pt idx="75">
                  <c:v>253678</c:v>
                </c:pt>
                <c:pt idx="76">
                  <c:v>254534</c:v>
                </c:pt>
                <c:pt idx="77">
                  <c:v>253670</c:v>
                </c:pt>
                <c:pt idx="78">
                  <c:v>255655</c:v>
                </c:pt>
                <c:pt idx="79">
                  <c:v>258101</c:v>
                </c:pt>
                <c:pt idx="80">
                  <c:v>258850</c:v>
                </c:pt>
                <c:pt idx="81">
                  <c:v>263473</c:v>
                </c:pt>
                <c:pt idx="82">
                  <c:v>266654</c:v>
                </c:pt>
                <c:pt idx="83">
                  <c:v>271881</c:v>
                </c:pt>
                <c:pt idx="84">
                  <c:v>269698</c:v>
                </c:pt>
                <c:pt idx="85">
                  <c:v>274398</c:v>
                </c:pt>
                <c:pt idx="86">
                  <c:v>275545</c:v>
                </c:pt>
                <c:pt idx="87">
                  <c:v>277416</c:v>
                </c:pt>
                <c:pt idx="88">
                  <c:v>284093</c:v>
                </c:pt>
                <c:pt idx="89">
                  <c:v>262959</c:v>
                </c:pt>
                <c:pt idx="90">
                  <c:v>254076</c:v>
                </c:pt>
                <c:pt idx="91">
                  <c:v>249134</c:v>
                </c:pt>
                <c:pt idx="92">
                  <c:v>256538</c:v>
                </c:pt>
                <c:pt idx="93">
                  <c:v>242763</c:v>
                </c:pt>
                <c:pt idx="94">
                  <c:v>247229</c:v>
                </c:pt>
                <c:pt idx="95">
                  <c:v>230850</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97</c:f>
              <c:numCache>
                <c:formatCode>yyyy\-mm\-dd</c:formatCode>
                <c:ptCount val="96"/>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109</c:v>
                </c:pt>
                <c:pt idx="21">
                  <c:v>45130</c:v>
                </c:pt>
                <c:pt idx="22">
                  <c:v>45172</c:v>
                </c:pt>
                <c:pt idx="23">
                  <c:v>45179</c:v>
                </c:pt>
                <c:pt idx="24">
                  <c:v>45186</c:v>
                </c:pt>
                <c:pt idx="25">
                  <c:v>45193</c:v>
                </c:pt>
                <c:pt idx="26">
                  <c:v>45200</c:v>
                </c:pt>
                <c:pt idx="27">
                  <c:v>45207</c:v>
                </c:pt>
                <c:pt idx="28">
                  <c:v>45214</c:v>
                </c:pt>
                <c:pt idx="29">
                  <c:v>45221</c:v>
                </c:pt>
                <c:pt idx="30">
                  <c:v>45228</c:v>
                </c:pt>
                <c:pt idx="31">
                  <c:v>45235</c:v>
                </c:pt>
                <c:pt idx="32">
                  <c:v>45242</c:v>
                </c:pt>
                <c:pt idx="33">
                  <c:v>45249</c:v>
                </c:pt>
                <c:pt idx="34">
                  <c:v>45256</c:v>
                </c:pt>
                <c:pt idx="35">
                  <c:v>45263</c:v>
                </c:pt>
                <c:pt idx="36">
                  <c:v>45270</c:v>
                </c:pt>
                <c:pt idx="37">
                  <c:v>45277</c:v>
                </c:pt>
                <c:pt idx="38">
                  <c:v>45284</c:v>
                </c:pt>
                <c:pt idx="39">
                  <c:v>45291</c:v>
                </c:pt>
                <c:pt idx="40">
                  <c:v>45298</c:v>
                </c:pt>
                <c:pt idx="41">
                  <c:v>45305</c:v>
                </c:pt>
                <c:pt idx="42">
                  <c:v>45312</c:v>
                </c:pt>
                <c:pt idx="43">
                  <c:v>45319</c:v>
                </c:pt>
                <c:pt idx="44">
                  <c:v>45326</c:v>
                </c:pt>
                <c:pt idx="45">
                  <c:v>45333</c:v>
                </c:pt>
                <c:pt idx="46">
                  <c:v>45340</c:v>
                </c:pt>
                <c:pt idx="47">
                  <c:v>45347</c:v>
                </c:pt>
                <c:pt idx="48">
                  <c:v>45354</c:v>
                </c:pt>
                <c:pt idx="49">
                  <c:v>45361</c:v>
                </c:pt>
                <c:pt idx="50">
                  <c:v>45368</c:v>
                </c:pt>
                <c:pt idx="51">
                  <c:v>45375</c:v>
                </c:pt>
                <c:pt idx="52">
                  <c:v>45382</c:v>
                </c:pt>
                <c:pt idx="53">
                  <c:v>45389</c:v>
                </c:pt>
                <c:pt idx="54">
                  <c:v>45396</c:v>
                </c:pt>
                <c:pt idx="55">
                  <c:v>45403</c:v>
                </c:pt>
                <c:pt idx="56">
                  <c:v>45410</c:v>
                </c:pt>
                <c:pt idx="57">
                  <c:v>45417</c:v>
                </c:pt>
                <c:pt idx="58">
                  <c:v>45424</c:v>
                </c:pt>
                <c:pt idx="59">
                  <c:v>45431</c:v>
                </c:pt>
                <c:pt idx="60">
                  <c:v>45438</c:v>
                </c:pt>
                <c:pt idx="61">
                  <c:v>45445</c:v>
                </c:pt>
                <c:pt idx="62">
                  <c:v>45452</c:v>
                </c:pt>
                <c:pt idx="63">
                  <c:v>45459</c:v>
                </c:pt>
                <c:pt idx="64">
                  <c:v>45466</c:v>
                </c:pt>
                <c:pt idx="65">
                  <c:v>45473</c:v>
                </c:pt>
                <c:pt idx="66">
                  <c:v>45480</c:v>
                </c:pt>
                <c:pt idx="67">
                  <c:v>45487</c:v>
                </c:pt>
                <c:pt idx="68">
                  <c:v>45494</c:v>
                </c:pt>
                <c:pt idx="69">
                  <c:v>45501</c:v>
                </c:pt>
                <c:pt idx="70">
                  <c:v>45508</c:v>
                </c:pt>
                <c:pt idx="71">
                  <c:v>45515</c:v>
                </c:pt>
                <c:pt idx="72">
                  <c:v>45522</c:v>
                </c:pt>
                <c:pt idx="73">
                  <c:v>45529</c:v>
                </c:pt>
                <c:pt idx="74">
                  <c:v>45536</c:v>
                </c:pt>
                <c:pt idx="75">
                  <c:v>45543</c:v>
                </c:pt>
                <c:pt idx="76">
                  <c:v>45550</c:v>
                </c:pt>
                <c:pt idx="77">
                  <c:v>45557</c:v>
                </c:pt>
                <c:pt idx="78">
                  <c:v>45564</c:v>
                </c:pt>
                <c:pt idx="79">
                  <c:v>45571</c:v>
                </c:pt>
                <c:pt idx="80">
                  <c:v>45578</c:v>
                </c:pt>
                <c:pt idx="81">
                  <c:v>45585</c:v>
                </c:pt>
                <c:pt idx="82">
                  <c:v>45592</c:v>
                </c:pt>
                <c:pt idx="83">
                  <c:v>45599</c:v>
                </c:pt>
                <c:pt idx="84">
                  <c:v>45606</c:v>
                </c:pt>
                <c:pt idx="85">
                  <c:v>45613</c:v>
                </c:pt>
                <c:pt idx="86">
                  <c:v>45620</c:v>
                </c:pt>
                <c:pt idx="87">
                  <c:v>45627</c:v>
                </c:pt>
                <c:pt idx="88">
                  <c:v>45634</c:v>
                </c:pt>
                <c:pt idx="89">
                  <c:v>45641</c:v>
                </c:pt>
                <c:pt idx="90">
                  <c:v>45648</c:v>
                </c:pt>
                <c:pt idx="91">
                  <c:v>45655</c:v>
                </c:pt>
                <c:pt idx="92">
                  <c:v>45662</c:v>
                </c:pt>
                <c:pt idx="93">
                  <c:v>45669</c:v>
                </c:pt>
                <c:pt idx="94">
                  <c:v>45676</c:v>
                </c:pt>
                <c:pt idx="95">
                  <c:v>45683</c:v>
                </c:pt>
              </c:numCache>
            </c:numRef>
          </c:cat>
          <c:val>
            <c:numRef>
              <c:f>Sheet1!$F$2:$F$97</c:f>
              <c:numCache>
                <c:formatCode>General</c:formatCode>
                <c:ptCount val="96"/>
                <c:pt idx="0">
                  <c:v>0.36</c:v>
                </c:pt>
                <c:pt idx="1">
                  <c:v>0.3</c:v>
                </c:pt>
                <c:pt idx="2">
                  <c:v>0.34</c:v>
                </c:pt>
                <c:pt idx="3">
                  <c:v>0.25</c:v>
                </c:pt>
                <c:pt idx="4">
                  <c:v>0.16</c:v>
                </c:pt>
                <c:pt idx="5">
                  <c:v>0.2</c:v>
                </c:pt>
                <c:pt idx="6">
                  <c:v>0.2</c:v>
                </c:pt>
                <c:pt idx="7">
                  <c:v>0.23</c:v>
                </c:pt>
                <c:pt idx="8">
                  <c:v>0.14000000000000001</c:v>
                </c:pt>
                <c:pt idx="9">
                  <c:v>0.14000000000000001</c:v>
                </c:pt>
                <c:pt idx="10">
                  <c:v>0.18</c:v>
                </c:pt>
                <c:pt idx="11">
                  <c:v>0.14000000000000001</c:v>
                </c:pt>
                <c:pt idx="12">
                  <c:v>0.12</c:v>
                </c:pt>
                <c:pt idx="13">
                  <c:v>0.11</c:v>
                </c:pt>
                <c:pt idx="14">
                  <c:v>0.13</c:v>
                </c:pt>
                <c:pt idx="15">
                  <c:v>0.19</c:v>
                </c:pt>
                <c:pt idx="16">
                  <c:v>0.12</c:v>
                </c:pt>
                <c:pt idx="17">
                  <c:v>0.03</c:v>
                </c:pt>
                <c:pt idx="18">
                  <c:v>0.01</c:v>
                </c:pt>
                <c:pt idx="19">
                  <c:v>0.01</c:v>
                </c:pt>
                <c:pt idx="20">
                  <c:v>0</c:v>
                </c:pt>
                <c:pt idx="21">
                  <c:v>0.18</c:v>
                </c:pt>
                <c:pt idx="22">
                  <c:v>0.15</c:v>
                </c:pt>
                <c:pt idx="23">
                  <c:v>0.06</c:v>
                </c:pt>
                <c:pt idx="24">
                  <c:v>0.01</c:v>
                </c:pt>
                <c:pt idx="25">
                  <c:v>0</c:v>
                </c:pt>
                <c:pt idx="26">
                  <c:v>0.06</c:v>
                </c:pt>
                <c:pt idx="27">
                  <c:v>0.11</c:v>
                </c:pt>
                <c:pt idx="28">
                  <c:v>0.24</c:v>
                </c:pt>
                <c:pt idx="29">
                  <c:v>0.27</c:v>
                </c:pt>
                <c:pt idx="30">
                  <c:v>0.26</c:v>
                </c:pt>
                <c:pt idx="31">
                  <c:v>0.24</c:v>
                </c:pt>
                <c:pt idx="32">
                  <c:v>0.15</c:v>
                </c:pt>
                <c:pt idx="33">
                  <c:v>0.17</c:v>
                </c:pt>
                <c:pt idx="34">
                  <c:v>0.26</c:v>
                </c:pt>
                <c:pt idx="35">
                  <c:v>0.25</c:v>
                </c:pt>
                <c:pt idx="36">
                  <c:v>0.28999999999999998</c:v>
                </c:pt>
                <c:pt idx="37">
                  <c:v>0.45</c:v>
                </c:pt>
                <c:pt idx="38">
                  <c:v>0.55000000000000004</c:v>
                </c:pt>
                <c:pt idx="39">
                  <c:v>0.71</c:v>
                </c:pt>
                <c:pt idx="40">
                  <c:v>0.12</c:v>
                </c:pt>
                <c:pt idx="41">
                  <c:v>0.21</c:v>
                </c:pt>
                <c:pt idx="42">
                  <c:v>0.13</c:v>
                </c:pt>
                <c:pt idx="43">
                  <c:v>0.06</c:v>
                </c:pt>
                <c:pt idx="44">
                  <c:v>0.17</c:v>
                </c:pt>
                <c:pt idx="45">
                  <c:v>0.28999999999999998</c:v>
                </c:pt>
                <c:pt idx="46">
                  <c:v>0.35</c:v>
                </c:pt>
                <c:pt idx="47">
                  <c:v>0.48</c:v>
                </c:pt>
                <c:pt idx="48">
                  <c:v>0.45</c:v>
                </c:pt>
                <c:pt idx="49">
                  <c:v>0.43</c:v>
                </c:pt>
                <c:pt idx="50">
                  <c:v>0.36</c:v>
                </c:pt>
                <c:pt idx="51">
                  <c:v>0.28000000000000003</c:v>
                </c:pt>
                <c:pt idx="52">
                  <c:v>0.23</c:v>
                </c:pt>
                <c:pt idx="53">
                  <c:v>0.23</c:v>
                </c:pt>
                <c:pt idx="54">
                  <c:v>0.23</c:v>
                </c:pt>
                <c:pt idx="55">
                  <c:v>0.26</c:v>
                </c:pt>
                <c:pt idx="56">
                  <c:v>0.2</c:v>
                </c:pt>
                <c:pt idx="57">
                  <c:v>0.2</c:v>
                </c:pt>
                <c:pt idx="58">
                  <c:v>0.2</c:v>
                </c:pt>
                <c:pt idx="59">
                  <c:v>0.2</c:v>
                </c:pt>
                <c:pt idx="60">
                  <c:v>0.13</c:v>
                </c:pt>
                <c:pt idx="61">
                  <c:v>0</c:v>
                </c:pt>
                <c:pt idx="62">
                  <c:v>0</c:v>
                </c:pt>
                <c:pt idx="63">
                  <c:v>0</c:v>
                </c:pt>
                <c:pt idx="64">
                  <c:v>0.01</c:v>
                </c:pt>
                <c:pt idx="65">
                  <c:v>0</c:v>
                </c:pt>
                <c:pt idx="66">
                  <c:v>0.01</c:v>
                </c:pt>
                <c:pt idx="67">
                  <c:v>0.12</c:v>
                </c:pt>
                <c:pt idx="68">
                  <c:v>0.21</c:v>
                </c:pt>
                <c:pt idx="69">
                  <c:v>0.22</c:v>
                </c:pt>
                <c:pt idx="70">
                  <c:v>0.2</c:v>
                </c:pt>
                <c:pt idx="71">
                  <c:v>0.06</c:v>
                </c:pt>
                <c:pt idx="72">
                  <c:v>0.05</c:v>
                </c:pt>
                <c:pt idx="73">
                  <c:v>0</c:v>
                </c:pt>
                <c:pt idx="74">
                  <c:v>0.03</c:v>
                </c:pt>
                <c:pt idx="75">
                  <c:v>0</c:v>
                </c:pt>
                <c:pt idx="76">
                  <c:v>0.01</c:v>
                </c:pt>
                <c:pt idx="77">
                  <c:v>0</c:v>
                </c:pt>
                <c:pt idx="78">
                  <c:v>0.06</c:v>
                </c:pt>
                <c:pt idx="79">
                  <c:v>0.12</c:v>
                </c:pt>
                <c:pt idx="80">
                  <c:v>0.24</c:v>
                </c:pt>
                <c:pt idx="81">
                  <c:v>0.31</c:v>
                </c:pt>
                <c:pt idx="82">
                  <c:v>0.2</c:v>
                </c:pt>
                <c:pt idx="83">
                  <c:v>0.11</c:v>
                </c:pt>
                <c:pt idx="84">
                  <c:v>0.12</c:v>
                </c:pt>
                <c:pt idx="85">
                  <c:v>0.35</c:v>
                </c:pt>
                <c:pt idx="86">
                  <c:v>0.8</c:v>
                </c:pt>
                <c:pt idx="87">
                  <c:v>0.82</c:v>
                </c:pt>
                <c:pt idx="88">
                  <c:v>0.82</c:v>
                </c:pt>
                <c:pt idx="89">
                  <c:v>0.85</c:v>
                </c:pt>
                <c:pt idx="90">
                  <c:v>0.87</c:v>
                </c:pt>
                <c:pt idx="91">
                  <c:v>0.91</c:v>
                </c:pt>
                <c:pt idx="92">
                  <c:v>0.8</c:v>
                </c:pt>
                <c:pt idx="93">
                  <c:v>0.78</c:v>
                </c:pt>
                <c:pt idx="94">
                  <c:v>0.75</c:v>
                </c:pt>
                <c:pt idx="95">
                  <c:v>0.74</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73</c:f>
              <c:numCache>
                <c:formatCode>yyyy\-mm\-dd</c:formatCode>
                <c:ptCount val="72"/>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51</c:v>
                </c:pt>
                <c:pt idx="27">
                  <c:v>45158</c:v>
                </c:pt>
                <c:pt idx="28">
                  <c:v>45165</c:v>
                </c:pt>
                <c:pt idx="29">
                  <c:v>45172</c:v>
                </c:pt>
                <c:pt idx="30">
                  <c:v>45179</c:v>
                </c:pt>
                <c:pt idx="31">
                  <c:v>45186</c:v>
                </c:pt>
                <c:pt idx="32">
                  <c:v>45193</c:v>
                </c:pt>
                <c:pt idx="33">
                  <c:v>45200</c:v>
                </c:pt>
                <c:pt idx="34">
                  <c:v>45207</c:v>
                </c:pt>
                <c:pt idx="35">
                  <c:v>45214</c:v>
                </c:pt>
                <c:pt idx="36">
                  <c:v>45221</c:v>
                </c:pt>
                <c:pt idx="37">
                  <c:v>45228</c:v>
                </c:pt>
                <c:pt idx="38">
                  <c:v>45235</c:v>
                </c:pt>
                <c:pt idx="39">
                  <c:v>45242</c:v>
                </c:pt>
                <c:pt idx="40">
                  <c:v>45249</c:v>
                </c:pt>
                <c:pt idx="41">
                  <c:v>45256</c:v>
                </c:pt>
                <c:pt idx="42">
                  <c:v>45263</c:v>
                </c:pt>
                <c:pt idx="43">
                  <c:v>45270</c:v>
                </c:pt>
                <c:pt idx="44">
                  <c:v>45277</c:v>
                </c:pt>
                <c:pt idx="45">
                  <c:v>45284</c:v>
                </c:pt>
                <c:pt idx="46">
                  <c:v>45291</c:v>
                </c:pt>
                <c:pt idx="47">
                  <c:v>45298</c:v>
                </c:pt>
                <c:pt idx="48">
                  <c:v>45305</c:v>
                </c:pt>
                <c:pt idx="49">
                  <c:v>45312</c:v>
                </c:pt>
                <c:pt idx="50">
                  <c:v>45319</c:v>
                </c:pt>
                <c:pt idx="51">
                  <c:v>45326</c:v>
                </c:pt>
                <c:pt idx="52">
                  <c:v>45340</c:v>
                </c:pt>
                <c:pt idx="53">
                  <c:v>45347</c:v>
                </c:pt>
                <c:pt idx="54">
                  <c:v>45354</c:v>
                </c:pt>
                <c:pt idx="55">
                  <c:v>45368</c:v>
                </c:pt>
                <c:pt idx="56">
                  <c:v>45375</c:v>
                </c:pt>
                <c:pt idx="57">
                  <c:v>45522</c:v>
                </c:pt>
                <c:pt idx="58">
                  <c:v>45578</c:v>
                </c:pt>
                <c:pt idx="59">
                  <c:v>45585</c:v>
                </c:pt>
                <c:pt idx="60">
                  <c:v>45592</c:v>
                </c:pt>
                <c:pt idx="61">
                  <c:v>45599</c:v>
                </c:pt>
                <c:pt idx="62">
                  <c:v>45606</c:v>
                </c:pt>
                <c:pt idx="63">
                  <c:v>45613</c:v>
                </c:pt>
                <c:pt idx="64">
                  <c:v>45620</c:v>
                </c:pt>
                <c:pt idx="65">
                  <c:v>45627</c:v>
                </c:pt>
                <c:pt idx="66">
                  <c:v>45634</c:v>
                </c:pt>
                <c:pt idx="67">
                  <c:v>45641</c:v>
                </c:pt>
                <c:pt idx="68">
                  <c:v>45648</c:v>
                </c:pt>
                <c:pt idx="69">
                  <c:v>45655</c:v>
                </c:pt>
                <c:pt idx="70">
                  <c:v>45662</c:v>
                </c:pt>
                <c:pt idx="71">
                  <c:v>45669</c:v>
                </c:pt>
              </c:numCache>
            </c:numRef>
          </c:cat>
          <c:val>
            <c:numRef>
              <c:f>Sheet1!$B$2:$B$73</c:f>
              <c:numCache>
                <c:formatCode>General</c:formatCode>
                <c:ptCount val="72"/>
                <c:pt idx="0">
                  <c:v>42628</c:v>
                </c:pt>
                <c:pt idx="1">
                  <c:v>32802</c:v>
                </c:pt>
                <c:pt idx="2">
                  <c:v>27256</c:v>
                </c:pt>
                <c:pt idx="3">
                  <c:v>20787</c:v>
                </c:pt>
                <c:pt idx="4">
                  <c:v>20825</c:v>
                </c:pt>
                <c:pt idx="5">
                  <c:v>26522</c:v>
                </c:pt>
                <c:pt idx="6">
                  <c:v>30015</c:v>
                </c:pt>
                <c:pt idx="7">
                  <c:v>67174</c:v>
                </c:pt>
                <c:pt idx="8">
                  <c:v>55893</c:v>
                </c:pt>
                <c:pt idx="9">
                  <c:v>55685</c:v>
                </c:pt>
                <c:pt idx="10">
                  <c:v>54379</c:v>
                </c:pt>
                <c:pt idx="11">
                  <c:v>73708</c:v>
                </c:pt>
                <c:pt idx="12">
                  <c:v>1975</c:v>
                </c:pt>
                <c:pt idx="13">
                  <c:v>38234</c:v>
                </c:pt>
                <c:pt idx="14">
                  <c:v>59833</c:v>
                </c:pt>
                <c:pt idx="15">
                  <c:v>61077</c:v>
                </c:pt>
                <c:pt idx="16">
                  <c:v>9754</c:v>
                </c:pt>
                <c:pt idx="17">
                  <c:v>2816</c:v>
                </c:pt>
                <c:pt idx="18">
                  <c:v>2775</c:v>
                </c:pt>
                <c:pt idx="19">
                  <c:v>1705</c:v>
                </c:pt>
                <c:pt idx="20">
                  <c:v>1369</c:v>
                </c:pt>
                <c:pt idx="21">
                  <c:v>2180</c:v>
                </c:pt>
                <c:pt idx="22">
                  <c:v>2125</c:v>
                </c:pt>
                <c:pt idx="23">
                  <c:v>803</c:v>
                </c:pt>
                <c:pt idx="24">
                  <c:v>2754</c:v>
                </c:pt>
                <c:pt idx="25">
                  <c:v>3679</c:v>
                </c:pt>
                <c:pt idx="26">
                  <c:v>159967</c:v>
                </c:pt>
                <c:pt idx="27">
                  <c:v>383878</c:v>
                </c:pt>
                <c:pt idx="28">
                  <c:v>385926</c:v>
                </c:pt>
                <c:pt idx="29">
                  <c:v>387201</c:v>
                </c:pt>
                <c:pt idx="30">
                  <c:v>387973</c:v>
                </c:pt>
                <c:pt idx="31">
                  <c:v>369603</c:v>
                </c:pt>
                <c:pt idx="32">
                  <c:v>362386</c:v>
                </c:pt>
                <c:pt idx="33">
                  <c:v>354421</c:v>
                </c:pt>
                <c:pt idx="34">
                  <c:v>376092</c:v>
                </c:pt>
                <c:pt idx="35">
                  <c:v>387460</c:v>
                </c:pt>
                <c:pt idx="36">
                  <c:v>379727</c:v>
                </c:pt>
                <c:pt idx="37">
                  <c:v>360804</c:v>
                </c:pt>
                <c:pt idx="38">
                  <c:v>36320</c:v>
                </c:pt>
                <c:pt idx="39">
                  <c:v>43639</c:v>
                </c:pt>
                <c:pt idx="40">
                  <c:v>55831</c:v>
                </c:pt>
                <c:pt idx="41">
                  <c:v>83752</c:v>
                </c:pt>
                <c:pt idx="42">
                  <c:v>101123</c:v>
                </c:pt>
                <c:pt idx="43">
                  <c:v>170843</c:v>
                </c:pt>
                <c:pt idx="44">
                  <c:v>161549</c:v>
                </c:pt>
                <c:pt idx="45">
                  <c:v>277060</c:v>
                </c:pt>
                <c:pt idx="46">
                  <c:v>318873</c:v>
                </c:pt>
                <c:pt idx="47">
                  <c:v>7941</c:v>
                </c:pt>
                <c:pt idx="48">
                  <c:v>13646</c:v>
                </c:pt>
                <c:pt idx="49">
                  <c:v>5922</c:v>
                </c:pt>
                <c:pt idx="50">
                  <c:v>2623</c:v>
                </c:pt>
                <c:pt idx="51">
                  <c:v>1878</c:v>
                </c:pt>
                <c:pt idx="52">
                  <c:v>37369</c:v>
                </c:pt>
                <c:pt idx="53">
                  <c:v>113790</c:v>
                </c:pt>
                <c:pt idx="54">
                  <c:v>41119</c:v>
                </c:pt>
                <c:pt idx="55">
                  <c:v>1091</c:v>
                </c:pt>
                <c:pt idx="56">
                  <c:v>114890</c:v>
                </c:pt>
                <c:pt idx="57">
                  <c:v>1969</c:v>
                </c:pt>
                <c:pt idx="58">
                  <c:v>78889</c:v>
                </c:pt>
                <c:pt idx="59">
                  <c:v>105227</c:v>
                </c:pt>
                <c:pt idx="60">
                  <c:v>73897</c:v>
                </c:pt>
                <c:pt idx="61">
                  <c:v>37830</c:v>
                </c:pt>
                <c:pt idx="62">
                  <c:v>48221</c:v>
                </c:pt>
                <c:pt idx="63">
                  <c:v>59032</c:v>
                </c:pt>
                <c:pt idx="64">
                  <c:v>68742</c:v>
                </c:pt>
                <c:pt idx="65">
                  <c:v>144667</c:v>
                </c:pt>
                <c:pt idx="66">
                  <c:v>199436</c:v>
                </c:pt>
                <c:pt idx="67">
                  <c:v>186682</c:v>
                </c:pt>
                <c:pt idx="68">
                  <c:v>200065</c:v>
                </c:pt>
                <c:pt idx="69">
                  <c:v>288027</c:v>
                </c:pt>
                <c:pt idx="70">
                  <c:v>3827</c:v>
                </c:pt>
                <c:pt idx="71">
                  <c:v>1214</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73</c:f>
              <c:numCache>
                <c:formatCode>yyyy\-mm\-dd</c:formatCode>
                <c:ptCount val="72"/>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51</c:v>
                </c:pt>
                <c:pt idx="27">
                  <c:v>45158</c:v>
                </c:pt>
                <c:pt idx="28">
                  <c:v>45165</c:v>
                </c:pt>
                <c:pt idx="29">
                  <c:v>45172</c:v>
                </c:pt>
                <c:pt idx="30">
                  <c:v>45179</c:v>
                </c:pt>
                <c:pt idx="31">
                  <c:v>45186</c:v>
                </c:pt>
                <c:pt idx="32">
                  <c:v>45193</c:v>
                </c:pt>
                <c:pt idx="33">
                  <c:v>45200</c:v>
                </c:pt>
                <c:pt idx="34">
                  <c:v>45207</c:v>
                </c:pt>
                <c:pt idx="35">
                  <c:v>45214</c:v>
                </c:pt>
                <c:pt idx="36">
                  <c:v>45221</c:v>
                </c:pt>
                <c:pt idx="37">
                  <c:v>45228</c:v>
                </c:pt>
                <c:pt idx="38">
                  <c:v>45235</c:v>
                </c:pt>
                <c:pt idx="39">
                  <c:v>45242</c:v>
                </c:pt>
                <c:pt idx="40">
                  <c:v>45249</c:v>
                </c:pt>
                <c:pt idx="41">
                  <c:v>45256</c:v>
                </c:pt>
                <c:pt idx="42">
                  <c:v>45263</c:v>
                </c:pt>
                <c:pt idx="43">
                  <c:v>45270</c:v>
                </c:pt>
                <c:pt idx="44">
                  <c:v>45277</c:v>
                </c:pt>
                <c:pt idx="45">
                  <c:v>45284</c:v>
                </c:pt>
                <c:pt idx="46">
                  <c:v>45291</c:v>
                </c:pt>
                <c:pt idx="47">
                  <c:v>45298</c:v>
                </c:pt>
                <c:pt idx="48">
                  <c:v>45305</c:v>
                </c:pt>
                <c:pt idx="49">
                  <c:v>45312</c:v>
                </c:pt>
                <c:pt idx="50">
                  <c:v>45319</c:v>
                </c:pt>
                <c:pt idx="51">
                  <c:v>45326</c:v>
                </c:pt>
                <c:pt idx="52">
                  <c:v>45340</c:v>
                </c:pt>
                <c:pt idx="53">
                  <c:v>45347</c:v>
                </c:pt>
                <c:pt idx="54">
                  <c:v>45354</c:v>
                </c:pt>
                <c:pt idx="55">
                  <c:v>45368</c:v>
                </c:pt>
                <c:pt idx="56">
                  <c:v>45375</c:v>
                </c:pt>
                <c:pt idx="57">
                  <c:v>45522</c:v>
                </c:pt>
                <c:pt idx="58">
                  <c:v>45578</c:v>
                </c:pt>
                <c:pt idx="59">
                  <c:v>45585</c:v>
                </c:pt>
                <c:pt idx="60">
                  <c:v>45592</c:v>
                </c:pt>
                <c:pt idx="61">
                  <c:v>45599</c:v>
                </c:pt>
                <c:pt idx="62">
                  <c:v>45606</c:v>
                </c:pt>
                <c:pt idx="63">
                  <c:v>45613</c:v>
                </c:pt>
                <c:pt idx="64">
                  <c:v>45620</c:v>
                </c:pt>
                <c:pt idx="65">
                  <c:v>45627</c:v>
                </c:pt>
                <c:pt idx="66">
                  <c:v>45634</c:v>
                </c:pt>
                <c:pt idx="67">
                  <c:v>45641</c:v>
                </c:pt>
                <c:pt idx="68">
                  <c:v>45648</c:v>
                </c:pt>
                <c:pt idx="69">
                  <c:v>45655</c:v>
                </c:pt>
                <c:pt idx="70">
                  <c:v>45662</c:v>
                </c:pt>
                <c:pt idx="71">
                  <c:v>45669</c:v>
                </c:pt>
              </c:numCache>
            </c:numRef>
          </c:cat>
          <c:val>
            <c:numRef>
              <c:f>Sheet1!$C$2:$C$73</c:f>
              <c:numCache>
                <c:formatCode>General</c:formatCode>
                <c:ptCount val="72"/>
                <c:pt idx="0">
                  <c:v>361339</c:v>
                </c:pt>
                <c:pt idx="1">
                  <c:v>348267</c:v>
                </c:pt>
                <c:pt idx="2">
                  <c:v>336976</c:v>
                </c:pt>
                <c:pt idx="3">
                  <c:v>320825</c:v>
                </c:pt>
                <c:pt idx="4">
                  <c:v>333488</c:v>
                </c:pt>
                <c:pt idx="5">
                  <c:v>345937</c:v>
                </c:pt>
                <c:pt idx="6">
                  <c:v>331027</c:v>
                </c:pt>
                <c:pt idx="7">
                  <c:v>335322</c:v>
                </c:pt>
                <c:pt idx="8">
                  <c:v>356179</c:v>
                </c:pt>
                <c:pt idx="9">
                  <c:v>331158</c:v>
                </c:pt>
                <c:pt idx="10">
                  <c:v>316885</c:v>
                </c:pt>
                <c:pt idx="11">
                  <c:v>325742</c:v>
                </c:pt>
                <c:pt idx="12">
                  <c:v>353910</c:v>
                </c:pt>
                <c:pt idx="13">
                  <c:v>356322</c:v>
                </c:pt>
                <c:pt idx="14">
                  <c:v>300251</c:v>
                </c:pt>
                <c:pt idx="15">
                  <c:v>349653</c:v>
                </c:pt>
                <c:pt idx="16">
                  <c:v>351457</c:v>
                </c:pt>
                <c:pt idx="17">
                  <c:v>382350</c:v>
                </c:pt>
                <c:pt idx="18">
                  <c:v>358516</c:v>
                </c:pt>
                <c:pt idx="19">
                  <c:v>358730</c:v>
                </c:pt>
                <c:pt idx="20">
                  <c:v>385008</c:v>
                </c:pt>
                <c:pt idx="21">
                  <c:v>401797</c:v>
                </c:pt>
                <c:pt idx="22">
                  <c:v>412553</c:v>
                </c:pt>
                <c:pt idx="23">
                  <c:v>397248</c:v>
                </c:pt>
                <c:pt idx="24">
                  <c:v>385536</c:v>
                </c:pt>
                <c:pt idx="25">
                  <c:v>397955</c:v>
                </c:pt>
                <c:pt idx="26">
                  <c:v>246338</c:v>
                </c:pt>
                <c:pt idx="27">
                  <c:v>33830</c:v>
                </c:pt>
                <c:pt idx="28">
                  <c:v>18910</c:v>
                </c:pt>
                <c:pt idx="29">
                  <c:v>16355</c:v>
                </c:pt>
                <c:pt idx="30">
                  <c:v>17154</c:v>
                </c:pt>
                <c:pt idx="31">
                  <c:v>15724</c:v>
                </c:pt>
                <c:pt idx="32">
                  <c:v>17402</c:v>
                </c:pt>
                <c:pt idx="33">
                  <c:v>25195</c:v>
                </c:pt>
                <c:pt idx="34">
                  <c:v>30281</c:v>
                </c:pt>
                <c:pt idx="35">
                  <c:v>34965</c:v>
                </c:pt>
                <c:pt idx="36">
                  <c:v>36921</c:v>
                </c:pt>
                <c:pt idx="37">
                  <c:v>40367</c:v>
                </c:pt>
                <c:pt idx="38">
                  <c:v>382499</c:v>
                </c:pt>
                <c:pt idx="39">
                  <c:v>386236</c:v>
                </c:pt>
                <c:pt idx="40">
                  <c:v>362534</c:v>
                </c:pt>
                <c:pt idx="41">
                  <c:v>334080</c:v>
                </c:pt>
                <c:pt idx="42">
                  <c:v>361103</c:v>
                </c:pt>
                <c:pt idx="43">
                  <c:v>361113</c:v>
                </c:pt>
                <c:pt idx="44">
                  <c:v>374213</c:v>
                </c:pt>
                <c:pt idx="45">
                  <c:v>415299</c:v>
                </c:pt>
                <c:pt idx="46">
                  <c:v>321245</c:v>
                </c:pt>
                <c:pt idx="47">
                  <c:v>355141</c:v>
                </c:pt>
                <c:pt idx="48">
                  <c:v>311361</c:v>
                </c:pt>
                <c:pt idx="49">
                  <c:v>304778</c:v>
                </c:pt>
                <c:pt idx="50">
                  <c:v>330437</c:v>
                </c:pt>
                <c:pt idx="51">
                  <c:v>348414</c:v>
                </c:pt>
                <c:pt idx="52">
                  <c:v>291943</c:v>
                </c:pt>
                <c:pt idx="53">
                  <c:v>283770</c:v>
                </c:pt>
                <c:pt idx="54">
                  <c:v>330325</c:v>
                </c:pt>
                <c:pt idx="55">
                  <c:v>336754</c:v>
                </c:pt>
                <c:pt idx="56">
                  <c:v>265432</c:v>
                </c:pt>
                <c:pt idx="57">
                  <c:v>354662</c:v>
                </c:pt>
                <c:pt idx="58">
                  <c:v>273373</c:v>
                </c:pt>
                <c:pt idx="59">
                  <c:v>270767</c:v>
                </c:pt>
                <c:pt idx="60">
                  <c:v>294533</c:v>
                </c:pt>
                <c:pt idx="61">
                  <c:v>335538</c:v>
                </c:pt>
                <c:pt idx="62">
                  <c:v>344462</c:v>
                </c:pt>
                <c:pt idx="63">
                  <c:v>326396</c:v>
                </c:pt>
                <c:pt idx="64">
                  <c:v>322897</c:v>
                </c:pt>
                <c:pt idx="65">
                  <c:v>259799</c:v>
                </c:pt>
                <c:pt idx="66">
                  <c:v>283362</c:v>
                </c:pt>
                <c:pt idx="67">
                  <c:v>316565</c:v>
                </c:pt>
                <c:pt idx="68">
                  <c:v>363959</c:v>
                </c:pt>
                <c:pt idx="69">
                  <c:v>321048</c:v>
                </c:pt>
                <c:pt idx="70">
                  <c:v>330818</c:v>
                </c:pt>
                <c:pt idx="71">
                  <c:v>306518</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73</c:f>
              <c:numCache>
                <c:formatCode>yyyy\-mm\-dd</c:formatCode>
                <c:ptCount val="72"/>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51</c:v>
                </c:pt>
                <c:pt idx="27">
                  <c:v>45158</c:v>
                </c:pt>
                <c:pt idx="28">
                  <c:v>45165</c:v>
                </c:pt>
                <c:pt idx="29">
                  <c:v>45172</c:v>
                </c:pt>
                <c:pt idx="30">
                  <c:v>45179</c:v>
                </c:pt>
                <c:pt idx="31">
                  <c:v>45186</c:v>
                </c:pt>
                <c:pt idx="32">
                  <c:v>45193</c:v>
                </c:pt>
                <c:pt idx="33">
                  <c:v>45200</c:v>
                </c:pt>
                <c:pt idx="34">
                  <c:v>45207</c:v>
                </c:pt>
                <c:pt idx="35">
                  <c:v>45214</c:v>
                </c:pt>
                <c:pt idx="36">
                  <c:v>45221</c:v>
                </c:pt>
                <c:pt idx="37">
                  <c:v>45228</c:v>
                </c:pt>
                <c:pt idx="38">
                  <c:v>45235</c:v>
                </c:pt>
                <c:pt idx="39">
                  <c:v>45242</c:v>
                </c:pt>
                <c:pt idx="40">
                  <c:v>45249</c:v>
                </c:pt>
                <c:pt idx="41">
                  <c:v>45256</c:v>
                </c:pt>
                <c:pt idx="42">
                  <c:v>45263</c:v>
                </c:pt>
                <c:pt idx="43">
                  <c:v>45270</c:v>
                </c:pt>
                <c:pt idx="44">
                  <c:v>45277</c:v>
                </c:pt>
                <c:pt idx="45">
                  <c:v>45284</c:v>
                </c:pt>
                <c:pt idx="46">
                  <c:v>45291</c:v>
                </c:pt>
                <c:pt idx="47">
                  <c:v>45298</c:v>
                </c:pt>
                <c:pt idx="48">
                  <c:v>45305</c:v>
                </c:pt>
                <c:pt idx="49">
                  <c:v>45312</c:v>
                </c:pt>
                <c:pt idx="50">
                  <c:v>45319</c:v>
                </c:pt>
                <c:pt idx="51">
                  <c:v>45326</c:v>
                </c:pt>
                <c:pt idx="52">
                  <c:v>45340</c:v>
                </c:pt>
                <c:pt idx="53">
                  <c:v>45347</c:v>
                </c:pt>
                <c:pt idx="54">
                  <c:v>45354</c:v>
                </c:pt>
                <c:pt idx="55">
                  <c:v>45368</c:v>
                </c:pt>
                <c:pt idx="56">
                  <c:v>45375</c:v>
                </c:pt>
                <c:pt idx="57">
                  <c:v>45522</c:v>
                </c:pt>
                <c:pt idx="58">
                  <c:v>45578</c:v>
                </c:pt>
                <c:pt idx="59">
                  <c:v>45585</c:v>
                </c:pt>
                <c:pt idx="60">
                  <c:v>45592</c:v>
                </c:pt>
                <c:pt idx="61">
                  <c:v>45599</c:v>
                </c:pt>
                <c:pt idx="62">
                  <c:v>45606</c:v>
                </c:pt>
                <c:pt idx="63">
                  <c:v>45613</c:v>
                </c:pt>
                <c:pt idx="64">
                  <c:v>45620</c:v>
                </c:pt>
                <c:pt idx="65">
                  <c:v>45627</c:v>
                </c:pt>
                <c:pt idx="66">
                  <c:v>45634</c:v>
                </c:pt>
                <c:pt idx="67">
                  <c:v>45641</c:v>
                </c:pt>
                <c:pt idx="68">
                  <c:v>45648</c:v>
                </c:pt>
                <c:pt idx="69">
                  <c:v>45655</c:v>
                </c:pt>
                <c:pt idx="70">
                  <c:v>45662</c:v>
                </c:pt>
                <c:pt idx="71">
                  <c:v>45669</c:v>
                </c:pt>
              </c:numCache>
            </c:numRef>
          </c:cat>
          <c:val>
            <c:numRef>
              <c:f>Sheet1!$D$2:$D$73</c:f>
              <c:numCache>
                <c:formatCode>General</c:formatCode>
                <c:ptCount val="72"/>
                <c:pt idx="0">
                  <c:v>403967</c:v>
                </c:pt>
                <c:pt idx="1">
                  <c:v>381069</c:v>
                </c:pt>
                <c:pt idx="2">
                  <c:v>364232</c:v>
                </c:pt>
                <c:pt idx="3">
                  <c:v>341612</c:v>
                </c:pt>
                <c:pt idx="4">
                  <c:v>354313</c:v>
                </c:pt>
                <c:pt idx="5">
                  <c:v>372459</c:v>
                </c:pt>
                <c:pt idx="6">
                  <c:v>361042</c:v>
                </c:pt>
                <c:pt idx="7">
                  <c:v>402496</c:v>
                </c:pt>
                <c:pt idx="8">
                  <c:v>412072</c:v>
                </c:pt>
                <c:pt idx="9">
                  <c:v>386843</c:v>
                </c:pt>
                <c:pt idx="10">
                  <c:v>371264</c:v>
                </c:pt>
                <c:pt idx="11">
                  <c:v>399450</c:v>
                </c:pt>
                <c:pt idx="12">
                  <c:v>355885</c:v>
                </c:pt>
                <c:pt idx="13">
                  <c:v>394556</c:v>
                </c:pt>
                <c:pt idx="14">
                  <c:v>360084</c:v>
                </c:pt>
                <c:pt idx="15">
                  <c:v>410730</c:v>
                </c:pt>
                <c:pt idx="16">
                  <c:v>361211</c:v>
                </c:pt>
                <c:pt idx="17">
                  <c:v>385166</c:v>
                </c:pt>
                <c:pt idx="18">
                  <c:v>361291</c:v>
                </c:pt>
                <c:pt idx="19">
                  <c:v>360435</c:v>
                </c:pt>
                <c:pt idx="20">
                  <c:v>386377</c:v>
                </c:pt>
                <c:pt idx="21">
                  <c:v>403977</c:v>
                </c:pt>
                <c:pt idx="22">
                  <c:v>414678</c:v>
                </c:pt>
                <c:pt idx="23">
                  <c:v>398051</c:v>
                </c:pt>
                <c:pt idx="24">
                  <c:v>388290</c:v>
                </c:pt>
                <c:pt idx="25">
                  <c:v>401634</c:v>
                </c:pt>
                <c:pt idx="26">
                  <c:v>406305</c:v>
                </c:pt>
                <c:pt idx="27">
                  <c:v>417708</c:v>
                </c:pt>
                <c:pt idx="28">
                  <c:v>404836</c:v>
                </c:pt>
                <c:pt idx="29">
                  <c:v>403556</c:v>
                </c:pt>
                <c:pt idx="30">
                  <c:v>405127</c:v>
                </c:pt>
                <c:pt idx="31">
                  <c:v>385327</c:v>
                </c:pt>
                <c:pt idx="32">
                  <c:v>379788</c:v>
                </c:pt>
                <c:pt idx="33">
                  <c:v>379616</c:v>
                </c:pt>
                <c:pt idx="34">
                  <c:v>406373</c:v>
                </c:pt>
                <c:pt idx="35">
                  <c:v>422425</c:v>
                </c:pt>
                <c:pt idx="36">
                  <c:v>416648</c:v>
                </c:pt>
                <c:pt idx="37">
                  <c:v>401171</c:v>
                </c:pt>
                <c:pt idx="38">
                  <c:v>418819</c:v>
                </c:pt>
                <c:pt idx="39">
                  <c:v>429875</c:v>
                </c:pt>
                <c:pt idx="40">
                  <c:v>418365</c:v>
                </c:pt>
                <c:pt idx="41">
                  <c:v>417832</c:v>
                </c:pt>
                <c:pt idx="42">
                  <c:v>462226</c:v>
                </c:pt>
                <c:pt idx="43">
                  <c:v>531956</c:v>
                </c:pt>
                <c:pt idx="44">
                  <c:v>535762</c:v>
                </c:pt>
                <c:pt idx="45">
                  <c:v>692359</c:v>
                </c:pt>
                <c:pt idx="46">
                  <c:v>640118</c:v>
                </c:pt>
                <c:pt idx="47">
                  <c:v>363082</c:v>
                </c:pt>
                <c:pt idx="48">
                  <c:v>325007</c:v>
                </c:pt>
                <c:pt idx="49">
                  <c:v>310700</c:v>
                </c:pt>
                <c:pt idx="50">
                  <c:v>333060</c:v>
                </c:pt>
                <c:pt idx="51">
                  <c:v>350292</c:v>
                </c:pt>
                <c:pt idx="52">
                  <c:v>329312</c:v>
                </c:pt>
                <c:pt idx="53">
                  <c:v>397560</c:v>
                </c:pt>
                <c:pt idx="54">
                  <c:v>371444</c:v>
                </c:pt>
                <c:pt idx="55">
                  <c:v>337845</c:v>
                </c:pt>
                <c:pt idx="56">
                  <c:v>380322</c:v>
                </c:pt>
                <c:pt idx="57">
                  <c:v>356631</c:v>
                </c:pt>
                <c:pt idx="58">
                  <c:v>352262</c:v>
                </c:pt>
                <c:pt idx="59">
                  <c:v>375994</c:v>
                </c:pt>
                <c:pt idx="60">
                  <c:v>368430</c:v>
                </c:pt>
                <c:pt idx="61">
                  <c:v>373368</c:v>
                </c:pt>
                <c:pt idx="62">
                  <c:v>392683</c:v>
                </c:pt>
                <c:pt idx="63">
                  <c:v>385428</c:v>
                </c:pt>
                <c:pt idx="64">
                  <c:v>391639</c:v>
                </c:pt>
                <c:pt idx="65">
                  <c:v>404466</c:v>
                </c:pt>
                <c:pt idx="66">
                  <c:v>482798</c:v>
                </c:pt>
                <c:pt idx="67">
                  <c:v>503247</c:v>
                </c:pt>
                <c:pt idx="68">
                  <c:v>564024</c:v>
                </c:pt>
                <c:pt idx="69">
                  <c:v>609075</c:v>
                </c:pt>
                <c:pt idx="70">
                  <c:v>334645</c:v>
                </c:pt>
                <c:pt idx="71">
                  <c:v>307732</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73</c:f>
              <c:numCache>
                <c:formatCode>yyyy\-mm\-dd</c:formatCode>
                <c:ptCount val="72"/>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51</c:v>
                </c:pt>
                <c:pt idx="27">
                  <c:v>45158</c:v>
                </c:pt>
                <c:pt idx="28">
                  <c:v>45165</c:v>
                </c:pt>
                <c:pt idx="29">
                  <c:v>45172</c:v>
                </c:pt>
                <c:pt idx="30">
                  <c:v>45179</c:v>
                </c:pt>
                <c:pt idx="31">
                  <c:v>45186</c:v>
                </c:pt>
                <c:pt idx="32">
                  <c:v>45193</c:v>
                </c:pt>
                <c:pt idx="33">
                  <c:v>45200</c:v>
                </c:pt>
                <c:pt idx="34">
                  <c:v>45207</c:v>
                </c:pt>
                <c:pt idx="35">
                  <c:v>45214</c:v>
                </c:pt>
                <c:pt idx="36">
                  <c:v>45221</c:v>
                </c:pt>
                <c:pt idx="37">
                  <c:v>45228</c:v>
                </c:pt>
                <c:pt idx="38">
                  <c:v>45235</c:v>
                </c:pt>
                <c:pt idx="39">
                  <c:v>45242</c:v>
                </c:pt>
                <c:pt idx="40">
                  <c:v>45249</c:v>
                </c:pt>
                <c:pt idx="41">
                  <c:v>45256</c:v>
                </c:pt>
                <c:pt idx="42">
                  <c:v>45263</c:v>
                </c:pt>
                <c:pt idx="43">
                  <c:v>45270</c:v>
                </c:pt>
                <c:pt idx="44">
                  <c:v>45277</c:v>
                </c:pt>
                <c:pt idx="45">
                  <c:v>45284</c:v>
                </c:pt>
                <c:pt idx="46">
                  <c:v>45291</c:v>
                </c:pt>
                <c:pt idx="47">
                  <c:v>45298</c:v>
                </c:pt>
                <c:pt idx="48">
                  <c:v>45305</c:v>
                </c:pt>
                <c:pt idx="49">
                  <c:v>45312</c:v>
                </c:pt>
                <c:pt idx="50">
                  <c:v>45319</c:v>
                </c:pt>
                <c:pt idx="51">
                  <c:v>45326</c:v>
                </c:pt>
                <c:pt idx="52">
                  <c:v>45340</c:v>
                </c:pt>
                <c:pt idx="53">
                  <c:v>45347</c:v>
                </c:pt>
                <c:pt idx="54">
                  <c:v>45354</c:v>
                </c:pt>
                <c:pt idx="55">
                  <c:v>45368</c:v>
                </c:pt>
                <c:pt idx="56">
                  <c:v>45375</c:v>
                </c:pt>
                <c:pt idx="57">
                  <c:v>45522</c:v>
                </c:pt>
                <c:pt idx="58">
                  <c:v>45578</c:v>
                </c:pt>
                <c:pt idx="59">
                  <c:v>45585</c:v>
                </c:pt>
                <c:pt idx="60">
                  <c:v>45592</c:v>
                </c:pt>
                <c:pt idx="61">
                  <c:v>45599</c:v>
                </c:pt>
                <c:pt idx="62">
                  <c:v>45606</c:v>
                </c:pt>
                <c:pt idx="63">
                  <c:v>45613</c:v>
                </c:pt>
                <c:pt idx="64">
                  <c:v>45620</c:v>
                </c:pt>
                <c:pt idx="65">
                  <c:v>45627</c:v>
                </c:pt>
                <c:pt idx="66">
                  <c:v>45634</c:v>
                </c:pt>
                <c:pt idx="67">
                  <c:v>45641</c:v>
                </c:pt>
                <c:pt idx="68">
                  <c:v>45648</c:v>
                </c:pt>
                <c:pt idx="69">
                  <c:v>45655</c:v>
                </c:pt>
                <c:pt idx="70">
                  <c:v>45662</c:v>
                </c:pt>
                <c:pt idx="71">
                  <c:v>45669</c:v>
                </c:pt>
              </c:numCache>
            </c:numRef>
          </c:cat>
          <c:val>
            <c:numRef>
              <c:f>Sheet1!$E$2:$E$73</c:f>
              <c:numCache>
                <c:formatCode>General</c:formatCode>
                <c:ptCount val="72"/>
                <c:pt idx="0">
                  <c:v>362894</c:v>
                </c:pt>
                <c:pt idx="1">
                  <c:v>361143</c:v>
                </c:pt>
                <c:pt idx="2">
                  <c:v>362588</c:v>
                </c:pt>
                <c:pt idx="3">
                  <c:v>362573</c:v>
                </c:pt>
                <c:pt idx="4">
                  <c:v>366115</c:v>
                </c:pt>
                <c:pt idx="5">
                  <c:v>368718</c:v>
                </c:pt>
                <c:pt idx="6">
                  <c:v>371051</c:v>
                </c:pt>
                <c:pt idx="7">
                  <c:v>373266</c:v>
                </c:pt>
                <c:pt idx="8">
                  <c:v>380648</c:v>
                </c:pt>
                <c:pt idx="9">
                  <c:v>382046</c:v>
                </c:pt>
                <c:pt idx="10">
                  <c:v>383316</c:v>
                </c:pt>
                <c:pt idx="11">
                  <c:v>382878</c:v>
                </c:pt>
                <c:pt idx="12">
                  <c:v>384417</c:v>
                </c:pt>
                <c:pt idx="13">
                  <c:v>378897</c:v>
                </c:pt>
                <c:pt idx="14">
                  <c:v>378211</c:v>
                </c:pt>
                <c:pt idx="15">
                  <c:v>377665</c:v>
                </c:pt>
                <c:pt idx="16">
                  <c:v>373011</c:v>
                </c:pt>
                <c:pt idx="17">
                  <c:v>376391</c:v>
                </c:pt>
                <c:pt idx="18">
                  <c:v>378069</c:v>
                </c:pt>
                <c:pt idx="19">
                  <c:v>384817</c:v>
                </c:pt>
                <c:pt idx="20">
                  <c:v>383951</c:v>
                </c:pt>
                <c:pt idx="21">
                  <c:v>387411</c:v>
                </c:pt>
                <c:pt idx="22">
                  <c:v>389649</c:v>
                </c:pt>
                <c:pt idx="23">
                  <c:v>396288</c:v>
                </c:pt>
                <c:pt idx="24">
                  <c:v>401602</c:v>
                </c:pt>
                <c:pt idx="25">
                  <c:v>406204</c:v>
                </c:pt>
                <c:pt idx="26">
                  <c:v>411809</c:v>
                </c:pt>
                <c:pt idx="27">
                  <c:v>412686</c:v>
                </c:pt>
                <c:pt idx="28">
                  <c:v>406996</c:v>
                </c:pt>
                <c:pt idx="29">
                  <c:v>417401</c:v>
                </c:pt>
                <c:pt idx="30">
                  <c:v>416061</c:v>
                </c:pt>
                <c:pt idx="31">
                  <c:v>414782</c:v>
                </c:pt>
                <c:pt idx="32">
                  <c:v>411755</c:v>
                </c:pt>
                <c:pt idx="33">
                  <c:v>413016</c:v>
                </c:pt>
                <c:pt idx="34">
                  <c:v>416328</c:v>
                </c:pt>
                <c:pt idx="35">
                  <c:v>438091</c:v>
                </c:pt>
                <c:pt idx="36">
                  <c:v>441951</c:v>
                </c:pt>
                <c:pt idx="37">
                  <c:v>414356</c:v>
                </c:pt>
                <c:pt idx="38">
                  <c:v>392212</c:v>
                </c:pt>
                <c:pt idx="39">
                  <c:v>400563</c:v>
                </c:pt>
                <c:pt idx="40">
                  <c:v>423884</c:v>
                </c:pt>
                <c:pt idx="41">
                  <c:v>420826</c:v>
                </c:pt>
                <c:pt idx="42">
                  <c:v>424211</c:v>
                </c:pt>
                <c:pt idx="43">
                  <c:v>413054</c:v>
                </c:pt>
                <c:pt idx="44">
                  <c:v>406338</c:v>
                </c:pt>
                <c:pt idx="45">
                  <c:v>400715</c:v>
                </c:pt>
                <c:pt idx="46">
                  <c:v>406305</c:v>
                </c:pt>
                <c:pt idx="47">
                  <c:v>381286</c:v>
                </c:pt>
                <c:pt idx="48">
                  <c:v>371543</c:v>
                </c:pt>
                <c:pt idx="49">
                  <c:v>352312</c:v>
                </c:pt>
                <c:pt idx="50">
                  <c:v>332879</c:v>
                </c:pt>
                <c:pt idx="51">
                  <c:v>340699</c:v>
                </c:pt>
                <c:pt idx="52">
                  <c:v>347835</c:v>
                </c:pt>
                <c:pt idx="53">
                  <c:v>352936</c:v>
                </c:pt>
                <c:pt idx="54">
                  <c:v>358254</c:v>
                </c:pt>
                <c:pt idx="55">
                  <c:v>362247</c:v>
                </c:pt>
                <c:pt idx="56">
                  <c:v>364643</c:v>
                </c:pt>
                <c:pt idx="57">
                  <c:v>355365</c:v>
                </c:pt>
                <c:pt idx="58">
                  <c:v>356313</c:v>
                </c:pt>
                <c:pt idx="59">
                  <c:v>360367</c:v>
                </c:pt>
                <c:pt idx="60">
                  <c:v>363217</c:v>
                </c:pt>
                <c:pt idx="61">
                  <c:v>368198</c:v>
                </c:pt>
                <c:pt idx="62">
                  <c:v>361131</c:v>
                </c:pt>
                <c:pt idx="63">
                  <c:v>368404</c:v>
                </c:pt>
                <c:pt idx="64">
                  <c:v>370638</c:v>
                </c:pt>
                <c:pt idx="65">
                  <c:v>369749</c:v>
                </c:pt>
                <c:pt idx="66">
                  <c:v>372948</c:v>
                </c:pt>
                <c:pt idx="67">
                  <c:v>344818</c:v>
                </c:pt>
                <c:pt idx="68">
                  <c:v>334292</c:v>
                </c:pt>
                <c:pt idx="69">
                  <c:v>332007</c:v>
                </c:pt>
                <c:pt idx="70">
                  <c:v>338398</c:v>
                </c:pt>
                <c:pt idx="71">
                  <c:v>325933</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73</c:f>
              <c:numCache>
                <c:formatCode>yyyy\-mm\-dd</c:formatCode>
                <c:ptCount val="72"/>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51</c:v>
                </c:pt>
                <c:pt idx="27">
                  <c:v>45158</c:v>
                </c:pt>
                <c:pt idx="28">
                  <c:v>45165</c:v>
                </c:pt>
                <c:pt idx="29">
                  <c:v>45172</c:v>
                </c:pt>
                <c:pt idx="30">
                  <c:v>45179</c:v>
                </c:pt>
                <c:pt idx="31">
                  <c:v>45186</c:v>
                </c:pt>
                <c:pt idx="32">
                  <c:v>45193</c:v>
                </c:pt>
                <c:pt idx="33">
                  <c:v>45200</c:v>
                </c:pt>
                <c:pt idx="34">
                  <c:v>45207</c:v>
                </c:pt>
                <c:pt idx="35">
                  <c:v>45214</c:v>
                </c:pt>
                <c:pt idx="36">
                  <c:v>45221</c:v>
                </c:pt>
                <c:pt idx="37">
                  <c:v>45228</c:v>
                </c:pt>
                <c:pt idx="38">
                  <c:v>45235</c:v>
                </c:pt>
                <c:pt idx="39">
                  <c:v>45242</c:v>
                </c:pt>
                <c:pt idx="40">
                  <c:v>45249</c:v>
                </c:pt>
                <c:pt idx="41">
                  <c:v>45256</c:v>
                </c:pt>
                <c:pt idx="42">
                  <c:v>45263</c:v>
                </c:pt>
                <c:pt idx="43">
                  <c:v>45270</c:v>
                </c:pt>
                <c:pt idx="44">
                  <c:v>45277</c:v>
                </c:pt>
                <c:pt idx="45">
                  <c:v>45284</c:v>
                </c:pt>
                <c:pt idx="46">
                  <c:v>45291</c:v>
                </c:pt>
                <c:pt idx="47">
                  <c:v>45298</c:v>
                </c:pt>
                <c:pt idx="48">
                  <c:v>45305</c:v>
                </c:pt>
                <c:pt idx="49">
                  <c:v>45312</c:v>
                </c:pt>
                <c:pt idx="50">
                  <c:v>45319</c:v>
                </c:pt>
                <c:pt idx="51">
                  <c:v>45326</c:v>
                </c:pt>
                <c:pt idx="52">
                  <c:v>45340</c:v>
                </c:pt>
                <c:pt idx="53">
                  <c:v>45347</c:v>
                </c:pt>
                <c:pt idx="54">
                  <c:v>45354</c:v>
                </c:pt>
                <c:pt idx="55">
                  <c:v>45368</c:v>
                </c:pt>
                <c:pt idx="56">
                  <c:v>45375</c:v>
                </c:pt>
                <c:pt idx="57">
                  <c:v>45522</c:v>
                </c:pt>
                <c:pt idx="58">
                  <c:v>45578</c:v>
                </c:pt>
                <c:pt idx="59">
                  <c:v>45585</c:v>
                </c:pt>
                <c:pt idx="60">
                  <c:v>45592</c:v>
                </c:pt>
                <c:pt idx="61">
                  <c:v>45599</c:v>
                </c:pt>
                <c:pt idx="62">
                  <c:v>45606</c:v>
                </c:pt>
                <c:pt idx="63">
                  <c:v>45613</c:v>
                </c:pt>
                <c:pt idx="64">
                  <c:v>45620</c:v>
                </c:pt>
                <c:pt idx="65">
                  <c:v>45627</c:v>
                </c:pt>
                <c:pt idx="66">
                  <c:v>45634</c:v>
                </c:pt>
                <c:pt idx="67">
                  <c:v>45641</c:v>
                </c:pt>
                <c:pt idx="68">
                  <c:v>45648</c:v>
                </c:pt>
                <c:pt idx="69">
                  <c:v>45655</c:v>
                </c:pt>
                <c:pt idx="70">
                  <c:v>45662</c:v>
                </c:pt>
                <c:pt idx="71">
                  <c:v>45669</c:v>
                </c:pt>
              </c:numCache>
            </c:numRef>
          </c:cat>
          <c:val>
            <c:numRef>
              <c:f>Sheet1!$F$2:$F$73</c:f>
              <c:numCache>
                <c:formatCode>General</c:formatCode>
                <c:ptCount val="72"/>
                <c:pt idx="0">
                  <c:v>0.15</c:v>
                </c:pt>
                <c:pt idx="1">
                  <c:v>0.11</c:v>
                </c:pt>
                <c:pt idx="2">
                  <c:v>0.09</c:v>
                </c:pt>
                <c:pt idx="3">
                  <c:v>7.0000000000000007E-2</c:v>
                </c:pt>
                <c:pt idx="4">
                  <c:v>7.0000000000000007E-2</c:v>
                </c:pt>
                <c:pt idx="5">
                  <c:v>0.08</c:v>
                </c:pt>
                <c:pt idx="6">
                  <c:v>0.1</c:v>
                </c:pt>
                <c:pt idx="7">
                  <c:v>0.18</c:v>
                </c:pt>
                <c:pt idx="8">
                  <c:v>0.15</c:v>
                </c:pt>
                <c:pt idx="9">
                  <c:v>0.14000000000000001</c:v>
                </c:pt>
                <c:pt idx="10">
                  <c:v>0.15</c:v>
                </c:pt>
                <c:pt idx="11">
                  <c:v>0.18</c:v>
                </c:pt>
                <c:pt idx="12">
                  <c:v>0.01</c:v>
                </c:pt>
                <c:pt idx="13">
                  <c:v>0.09</c:v>
                </c:pt>
                <c:pt idx="14">
                  <c:v>0.15</c:v>
                </c:pt>
                <c:pt idx="15">
                  <c:v>0.12</c:v>
                </c:pt>
                <c:pt idx="16">
                  <c:v>0.02</c:v>
                </c:pt>
                <c:pt idx="17">
                  <c:v>0.01</c:v>
                </c:pt>
                <c:pt idx="18">
                  <c:v>0.01</c:v>
                </c:pt>
                <c:pt idx="19">
                  <c:v>0</c:v>
                </c:pt>
                <c:pt idx="20">
                  <c:v>0</c:v>
                </c:pt>
                <c:pt idx="21">
                  <c:v>0</c:v>
                </c:pt>
                <c:pt idx="22">
                  <c:v>0</c:v>
                </c:pt>
                <c:pt idx="23">
                  <c:v>0</c:v>
                </c:pt>
                <c:pt idx="24">
                  <c:v>0.01</c:v>
                </c:pt>
                <c:pt idx="25">
                  <c:v>0.01</c:v>
                </c:pt>
                <c:pt idx="26">
                  <c:v>0.4</c:v>
                </c:pt>
                <c:pt idx="27">
                  <c:v>0.92</c:v>
                </c:pt>
                <c:pt idx="28">
                  <c:v>0.95</c:v>
                </c:pt>
                <c:pt idx="29">
                  <c:v>0.96</c:v>
                </c:pt>
                <c:pt idx="30">
                  <c:v>0.96</c:v>
                </c:pt>
                <c:pt idx="31">
                  <c:v>0.96</c:v>
                </c:pt>
                <c:pt idx="32">
                  <c:v>0.95</c:v>
                </c:pt>
                <c:pt idx="33">
                  <c:v>0.94</c:v>
                </c:pt>
                <c:pt idx="34">
                  <c:v>0.93</c:v>
                </c:pt>
                <c:pt idx="35">
                  <c:v>0.92</c:v>
                </c:pt>
                <c:pt idx="36">
                  <c:v>0.92</c:v>
                </c:pt>
                <c:pt idx="37">
                  <c:v>0.91</c:v>
                </c:pt>
                <c:pt idx="38">
                  <c:v>0.05</c:v>
                </c:pt>
                <c:pt idx="39">
                  <c:v>0.06</c:v>
                </c:pt>
                <c:pt idx="40">
                  <c:v>0.09</c:v>
                </c:pt>
                <c:pt idx="41">
                  <c:v>0.13</c:v>
                </c:pt>
                <c:pt idx="42">
                  <c:v>0.15</c:v>
                </c:pt>
                <c:pt idx="43">
                  <c:v>0.24</c:v>
                </c:pt>
                <c:pt idx="44">
                  <c:v>0.22</c:v>
                </c:pt>
                <c:pt idx="45">
                  <c:v>0.3</c:v>
                </c:pt>
                <c:pt idx="46">
                  <c:v>0.5</c:v>
                </c:pt>
                <c:pt idx="47">
                  <c:v>0.03</c:v>
                </c:pt>
                <c:pt idx="48">
                  <c:v>0.06</c:v>
                </c:pt>
                <c:pt idx="49">
                  <c:v>0.03</c:v>
                </c:pt>
                <c:pt idx="50">
                  <c:v>0.01</c:v>
                </c:pt>
                <c:pt idx="51">
                  <c:v>0.01</c:v>
                </c:pt>
                <c:pt idx="52">
                  <c:v>0.1</c:v>
                </c:pt>
                <c:pt idx="53">
                  <c:v>0.3</c:v>
                </c:pt>
                <c:pt idx="54">
                  <c:v>0.11</c:v>
                </c:pt>
                <c:pt idx="55">
                  <c:v>0</c:v>
                </c:pt>
                <c:pt idx="56">
                  <c:v>0.31</c:v>
                </c:pt>
                <c:pt idx="57">
                  <c:v>0</c:v>
                </c:pt>
                <c:pt idx="58">
                  <c:v>0.24</c:v>
                </c:pt>
                <c:pt idx="59">
                  <c:v>0.28999999999999998</c:v>
                </c:pt>
                <c:pt idx="60">
                  <c:v>0.19</c:v>
                </c:pt>
                <c:pt idx="61">
                  <c:v>0.08</c:v>
                </c:pt>
                <c:pt idx="62">
                  <c:v>0.1</c:v>
                </c:pt>
                <c:pt idx="63">
                  <c:v>0.12</c:v>
                </c:pt>
                <c:pt idx="64">
                  <c:v>0.14000000000000001</c:v>
                </c:pt>
                <c:pt idx="65">
                  <c:v>0.32</c:v>
                </c:pt>
                <c:pt idx="66">
                  <c:v>0.41</c:v>
                </c:pt>
                <c:pt idx="67">
                  <c:v>0.33</c:v>
                </c:pt>
                <c:pt idx="68">
                  <c:v>0.3</c:v>
                </c:pt>
                <c:pt idx="69">
                  <c:v>0.52</c:v>
                </c:pt>
                <c:pt idx="70">
                  <c:v>0.02</c:v>
                </c:pt>
                <c:pt idx="71">
                  <c:v>0.0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40</c:f>
              <c:numCache>
                <c:formatCode>yyyy\-mm\-dd</c:formatCode>
                <c:ptCount val="39"/>
                <c:pt idx="0">
                  <c:v>45032</c:v>
                </c:pt>
                <c:pt idx="1">
                  <c:v>45039</c:v>
                </c:pt>
                <c:pt idx="2">
                  <c:v>45046</c:v>
                </c:pt>
                <c:pt idx="3">
                  <c:v>45053</c:v>
                </c:pt>
                <c:pt idx="4">
                  <c:v>45060</c:v>
                </c:pt>
                <c:pt idx="5">
                  <c:v>45067</c:v>
                </c:pt>
                <c:pt idx="6">
                  <c:v>45074</c:v>
                </c:pt>
                <c:pt idx="7">
                  <c:v>45081</c:v>
                </c:pt>
                <c:pt idx="8">
                  <c:v>45088</c:v>
                </c:pt>
                <c:pt idx="9">
                  <c:v>45095</c:v>
                </c:pt>
                <c:pt idx="10">
                  <c:v>45102</c:v>
                </c:pt>
                <c:pt idx="11">
                  <c:v>45109</c:v>
                </c:pt>
                <c:pt idx="12">
                  <c:v>45214</c:v>
                </c:pt>
                <c:pt idx="13">
                  <c:v>45221</c:v>
                </c:pt>
                <c:pt idx="14">
                  <c:v>45228</c:v>
                </c:pt>
                <c:pt idx="15">
                  <c:v>45235</c:v>
                </c:pt>
                <c:pt idx="16">
                  <c:v>45256</c:v>
                </c:pt>
                <c:pt idx="17">
                  <c:v>45270</c:v>
                </c:pt>
                <c:pt idx="18">
                  <c:v>45277</c:v>
                </c:pt>
                <c:pt idx="19">
                  <c:v>45312</c:v>
                </c:pt>
                <c:pt idx="20">
                  <c:v>45333</c:v>
                </c:pt>
                <c:pt idx="21">
                  <c:v>45347</c:v>
                </c:pt>
                <c:pt idx="22">
                  <c:v>45354</c:v>
                </c:pt>
                <c:pt idx="23">
                  <c:v>45368</c:v>
                </c:pt>
                <c:pt idx="24">
                  <c:v>45382</c:v>
                </c:pt>
                <c:pt idx="25">
                  <c:v>45403</c:v>
                </c:pt>
                <c:pt idx="26">
                  <c:v>45410</c:v>
                </c:pt>
                <c:pt idx="27">
                  <c:v>45438</c:v>
                </c:pt>
                <c:pt idx="28">
                  <c:v>45494</c:v>
                </c:pt>
                <c:pt idx="29">
                  <c:v>45564</c:v>
                </c:pt>
                <c:pt idx="30">
                  <c:v>45592</c:v>
                </c:pt>
                <c:pt idx="31">
                  <c:v>45613</c:v>
                </c:pt>
                <c:pt idx="32">
                  <c:v>45641</c:v>
                </c:pt>
                <c:pt idx="33">
                  <c:v>45648</c:v>
                </c:pt>
                <c:pt idx="34">
                  <c:v>45655</c:v>
                </c:pt>
                <c:pt idx="35">
                  <c:v>45662</c:v>
                </c:pt>
                <c:pt idx="36">
                  <c:v>45669</c:v>
                </c:pt>
                <c:pt idx="37">
                  <c:v>45676</c:v>
                </c:pt>
                <c:pt idx="38">
                  <c:v>45683</c:v>
                </c:pt>
              </c:numCache>
            </c:numRef>
          </c:cat>
          <c:val>
            <c:numRef>
              <c:f>Sheet1!$B$2:$B$40</c:f>
              <c:numCache>
                <c:formatCode>General</c:formatCode>
                <c:ptCount val="39"/>
                <c:pt idx="0">
                  <c:v>14684</c:v>
                </c:pt>
                <c:pt idx="1">
                  <c:v>13661</c:v>
                </c:pt>
                <c:pt idx="2">
                  <c:v>6327</c:v>
                </c:pt>
                <c:pt idx="3">
                  <c:v>5020</c:v>
                </c:pt>
                <c:pt idx="4">
                  <c:v>3852</c:v>
                </c:pt>
                <c:pt idx="5">
                  <c:v>2665</c:v>
                </c:pt>
                <c:pt idx="6">
                  <c:v>2271</c:v>
                </c:pt>
                <c:pt idx="7">
                  <c:v>1480</c:v>
                </c:pt>
                <c:pt idx="8">
                  <c:v>1853</c:v>
                </c:pt>
                <c:pt idx="9">
                  <c:v>889</c:v>
                </c:pt>
                <c:pt idx="10">
                  <c:v>1166</c:v>
                </c:pt>
                <c:pt idx="11">
                  <c:v>885</c:v>
                </c:pt>
                <c:pt idx="12">
                  <c:v>1749</c:v>
                </c:pt>
                <c:pt idx="13">
                  <c:v>2132</c:v>
                </c:pt>
                <c:pt idx="14">
                  <c:v>2466</c:v>
                </c:pt>
                <c:pt idx="15">
                  <c:v>2394</c:v>
                </c:pt>
                <c:pt idx="16">
                  <c:v>2687</c:v>
                </c:pt>
                <c:pt idx="17">
                  <c:v>3008</c:v>
                </c:pt>
                <c:pt idx="18">
                  <c:v>2530</c:v>
                </c:pt>
                <c:pt idx="19">
                  <c:v>2408</c:v>
                </c:pt>
                <c:pt idx="20">
                  <c:v>2814</c:v>
                </c:pt>
                <c:pt idx="21">
                  <c:v>3074</c:v>
                </c:pt>
                <c:pt idx="22">
                  <c:v>2472</c:v>
                </c:pt>
                <c:pt idx="23">
                  <c:v>2835</c:v>
                </c:pt>
                <c:pt idx="24">
                  <c:v>2509</c:v>
                </c:pt>
                <c:pt idx="25">
                  <c:v>2512</c:v>
                </c:pt>
                <c:pt idx="26">
                  <c:v>2372</c:v>
                </c:pt>
                <c:pt idx="27">
                  <c:v>2085</c:v>
                </c:pt>
                <c:pt idx="28">
                  <c:v>1362</c:v>
                </c:pt>
                <c:pt idx="29">
                  <c:v>2250</c:v>
                </c:pt>
                <c:pt idx="30">
                  <c:v>1469</c:v>
                </c:pt>
                <c:pt idx="31">
                  <c:v>1615</c:v>
                </c:pt>
                <c:pt idx="32">
                  <c:v>27252</c:v>
                </c:pt>
                <c:pt idx="33">
                  <c:v>36630</c:v>
                </c:pt>
                <c:pt idx="34">
                  <c:v>22209</c:v>
                </c:pt>
                <c:pt idx="35">
                  <c:v>24389</c:v>
                </c:pt>
                <c:pt idx="36">
                  <c:v>13282</c:v>
                </c:pt>
                <c:pt idx="37">
                  <c:v>6388</c:v>
                </c:pt>
                <c:pt idx="38">
                  <c:v>3423</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40</c:f>
              <c:numCache>
                <c:formatCode>yyyy\-mm\-dd</c:formatCode>
                <c:ptCount val="39"/>
                <c:pt idx="0">
                  <c:v>45032</c:v>
                </c:pt>
                <c:pt idx="1">
                  <c:v>45039</c:v>
                </c:pt>
                <c:pt idx="2">
                  <c:v>45046</c:v>
                </c:pt>
                <c:pt idx="3">
                  <c:v>45053</c:v>
                </c:pt>
                <c:pt idx="4">
                  <c:v>45060</c:v>
                </c:pt>
                <c:pt idx="5">
                  <c:v>45067</c:v>
                </c:pt>
                <c:pt idx="6">
                  <c:v>45074</c:v>
                </c:pt>
                <c:pt idx="7">
                  <c:v>45081</c:v>
                </c:pt>
                <c:pt idx="8">
                  <c:v>45088</c:v>
                </c:pt>
                <c:pt idx="9">
                  <c:v>45095</c:v>
                </c:pt>
                <c:pt idx="10">
                  <c:v>45102</c:v>
                </c:pt>
                <c:pt idx="11">
                  <c:v>45109</c:v>
                </c:pt>
                <c:pt idx="12">
                  <c:v>45214</c:v>
                </c:pt>
                <c:pt idx="13">
                  <c:v>45221</c:v>
                </c:pt>
                <c:pt idx="14">
                  <c:v>45228</c:v>
                </c:pt>
                <c:pt idx="15">
                  <c:v>45235</c:v>
                </c:pt>
                <c:pt idx="16">
                  <c:v>45256</c:v>
                </c:pt>
                <c:pt idx="17">
                  <c:v>45270</c:v>
                </c:pt>
                <c:pt idx="18">
                  <c:v>45277</c:v>
                </c:pt>
                <c:pt idx="19">
                  <c:v>45312</c:v>
                </c:pt>
                <c:pt idx="20">
                  <c:v>45333</c:v>
                </c:pt>
                <c:pt idx="21">
                  <c:v>45347</c:v>
                </c:pt>
                <c:pt idx="22">
                  <c:v>45354</c:v>
                </c:pt>
                <c:pt idx="23">
                  <c:v>45368</c:v>
                </c:pt>
                <c:pt idx="24">
                  <c:v>45382</c:v>
                </c:pt>
                <c:pt idx="25">
                  <c:v>45403</c:v>
                </c:pt>
                <c:pt idx="26">
                  <c:v>45410</c:v>
                </c:pt>
                <c:pt idx="27">
                  <c:v>45438</c:v>
                </c:pt>
                <c:pt idx="28">
                  <c:v>45494</c:v>
                </c:pt>
                <c:pt idx="29">
                  <c:v>45564</c:v>
                </c:pt>
                <c:pt idx="30">
                  <c:v>45592</c:v>
                </c:pt>
                <c:pt idx="31">
                  <c:v>45613</c:v>
                </c:pt>
                <c:pt idx="32">
                  <c:v>45641</c:v>
                </c:pt>
                <c:pt idx="33">
                  <c:v>45648</c:v>
                </c:pt>
                <c:pt idx="34">
                  <c:v>45655</c:v>
                </c:pt>
                <c:pt idx="35">
                  <c:v>45662</c:v>
                </c:pt>
                <c:pt idx="36">
                  <c:v>45669</c:v>
                </c:pt>
                <c:pt idx="37">
                  <c:v>45676</c:v>
                </c:pt>
                <c:pt idx="38">
                  <c:v>45683</c:v>
                </c:pt>
              </c:numCache>
            </c:numRef>
          </c:cat>
          <c:val>
            <c:numRef>
              <c:f>Sheet1!$C$2:$C$40</c:f>
              <c:numCache>
                <c:formatCode>General</c:formatCode>
                <c:ptCount val="39"/>
                <c:pt idx="0">
                  <c:v>42664</c:v>
                </c:pt>
                <c:pt idx="1">
                  <c:v>114762</c:v>
                </c:pt>
                <c:pt idx="2">
                  <c:v>174796</c:v>
                </c:pt>
                <c:pt idx="3">
                  <c:v>198686</c:v>
                </c:pt>
                <c:pt idx="4">
                  <c:v>192391</c:v>
                </c:pt>
                <c:pt idx="5">
                  <c:v>190386</c:v>
                </c:pt>
                <c:pt idx="6">
                  <c:v>198412</c:v>
                </c:pt>
                <c:pt idx="7">
                  <c:v>210286</c:v>
                </c:pt>
                <c:pt idx="8">
                  <c:v>210302</c:v>
                </c:pt>
                <c:pt idx="9">
                  <c:v>205767</c:v>
                </c:pt>
                <c:pt idx="10">
                  <c:v>201057</c:v>
                </c:pt>
                <c:pt idx="11">
                  <c:v>209287</c:v>
                </c:pt>
                <c:pt idx="12">
                  <c:v>191891</c:v>
                </c:pt>
                <c:pt idx="13">
                  <c:v>189301</c:v>
                </c:pt>
                <c:pt idx="14">
                  <c:v>190466</c:v>
                </c:pt>
                <c:pt idx="15">
                  <c:v>198310</c:v>
                </c:pt>
                <c:pt idx="16">
                  <c:v>181374</c:v>
                </c:pt>
                <c:pt idx="17">
                  <c:v>206266</c:v>
                </c:pt>
                <c:pt idx="18">
                  <c:v>200213</c:v>
                </c:pt>
                <c:pt idx="19">
                  <c:v>175137</c:v>
                </c:pt>
                <c:pt idx="20">
                  <c:v>189541</c:v>
                </c:pt>
                <c:pt idx="21">
                  <c:v>191029</c:v>
                </c:pt>
                <c:pt idx="22">
                  <c:v>199637</c:v>
                </c:pt>
                <c:pt idx="23">
                  <c:v>190196</c:v>
                </c:pt>
                <c:pt idx="24">
                  <c:v>188596</c:v>
                </c:pt>
                <c:pt idx="25">
                  <c:v>193715</c:v>
                </c:pt>
                <c:pt idx="26">
                  <c:v>188783</c:v>
                </c:pt>
                <c:pt idx="27">
                  <c:v>194068</c:v>
                </c:pt>
                <c:pt idx="28">
                  <c:v>163425</c:v>
                </c:pt>
                <c:pt idx="29">
                  <c:v>181211</c:v>
                </c:pt>
                <c:pt idx="30">
                  <c:v>181232</c:v>
                </c:pt>
                <c:pt idx="31">
                  <c:v>183629</c:v>
                </c:pt>
                <c:pt idx="32">
                  <c:v>164313</c:v>
                </c:pt>
                <c:pt idx="33">
                  <c:v>156797</c:v>
                </c:pt>
                <c:pt idx="34">
                  <c:v>143184</c:v>
                </c:pt>
                <c:pt idx="35">
                  <c:v>143522</c:v>
                </c:pt>
                <c:pt idx="36">
                  <c:v>130832</c:v>
                </c:pt>
                <c:pt idx="37">
                  <c:v>155921</c:v>
                </c:pt>
                <c:pt idx="38">
                  <c:v>180691</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40</c:f>
              <c:numCache>
                <c:formatCode>yyyy\-mm\-dd</c:formatCode>
                <c:ptCount val="39"/>
                <c:pt idx="0">
                  <c:v>45032</c:v>
                </c:pt>
                <c:pt idx="1">
                  <c:v>45039</c:v>
                </c:pt>
                <c:pt idx="2">
                  <c:v>45046</c:v>
                </c:pt>
                <c:pt idx="3">
                  <c:v>45053</c:v>
                </c:pt>
                <c:pt idx="4">
                  <c:v>45060</c:v>
                </c:pt>
                <c:pt idx="5">
                  <c:v>45067</c:v>
                </c:pt>
                <c:pt idx="6">
                  <c:v>45074</c:v>
                </c:pt>
                <c:pt idx="7">
                  <c:v>45081</c:v>
                </c:pt>
                <c:pt idx="8">
                  <c:v>45088</c:v>
                </c:pt>
                <c:pt idx="9">
                  <c:v>45095</c:v>
                </c:pt>
                <c:pt idx="10">
                  <c:v>45102</c:v>
                </c:pt>
                <c:pt idx="11">
                  <c:v>45109</c:v>
                </c:pt>
                <c:pt idx="12">
                  <c:v>45214</c:v>
                </c:pt>
                <c:pt idx="13">
                  <c:v>45221</c:v>
                </c:pt>
                <c:pt idx="14">
                  <c:v>45228</c:v>
                </c:pt>
                <c:pt idx="15">
                  <c:v>45235</c:v>
                </c:pt>
                <c:pt idx="16">
                  <c:v>45256</c:v>
                </c:pt>
                <c:pt idx="17">
                  <c:v>45270</c:v>
                </c:pt>
                <c:pt idx="18">
                  <c:v>45277</c:v>
                </c:pt>
                <c:pt idx="19">
                  <c:v>45312</c:v>
                </c:pt>
                <c:pt idx="20">
                  <c:v>45333</c:v>
                </c:pt>
                <c:pt idx="21">
                  <c:v>45347</c:v>
                </c:pt>
                <c:pt idx="22">
                  <c:v>45354</c:v>
                </c:pt>
                <c:pt idx="23">
                  <c:v>45368</c:v>
                </c:pt>
                <c:pt idx="24">
                  <c:v>45382</c:v>
                </c:pt>
                <c:pt idx="25">
                  <c:v>45403</c:v>
                </c:pt>
                <c:pt idx="26">
                  <c:v>45410</c:v>
                </c:pt>
                <c:pt idx="27">
                  <c:v>45438</c:v>
                </c:pt>
                <c:pt idx="28">
                  <c:v>45494</c:v>
                </c:pt>
                <c:pt idx="29">
                  <c:v>45564</c:v>
                </c:pt>
                <c:pt idx="30">
                  <c:v>45592</c:v>
                </c:pt>
                <c:pt idx="31">
                  <c:v>45613</c:v>
                </c:pt>
                <c:pt idx="32">
                  <c:v>45641</c:v>
                </c:pt>
                <c:pt idx="33">
                  <c:v>45648</c:v>
                </c:pt>
                <c:pt idx="34">
                  <c:v>45655</c:v>
                </c:pt>
                <c:pt idx="35">
                  <c:v>45662</c:v>
                </c:pt>
                <c:pt idx="36">
                  <c:v>45669</c:v>
                </c:pt>
                <c:pt idx="37">
                  <c:v>45676</c:v>
                </c:pt>
                <c:pt idx="38">
                  <c:v>45683</c:v>
                </c:pt>
              </c:numCache>
            </c:numRef>
          </c:cat>
          <c:val>
            <c:numRef>
              <c:f>Sheet1!$D$2:$D$40</c:f>
              <c:numCache>
                <c:formatCode>General</c:formatCode>
                <c:ptCount val="39"/>
                <c:pt idx="0">
                  <c:v>57348</c:v>
                </c:pt>
                <c:pt idx="1">
                  <c:v>128423</c:v>
                </c:pt>
                <c:pt idx="2">
                  <c:v>181123</c:v>
                </c:pt>
                <c:pt idx="3">
                  <c:v>203706</c:v>
                </c:pt>
                <c:pt idx="4">
                  <c:v>196243</c:v>
                </c:pt>
                <c:pt idx="5">
                  <c:v>193051</c:v>
                </c:pt>
                <c:pt idx="6">
                  <c:v>200683</c:v>
                </c:pt>
                <c:pt idx="7">
                  <c:v>211766</c:v>
                </c:pt>
                <c:pt idx="8">
                  <c:v>212155</c:v>
                </c:pt>
                <c:pt idx="9">
                  <c:v>206656</c:v>
                </c:pt>
                <c:pt idx="10">
                  <c:v>202223</c:v>
                </c:pt>
                <c:pt idx="11">
                  <c:v>210172</c:v>
                </c:pt>
                <c:pt idx="12">
                  <c:v>193640</c:v>
                </c:pt>
                <c:pt idx="13">
                  <c:v>191433</c:v>
                </c:pt>
                <c:pt idx="14">
                  <c:v>192932</c:v>
                </c:pt>
                <c:pt idx="15">
                  <c:v>200704</c:v>
                </c:pt>
                <c:pt idx="16">
                  <c:v>184061</c:v>
                </c:pt>
                <c:pt idx="17">
                  <c:v>209274</c:v>
                </c:pt>
                <c:pt idx="18">
                  <c:v>202743</c:v>
                </c:pt>
                <c:pt idx="19">
                  <c:v>177545</c:v>
                </c:pt>
                <c:pt idx="20">
                  <c:v>192355</c:v>
                </c:pt>
                <c:pt idx="21">
                  <c:v>194103</c:v>
                </c:pt>
                <c:pt idx="22">
                  <c:v>202109</c:v>
                </c:pt>
                <c:pt idx="23">
                  <c:v>193031</c:v>
                </c:pt>
                <c:pt idx="24">
                  <c:v>191105</c:v>
                </c:pt>
                <c:pt idx="25">
                  <c:v>196227</c:v>
                </c:pt>
                <c:pt idx="26">
                  <c:v>191155</c:v>
                </c:pt>
                <c:pt idx="27">
                  <c:v>196153</c:v>
                </c:pt>
                <c:pt idx="28">
                  <c:v>164787</c:v>
                </c:pt>
                <c:pt idx="29">
                  <c:v>183461</c:v>
                </c:pt>
                <c:pt idx="30">
                  <c:v>182701</c:v>
                </c:pt>
                <c:pt idx="31">
                  <c:v>185244</c:v>
                </c:pt>
                <c:pt idx="32">
                  <c:v>191565</c:v>
                </c:pt>
                <c:pt idx="33">
                  <c:v>193427</c:v>
                </c:pt>
                <c:pt idx="34">
                  <c:v>165393</c:v>
                </c:pt>
                <c:pt idx="35">
                  <c:v>167911</c:v>
                </c:pt>
                <c:pt idx="36">
                  <c:v>144114</c:v>
                </c:pt>
                <c:pt idx="37">
                  <c:v>162309</c:v>
                </c:pt>
                <c:pt idx="38">
                  <c:v>184114</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40</c:f>
              <c:numCache>
                <c:formatCode>yyyy\-mm\-dd</c:formatCode>
                <c:ptCount val="39"/>
                <c:pt idx="0">
                  <c:v>45032</c:v>
                </c:pt>
                <c:pt idx="1">
                  <c:v>45039</c:v>
                </c:pt>
                <c:pt idx="2">
                  <c:v>45046</c:v>
                </c:pt>
                <c:pt idx="3">
                  <c:v>45053</c:v>
                </c:pt>
                <c:pt idx="4">
                  <c:v>45060</c:v>
                </c:pt>
                <c:pt idx="5">
                  <c:v>45067</c:v>
                </c:pt>
                <c:pt idx="6">
                  <c:v>45074</c:v>
                </c:pt>
                <c:pt idx="7">
                  <c:v>45081</c:v>
                </c:pt>
                <c:pt idx="8">
                  <c:v>45088</c:v>
                </c:pt>
                <c:pt idx="9">
                  <c:v>45095</c:v>
                </c:pt>
                <c:pt idx="10">
                  <c:v>45102</c:v>
                </c:pt>
                <c:pt idx="11">
                  <c:v>45109</c:v>
                </c:pt>
                <c:pt idx="12">
                  <c:v>45214</c:v>
                </c:pt>
                <c:pt idx="13">
                  <c:v>45221</c:v>
                </c:pt>
                <c:pt idx="14">
                  <c:v>45228</c:v>
                </c:pt>
                <c:pt idx="15">
                  <c:v>45235</c:v>
                </c:pt>
                <c:pt idx="16">
                  <c:v>45256</c:v>
                </c:pt>
                <c:pt idx="17">
                  <c:v>45270</c:v>
                </c:pt>
                <c:pt idx="18">
                  <c:v>45277</c:v>
                </c:pt>
                <c:pt idx="19">
                  <c:v>45312</c:v>
                </c:pt>
                <c:pt idx="20">
                  <c:v>45333</c:v>
                </c:pt>
                <c:pt idx="21">
                  <c:v>45347</c:v>
                </c:pt>
                <c:pt idx="22">
                  <c:v>45354</c:v>
                </c:pt>
                <c:pt idx="23">
                  <c:v>45368</c:v>
                </c:pt>
                <c:pt idx="24">
                  <c:v>45382</c:v>
                </c:pt>
                <c:pt idx="25">
                  <c:v>45403</c:v>
                </c:pt>
                <c:pt idx="26">
                  <c:v>45410</c:v>
                </c:pt>
                <c:pt idx="27">
                  <c:v>45438</c:v>
                </c:pt>
                <c:pt idx="28">
                  <c:v>45494</c:v>
                </c:pt>
                <c:pt idx="29">
                  <c:v>45564</c:v>
                </c:pt>
                <c:pt idx="30">
                  <c:v>45592</c:v>
                </c:pt>
                <c:pt idx="31">
                  <c:v>45613</c:v>
                </c:pt>
                <c:pt idx="32">
                  <c:v>45641</c:v>
                </c:pt>
                <c:pt idx="33">
                  <c:v>45648</c:v>
                </c:pt>
                <c:pt idx="34">
                  <c:v>45655</c:v>
                </c:pt>
                <c:pt idx="35">
                  <c:v>45662</c:v>
                </c:pt>
                <c:pt idx="36">
                  <c:v>45669</c:v>
                </c:pt>
                <c:pt idx="37">
                  <c:v>45676</c:v>
                </c:pt>
                <c:pt idx="38">
                  <c:v>45683</c:v>
                </c:pt>
              </c:numCache>
            </c:numRef>
          </c:cat>
          <c:val>
            <c:numRef>
              <c:f>Sheet1!$E$2:$E$40</c:f>
              <c:numCache>
                <c:formatCode>General</c:formatCode>
                <c:ptCount val="39"/>
                <c:pt idx="0">
                  <c:v>167773</c:v>
                </c:pt>
                <c:pt idx="1">
                  <c:v>171523</c:v>
                </c:pt>
                <c:pt idx="2">
                  <c:v>165074</c:v>
                </c:pt>
                <c:pt idx="3">
                  <c:v>168681</c:v>
                </c:pt>
                <c:pt idx="4">
                  <c:v>171360</c:v>
                </c:pt>
                <c:pt idx="5">
                  <c:v>191935</c:v>
                </c:pt>
                <c:pt idx="6">
                  <c:v>202234</c:v>
                </c:pt>
                <c:pt idx="7">
                  <c:v>204243</c:v>
                </c:pt>
                <c:pt idx="8">
                  <c:v>204755</c:v>
                </c:pt>
                <c:pt idx="9">
                  <c:v>207224</c:v>
                </c:pt>
                <c:pt idx="10">
                  <c:v>209120</c:v>
                </c:pt>
                <c:pt idx="11">
                  <c:v>208929</c:v>
                </c:pt>
                <c:pt idx="12">
                  <c:v>196201</c:v>
                </c:pt>
                <c:pt idx="13">
                  <c:v>197726</c:v>
                </c:pt>
                <c:pt idx="14">
                  <c:v>197562</c:v>
                </c:pt>
                <c:pt idx="15">
                  <c:v>196183</c:v>
                </c:pt>
                <c:pt idx="16">
                  <c:v>198768</c:v>
                </c:pt>
                <c:pt idx="17">
                  <c:v>201675</c:v>
                </c:pt>
                <c:pt idx="18">
                  <c:v>201601</c:v>
                </c:pt>
                <c:pt idx="19">
                  <c:v>195480</c:v>
                </c:pt>
                <c:pt idx="20">
                  <c:v>190242</c:v>
                </c:pt>
                <c:pt idx="21">
                  <c:v>193466</c:v>
                </c:pt>
                <c:pt idx="22">
                  <c:v>193240</c:v>
                </c:pt>
                <c:pt idx="23">
                  <c:v>193743</c:v>
                </c:pt>
                <c:pt idx="24">
                  <c:v>195503</c:v>
                </c:pt>
                <c:pt idx="25">
                  <c:v>195131</c:v>
                </c:pt>
                <c:pt idx="26">
                  <c:v>195143</c:v>
                </c:pt>
                <c:pt idx="27">
                  <c:v>197649</c:v>
                </c:pt>
                <c:pt idx="28">
                  <c:v>184664</c:v>
                </c:pt>
                <c:pt idx="29">
                  <c:v>192717</c:v>
                </c:pt>
                <c:pt idx="30">
                  <c:v>189405</c:v>
                </c:pt>
                <c:pt idx="31">
                  <c:v>185923</c:v>
                </c:pt>
                <c:pt idx="32">
                  <c:v>184627</c:v>
                </c:pt>
                <c:pt idx="33">
                  <c:v>184173</c:v>
                </c:pt>
                <c:pt idx="34">
                  <c:v>177857</c:v>
                </c:pt>
                <c:pt idx="35">
                  <c:v>177914</c:v>
                </c:pt>
                <c:pt idx="36">
                  <c:v>159972</c:v>
                </c:pt>
                <c:pt idx="37">
                  <c:v>190371</c:v>
                </c:pt>
                <c:pt idx="38">
                  <c:v>185773</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40</c:f>
              <c:numCache>
                <c:formatCode>yyyy\-mm\-dd</c:formatCode>
                <c:ptCount val="39"/>
                <c:pt idx="0">
                  <c:v>45032</c:v>
                </c:pt>
                <c:pt idx="1">
                  <c:v>45039</c:v>
                </c:pt>
                <c:pt idx="2">
                  <c:v>45046</c:v>
                </c:pt>
                <c:pt idx="3">
                  <c:v>45053</c:v>
                </c:pt>
                <c:pt idx="4">
                  <c:v>45060</c:v>
                </c:pt>
                <c:pt idx="5">
                  <c:v>45067</c:v>
                </c:pt>
                <c:pt idx="6">
                  <c:v>45074</c:v>
                </c:pt>
                <c:pt idx="7">
                  <c:v>45081</c:v>
                </c:pt>
                <c:pt idx="8">
                  <c:v>45088</c:v>
                </c:pt>
                <c:pt idx="9">
                  <c:v>45095</c:v>
                </c:pt>
                <c:pt idx="10">
                  <c:v>45102</c:v>
                </c:pt>
                <c:pt idx="11">
                  <c:v>45109</c:v>
                </c:pt>
                <c:pt idx="12">
                  <c:v>45214</c:v>
                </c:pt>
                <c:pt idx="13">
                  <c:v>45221</c:v>
                </c:pt>
                <c:pt idx="14">
                  <c:v>45228</c:v>
                </c:pt>
                <c:pt idx="15">
                  <c:v>45235</c:v>
                </c:pt>
                <c:pt idx="16">
                  <c:v>45256</c:v>
                </c:pt>
                <c:pt idx="17">
                  <c:v>45270</c:v>
                </c:pt>
                <c:pt idx="18">
                  <c:v>45277</c:v>
                </c:pt>
                <c:pt idx="19">
                  <c:v>45312</c:v>
                </c:pt>
                <c:pt idx="20">
                  <c:v>45333</c:v>
                </c:pt>
                <c:pt idx="21">
                  <c:v>45347</c:v>
                </c:pt>
                <c:pt idx="22">
                  <c:v>45354</c:v>
                </c:pt>
                <c:pt idx="23">
                  <c:v>45368</c:v>
                </c:pt>
                <c:pt idx="24">
                  <c:v>45382</c:v>
                </c:pt>
                <c:pt idx="25">
                  <c:v>45403</c:v>
                </c:pt>
                <c:pt idx="26">
                  <c:v>45410</c:v>
                </c:pt>
                <c:pt idx="27">
                  <c:v>45438</c:v>
                </c:pt>
                <c:pt idx="28">
                  <c:v>45494</c:v>
                </c:pt>
                <c:pt idx="29">
                  <c:v>45564</c:v>
                </c:pt>
                <c:pt idx="30">
                  <c:v>45592</c:v>
                </c:pt>
                <c:pt idx="31">
                  <c:v>45613</c:v>
                </c:pt>
                <c:pt idx="32">
                  <c:v>45641</c:v>
                </c:pt>
                <c:pt idx="33">
                  <c:v>45648</c:v>
                </c:pt>
                <c:pt idx="34">
                  <c:v>45655</c:v>
                </c:pt>
                <c:pt idx="35">
                  <c:v>45662</c:v>
                </c:pt>
                <c:pt idx="36">
                  <c:v>45669</c:v>
                </c:pt>
                <c:pt idx="37">
                  <c:v>45676</c:v>
                </c:pt>
                <c:pt idx="38">
                  <c:v>45683</c:v>
                </c:pt>
              </c:numCache>
            </c:numRef>
          </c:cat>
          <c:val>
            <c:numRef>
              <c:f>Sheet1!$F$2:$F$40</c:f>
              <c:numCache>
                <c:formatCode>General</c:formatCode>
                <c:ptCount val="39"/>
                <c:pt idx="0">
                  <c:v>0.46</c:v>
                </c:pt>
                <c:pt idx="1">
                  <c:v>0.28999999999999998</c:v>
                </c:pt>
                <c:pt idx="2">
                  <c:v>0.11</c:v>
                </c:pt>
                <c:pt idx="3">
                  <c:v>0.08</c:v>
                </c:pt>
                <c:pt idx="4">
                  <c:v>0.06</c:v>
                </c:pt>
                <c:pt idx="5">
                  <c:v>0.04</c:v>
                </c:pt>
                <c:pt idx="6">
                  <c:v>0.03</c:v>
                </c:pt>
                <c:pt idx="7">
                  <c:v>0.02</c:v>
                </c:pt>
                <c:pt idx="8">
                  <c:v>0.02</c:v>
                </c:pt>
                <c:pt idx="9">
                  <c:v>0.01</c:v>
                </c:pt>
                <c:pt idx="10">
                  <c:v>0.01</c:v>
                </c:pt>
                <c:pt idx="11">
                  <c:v>0.01</c:v>
                </c:pt>
                <c:pt idx="12">
                  <c:v>0.01</c:v>
                </c:pt>
                <c:pt idx="13">
                  <c:v>0.01</c:v>
                </c:pt>
                <c:pt idx="14">
                  <c:v>0.01</c:v>
                </c:pt>
                <c:pt idx="15">
                  <c:v>0.01</c:v>
                </c:pt>
                <c:pt idx="16">
                  <c:v>0.02</c:v>
                </c:pt>
                <c:pt idx="17">
                  <c:v>0.02</c:v>
                </c:pt>
                <c:pt idx="18">
                  <c:v>0.01</c:v>
                </c:pt>
                <c:pt idx="19">
                  <c:v>0.01</c:v>
                </c:pt>
                <c:pt idx="20">
                  <c:v>0.02</c:v>
                </c:pt>
                <c:pt idx="21">
                  <c:v>0.02</c:v>
                </c:pt>
                <c:pt idx="22">
                  <c:v>0.01</c:v>
                </c:pt>
                <c:pt idx="23">
                  <c:v>0.02</c:v>
                </c:pt>
                <c:pt idx="24">
                  <c:v>0.01</c:v>
                </c:pt>
                <c:pt idx="25">
                  <c:v>0.01</c:v>
                </c:pt>
                <c:pt idx="26">
                  <c:v>0.01</c:v>
                </c:pt>
                <c:pt idx="27">
                  <c:v>0.01</c:v>
                </c:pt>
                <c:pt idx="28">
                  <c:v>0.01</c:v>
                </c:pt>
                <c:pt idx="29">
                  <c:v>0.01</c:v>
                </c:pt>
                <c:pt idx="30">
                  <c:v>0.01</c:v>
                </c:pt>
                <c:pt idx="31">
                  <c:v>0.01</c:v>
                </c:pt>
                <c:pt idx="32">
                  <c:v>0.22</c:v>
                </c:pt>
                <c:pt idx="33">
                  <c:v>0.3</c:v>
                </c:pt>
                <c:pt idx="34">
                  <c:v>0.23</c:v>
                </c:pt>
                <c:pt idx="35">
                  <c:v>0.28999999999999998</c:v>
                </c:pt>
                <c:pt idx="36">
                  <c:v>0.23</c:v>
                </c:pt>
                <c:pt idx="37">
                  <c:v>0.1</c:v>
                </c:pt>
                <c:pt idx="38">
                  <c:v>0.04</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43</c:f>
              <c:numCache>
                <c:formatCode>yyyy\-mm\-dd</c:formatCode>
                <c:ptCount val="42"/>
                <c:pt idx="0">
                  <c:v>44934</c:v>
                </c:pt>
                <c:pt idx="1">
                  <c:v>44941</c:v>
                </c:pt>
                <c:pt idx="2">
                  <c:v>44948</c:v>
                </c:pt>
                <c:pt idx="3">
                  <c:v>44955</c:v>
                </c:pt>
                <c:pt idx="4">
                  <c:v>44962</c:v>
                </c:pt>
                <c:pt idx="5">
                  <c:v>44969</c:v>
                </c:pt>
                <c:pt idx="6">
                  <c:v>44976</c:v>
                </c:pt>
                <c:pt idx="7">
                  <c:v>44983</c:v>
                </c:pt>
                <c:pt idx="8">
                  <c:v>44990</c:v>
                </c:pt>
                <c:pt idx="9">
                  <c:v>44997</c:v>
                </c:pt>
                <c:pt idx="10">
                  <c:v>45011</c:v>
                </c:pt>
                <c:pt idx="11">
                  <c:v>45018</c:v>
                </c:pt>
                <c:pt idx="12">
                  <c:v>45081</c:v>
                </c:pt>
                <c:pt idx="13">
                  <c:v>45088</c:v>
                </c:pt>
                <c:pt idx="14">
                  <c:v>45144</c:v>
                </c:pt>
                <c:pt idx="15">
                  <c:v>45207</c:v>
                </c:pt>
                <c:pt idx="16">
                  <c:v>45277</c:v>
                </c:pt>
                <c:pt idx="17">
                  <c:v>45284</c:v>
                </c:pt>
                <c:pt idx="18">
                  <c:v>45291</c:v>
                </c:pt>
                <c:pt idx="19">
                  <c:v>45298</c:v>
                </c:pt>
                <c:pt idx="20">
                  <c:v>45305</c:v>
                </c:pt>
                <c:pt idx="21">
                  <c:v>45312</c:v>
                </c:pt>
                <c:pt idx="22">
                  <c:v>45319</c:v>
                </c:pt>
                <c:pt idx="23">
                  <c:v>45326</c:v>
                </c:pt>
                <c:pt idx="24">
                  <c:v>45333</c:v>
                </c:pt>
                <c:pt idx="25">
                  <c:v>45340</c:v>
                </c:pt>
                <c:pt idx="26">
                  <c:v>45347</c:v>
                </c:pt>
                <c:pt idx="27">
                  <c:v>45354</c:v>
                </c:pt>
                <c:pt idx="28">
                  <c:v>45375</c:v>
                </c:pt>
                <c:pt idx="29">
                  <c:v>45382</c:v>
                </c:pt>
                <c:pt idx="30">
                  <c:v>45389</c:v>
                </c:pt>
                <c:pt idx="31">
                  <c:v>45396</c:v>
                </c:pt>
                <c:pt idx="32">
                  <c:v>45403</c:v>
                </c:pt>
                <c:pt idx="33">
                  <c:v>45410</c:v>
                </c:pt>
                <c:pt idx="34">
                  <c:v>45417</c:v>
                </c:pt>
                <c:pt idx="35">
                  <c:v>45424</c:v>
                </c:pt>
                <c:pt idx="36">
                  <c:v>45431</c:v>
                </c:pt>
                <c:pt idx="37">
                  <c:v>45438</c:v>
                </c:pt>
                <c:pt idx="38">
                  <c:v>45445</c:v>
                </c:pt>
                <c:pt idx="39">
                  <c:v>45452</c:v>
                </c:pt>
                <c:pt idx="40">
                  <c:v>45459</c:v>
                </c:pt>
                <c:pt idx="41">
                  <c:v>45466</c:v>
                </c:pt>
              </c:numCache>
            </c:numRef>
          </c:cat>
          <c:val>
            <c:numRef>
              <c:f>Sheet1!$B$2:$B$43</c:f>
              <c:numCache>
                <c:formatCode>General</c:formatCode>
                <c:ptCount val="42"/>
                <c:pt idx="0">
                  <c:v>7148</c:v>
                </c:pt>
                <c:pt idx="1">
                  <c:v>9663</c:v>
                </c:pt>
                <c:pt idx="2">
                  <c:v>6992</c:v>
                </c:pt>
                <c:pt idx="3">
                  <c:v>2878</c:v>
                </c:pt>
                <c:pt idx="4">
                  <c:v>2476</c:v>
                </c:pt>
                <c:pt idx="5">
                  <c:v>1123</c:v>
                </c:pt>
                <c:pt idx="6">
                  <c:v>1062</c:v>
                </c:pt>
                <c:pt idx="7">
                  <c:v>1267</c:v>
                </c:pt>
                <c:pt idx="8">
                  <c:v>1097</c:v>
                </c:pt>
                <c:pt idx="9">
                  <c:v>945</c:v>
                </c:pt>
                <c:pt idx="10">
                  <c:v>3036</c:v>
                </c:pt>
                <c:pt idx="11">
                  <c:v>2641</c:v>
                </c:pt>
                <c:pt idx="12">
                  <c:v>9418</c:v>
                </c:pt>
                <c:pt idx="13">
                  <c:v>604</c:v>
                </c:pt>
                <c:pt idx="14">
                  <c:v>6451</c:v>
                </c:pt>
                <c:pt idx="15">
                  <c:v>18524</c:v>
                </c:pt>
                <c:pt idx="16">
                  <c:v>5879</c:v>
                </c:pt>
                <c:pt idx="17">
                  <c:v>9718</c:v>
                </c:pt>
                <c:pt idx="18">
                  <c:v>5487</c:v>
                </c:pt>
                <c:pt idx="19">
                  <c:v>25354</c:v>
                </c:pt>
                <c:pt idx="20">
                  <c:v>53287</c:v>
                </c:pt>
                <c:pt idx="21">
                  <c:v>53470</c:v>
                </c:pt>
                <c:pt idx="22">
                  <c:v>57988</c:v>
                </c:pt>
                <c:pt idx="23">
                  <c:v>58672</c:v>
                </c:pt>
                <c:pt idx="24">
                  <c:v>64260</c:v>
                </c:pt>
                <c:pt idx="25">
                  <c:v>53172</c:v>
                </c:pt>
                <c:pt idx="26">
                  <c:v>23706</c:v>
                </c:pt>
                <c:pt idx="27">
                  <c:v>2874</c:v>
                </c:pt>
                <c:pt idx="28">
                  <c:v>1734</c:v>
                </c:pt>
                <c:pt idx="29">
                  <c:v>1858</c:v>
                </c:pt>
                <c:pt idx="30">
                  <c:v>21370</c:v>
                </c:pt>
                <c:pt idx="31">
                  <c:v>34551</c:v>
                </c:pt>
                <c:pt idx="32">
                  <c:v>35288</c:v>
                </c:pt>
                <c:pt idx="33">
                  <c:v>34168</c:v>
                </c:pt>
                <c:pt idx="34">
                  <c:v>38784</c:v>
                </c:pt>
                <c:pt idx="35">
                  <c:v>52029</c:v>
                </c:pt>
                <c:pt idx="36">
                  <c:v>60068</c:v>
                </c:pt>
                <c:pt idx="37">
                  <c:v>62321</c:v>
                </c:pt>
                <c:pt idx="38">
                  <c:v>59826</c:v>
                </c:pt>
                <c:pt idx="39">
                  <c:v>62224</c:v>
                </c:pt>
                <c:pt idx="40">
                  <c:v>66601</c:v>
                </c:pt>
                <c:pt idx="41">
                  <c:v>37911</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43</c:f>
              <c:numCache>
                <c:formatCode>yyyy\-mm\-dd</c:formatCode>
                <c:ptCount val="42"/>
                <c:pt idx="0">
                  <c:v>44934</c:v>
                </c:pt>
                <c:pt idx="1">
                  <c:v>44941</c:v>
                </c:pt>
                <c:pt idx="2">
                  <c:v>44948</c:v>
                </c:pt>
                <c:pt idx="3">
                  <c:v>44955</c:v>
                </c:pt>
                <c:pt idx="4">
                  <c:v>44962</c:v>
                </c:pt>
                <c:pt idx="5">
                  <c:v>44969</c:v>
                </c:pt>
                <c:pt idx="6">
                  <c:v>44976</c:v>
                </c:pt>
                <c:pt idx="7">
                  <c:v>44983</c:v>
                </c:pt>
                <c:pt idx="8">
                  <c:v>44990</c:v>
                </c:pt>
                <c:pt idx="9">
                  <c:v>44997</c:v>
                </c:pt>
                <c:pt idx="10">
                  <c:v>45011</c:v>
                </c:pt>
                <c:pt idx="11">
                  <c:v>45018</c:v>
                </c:pt>
                <c:pt idx="12">
                  <c:v>45081</c:v>
                </c:pt>
                <c:pt idx="13">
                  <c:v>45088</c:v>
                </c:pt>
                <c:pt idx="14">
                  <c:v>45144</c:v>
                </c:pt>
                <c:pt idx="15">
                  <c:v>45207</c:v>
                </c:pt>
                <c:pt idx="16">
                  <c:v>45277</c:v>
                </c:pt>
                <c:pt idx="17">
                  <c:v>45284</c:v>
                </c:pt>
                <c:pt idx="18">
                  <c:v>45291</c:v>
                </c:pt>
                <c:pt idx="19">
                  <c:v>45298</c:v>
                </c:pt>
                <c:pt idx="20">
                  <c:v>45305</c:v>
                </c:pt>
                <c:pt idx="21">
                  <c:v>45312</c:v>
                </c:pt>
                <c:pt idx="22">
                  <c:v>45319</c:v>
                </c:pt>
                <c:pt idx="23">
                  <c:v>45326</c:v>
                </c:pt>
                <c:pt idx="24">
                  <c:v>45333</c:v>
                </c:pt>
                <c:pt idx="25">
                  <c:v>45340</c:v>
                </c:pt>
                <c:pt idx="26">
                  <c:v>45347</c:v>
                </c:pt>
                <c:pt idx="27">
                  <c:v>45354</c:v>
                </c:pt>
                <c:pt idx="28">
                  <c:v>45375</c:v>
                </c:pt>
                <c:pt idx="29">
                  <c:v>45382</c:v>
                </c:pt>
                <c:pt idx="30">
                  <c:v>45389</c:v>
                </c:pt>
                <c:pt idx="31">
                  <c:v>45396</c:v>
                </c:pt>
                <c:pt idx="32">
                  <c:v>45403</c:v>
                </c:pt>
                <c:pt idx="33">
                  <c:v>45410</c:v>
                </c:pt>
                <c:pt idx="34">
                  <c:v>45417</c:v>
                </c:pt>
                <c:pt idx="35">
                  <c:v>45424</c:v>
                </c:pt>
                <c:pt idx="36">
                  <c:v>45431</c:v>
                </c:pt>
                <c:pt idx="37">
                  <c:v>45438</c:v>
                </c:pt>
                <c:pt idx="38">
                  <c:v>45445</c:v>
                </c:pt>
                <c:pt idx="39">
                  <c:v>45452</c:v>
                </c:pt>
                <c:pt idx="40">
                  <c:v>45459</c:v>
                </c:pt>
                <c:pt idx="41">
                  <c:v>45466</c:v>
                </c:pt>
              </c:numCache>
            </c:numRef>
          </c:cat>
          <c:val>
            <c:numRef>
              <c:f>Sheet1!$C$2:$C$43</c:f>
              <c:numCache>
                <c:formatCode>General</c:formatCode>
                <c:ptCount val="42"/>
                <c:pt idx="0">
                  <c:v>429356</c:v>
                </c:pt>
                <c:pt idx="1">
                  <c:v>423274</c:v>
                </c:pt>
                <c:pt idx="2">
                  <c:v>419448</c:v>
                </c:pt>
                <c:pt idx="3">
                  <c:v>411013</c:v>
                </c:pt>
                <c:pt idx="4">
                  <c:v>431352</c:v>
                </c:pt>
                <c:pt idx="5">
                  <c:v>433546</c:v>
                </c:pt>
                <c:pt idx="6">
                  <c:v>424858</c:v>
                </c:pt>
                <c:pt idx="7">
                  <c:v>457088</c:v>
                </c:pt>
                <c:pt idx="8">
                  <c:v>477073</c:v>
                </c:pt>
                <c:pt idx="9">
                  <c:v>464747</c:v>
                </c:pt>
                <c:pt idx="10">
                  <c:v>443371</c:v>
                </c:pt>
                <c:pt idx="11">
                  <c:v>442136</c:v>
                </c:pt>
                <c:pt idx="12">
                  <c:v>499516</c:v>
                </c:pt>
                <c:pt idx="13">
                  <c:v>529847</c:v>
                </c:pt>
                <c:pt idx="14">
                  <c:v>542652</c:v>
                </c:pt>
                <c:pt idx="15">
                  <c:v>467944</c:v>
                </c:pt>
                <c:pt idx="16">
                  <c:v>450034</c:v>
                </c:pt>
                <c:pt idx="17">
                  <c:v>496034</c:v>
                </c:pt>
                <c:pt idx="18">
                  <c:v>401453</c:v>
                </c:pt>
                <c:pt idx="19">
                  <c:v>424704</c:v>
                </c:pt>
                <c:pt idx="20">
                  <c:v>374379</c:v>
                </c:pt>
                <c:pt idx="21">
                  <c:v>365148</c:v>
                </c:pt>
                <c:pt idx="22">
                  <c:v>390629</c:v>
                </c:pt>
                <c:pt idx="23">
                  <c:v>413006</c:v>
                </c:pt>
                <c:pt idx="24">
                  <c:v>399853</c:v>
                </c:pt>
                <c:pt idx="25">
                  <c:v>402305</c:v>
                </c:pt>
                <c:pt idx="26">
                  <c:v>463879</c:v>
                </c:pt>
                <c:pt idx="27">
                  <c:v>492657</c:v>
                </c:pt>
                <c:pt idx="28">
                  <c:v>470745</c:v>
                </c:pt>
                <c:pt idx="29">
                  <c:v>485661</c:v>
                </c:pt>
                <c:pt idx="30">
                  <c:v>492088</c:v>
                </c:pt>
                <c:pt idx="31">
                  <c:v>436855</c:v>
                </c:pt>
                <c:pt idx="32">
                  <c:v>406849</c:v>
                </c:pt>
                <c:pt idx="33">
                  <c:v>356468</c:v>
                </c:pt>
                <c:pt idx="34">
                  <c:v>388942</c:v>
                </c:pt>
                <c:pt idx="35">
                  <c:v>432077</c:v>
                </c:pt>
                <c:pt idx="36">
                  <c:v>435282</c:v>
                </c:pt>
                <c:pt idx="37">
                  <c:v>463313</c:v>
                </c:pt>
                <c:pt idx="38">
                  <c:v>463628</c:v>
                </c:pt>
                <c:pt idx="39">
                  <c:v>516137</c:v>
                </c:pt>
                <c:pt idx="40">
                  <c:v>475229</c:v>
                </c:pt>
                <c:pt idx="41">
                  <c:v>506653</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43</c:f>
              <c:numCache>
                <c:formatCode>yyyy\-mm\-dd</c:formatCode>
                <c:ptCount val="42"/>
                <c:pt idx="0">
                  <c:v>44934</c:v>
                </c:pt>
                <c:pt idx="1">
                  <c:v>44941</c:v>
                </c:pt>
                <c:pt idx="2">
                  <c:v>44948</c:v>
                </c:pt>
                <c:pt idx="3">
                  <c:v>44955</c:v>
                </c:pt>
                <c:pt idx="4">
                  <c:v>44962</c:v>
                </c:pt>
                <c:pt idx="5">
                  <c:v>44969</c:v>
                </c:pt>
                <c:pt idx="6">
                  <c:v>44976</c:v>
                </c:pt>
                <c:pt idx="7">
                  <c:v>44983</c:v>
                </c:pt>
                <c:pt idx="8">
                  <c:v>44990</c:v>
                </c:pt>
                <c:pt idx="9">
                  <c:v>44997</c:v>
                </c:pt>
                <c:pt idx="10">
                  <c:v>45011</c:v>
                </c:pt>
                <c:pt idx="11">
                  <c:v>45018</c:v>
                </c:pt>
                <c:pt idx="12">
                  <c:v>45081</c:v>
                </c:pt>
                <c:pt idx="13">
                  <c:v>45088</c:v>
                </c:pt>
                <c:pt idx="14">
                  <c:v>45144</c:v>
                </c:pt>
                <c:pt idx="15">
                  <c:v>45207</c:v>
                </c:pt>
                <c:pt idx="16">
                  <c:v>45277</c:v>
                </c:pt>
                <c:pt idx="17">
                  <c:v>45284</c:v>
                </c:pt>
                <c:pt idx="18">
                  <c:v>45291</c:v>
                </c:pt>
                <c:pt idx="19">
                  <c:v>45298</c:v>
                </c:pt>
                <c:pt idx="20">
                  <c:v>45305</c:v>
                </c:pt>
                <c:pt idx="21">
                  <c:v>45312</c:v>
                </c:pt>
                <c:pt idx="22">
                  <c:v>45319</c:v>
                </c:pt>
                <c:pt idx="23">
                  <c:v>45326</c:v>
                </c:pt>
                <c:pt idx="24">
                  <c:v>45333</c:v>
                </c:pt>
                <c:pt idx="25">
                  <c:v>45340</c:v>
                </c:pt>
                <c:pt idx="26">
                  <c:v>45347</c:v>
                </c:pt>
                <c:pt idx="27">
                  <c:v>45354</c:v>
                </c:pt>
                <c:pt idx="28">
                  <c:v>45375</c:v>
                </c:pt>
                <c:pt idx="29">
                  <c:v>45382</c:v>
                </c:pt>
                <c:pt idx="30">
                  <c:v>45389</c:v>
                </c:pt>
                <c:pt idx="31">
                  <c:v>45396</c:v>
                </c:pt>
                <c:pt idx="32">
                  <c:v>45403</c:v>
                </c:pt>
                <c:pt idx="33">
                  <c:v>45410</c:v>
                </c:pt>
                <c:pt idx="34">
                  <c:v>45417</c:v>
                </c:pt>
                <c:pt idx="35">
                  <c:v>45424</c:v>
                </c:pt>
                <c:pt idx="36">
                  <c:v>45431</c:v>
                </c:pt>
                <c:pt idx="37">
                  <c:v>45438</c:v>
                </c:pt>
                <c:pt idx="38">
                  <c:v>45445</c:v>
                </c:pt>
                <c:pt idx="39">
                  <c:v>45452</c:v>
                </c:pt>
                <c:pt idx="40">
                  <c:v>45459</c:v>
                </c:pt>
                <c:pt idx="41">
                  <c:v>45466</c:v>
                </c:pt>
              </c:numCache>
            </c:numRef>
          </c:cat>
          <c:val>
            <c:numRef>
              <c:f>Sheet1!$D$2:$D$43</c:f>
              <c:numCache>
                <c:formatCode>General</c:formatCode>
                <c:ptCount val="42"/>
                <c:pt idx="0">
                  <c:v>436504</c:v>
                </c:pt>
                <c:pt idx="1">
                  <c:v>432937</c:v>
                </c:pt>
                <c:pt idx="2">
                  <c:v>426440</c:v>
                </c:pt>
                <c:pt idx="3">
                  <c:v>413891</c:v>
                </c:pt>
                <c:pt idx="4">
                  <c:v>433828</c:v>
                </c:pt>
                <c:pt idx="5">
                  <c:v>434669</c:v>
                </c:pt>
                <c:pt idx="6">
                  <c:v>425920</c:v>
                </c:pt>
                <c:pt idx="7">
                  <c:v>458355</c:v>
                </c:pt>
                <c:pt idx="8">
                  <c:v>478170</c:v>
                </c:pt>
                <c:pt idx="9">
                  <c:v>465692</c:v>
                </c:pt>
                <c:pt idx="10">
                  <c:v>446407</c:v>
                </c:pt>
                <c:pt idx="11">
                  <c:v>444777</c:v>
                </c:pt>
                <c:pt idx="12">
                  <c:v>508934</c:v>
                </c:pt>
                <c:pt idx="13">
                  <c:v>530451</c:v>
                </c:pt>
                <c:pt idx="14">
                  <c:v>549103</c:v>
                </c:pt>
                <c:pt idx="15">
                  <c:v>486468</c:v>
                </c:pt>
                <c:pt idx="16">
                  <c:v>455913</c:v>
                </c:pt>
                <c:pt idx="17">
                  <c:v>505752</c:v>
                </c:pt>
                <c:pt idx="18">
                  <c:v>406940</c:v>
                </c:pt>
                <c:pt idx="19">
                  <c:v>450058</c:v>
                </c:pt>
                <c:pt idx="20">
                  <c:v>427666</c:v>
                </c:pt>
                <c:pt idx="21">
                  <c:v>418618</c:v>
                </c:pt>
                <c:pt idx="22">
                  <c:v>448617</c:v>
                </c:pt>
                <c:pt idx="23">
                  <c:v>471678</c:v>
                </c:pt>
                <c:pt idx="24">
                  <c:v>464113</c:v>
                </c:pt>
                <c:pt idx="25">
                  <c:v>455477</c:v>
                </c:pt>
                <c:pt idx="26">
                  <c:v>487585</c:v>
                </c:pt>
                <c:pt idx="27">
                  <c:v>495531</c:v>
                </c:pt>
                <c:pt idx="28">
                  <c:v>472479</c:v>
                </c:pt>
                <c:pt idx="29">
                  <c:v>487519</c:v>
                </c:pt>
                <c:pt idx="30">
                  <c:v>513458</c:v>
                </c:pt>
                <c:pt idx="31">
                  <c:v>471406</c:v>
                </c:pt>
                <c:pt idx="32">
                  <c:v>442137</c:v>
                </c:pt>
                <c:pt idx="33">
                  <c:v>390636</c:v>
                </c:pt>
                <c:pt idx="34">
                  <c:v>427726</c:v>
                </c:pt>
                <c:pt idx="35">
                  <c:v>484106</c:v>
                </c:pt>
                <c:pt idx="36">
                  <c:v>495350</c:v>
                </c:pt>
                <c:pt idx="37">
                  <c:v>525634</c:v>
                </c:pt>
                <c:pt idx="38">
                  <c:v>523454</c:v>
                </c:pt>
                <c:pt idx="39">
                  <c:v>578361</c:v>
                </c:pt>
                <c:pt idx="40">
                  <c:v>541830</c:v>
                </c:pt>
                <c:pt idx="41">
                  <c:v>544564</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43</c:f>
              <c:numCache>
                <c:formatCode>yyyy\-mm\-dd</c:formatCode>
                <c:ptCount val="42"/>
                <c:pt idx="0">
                  <c:v>44934</c:v>
                </c:pt>
                <c:pt idx="1">
                  <c:v>44941</c:v>
                </c:pt>
                <c:pt idx="2">
                  <c:v>44948</c:v>
                </c:pt>
                <c:pt idx="3">
                  <c:v>44955</c:v>
                </c:pt>
                <c:pt idx="4">
                  <c:v>44962</c:v>
                </c:pt>
                <c:pt idx="5">
                  <c:v>44969</c:v>
                </c:pt>
                <c:pt idx="6">
                  <c:v>44976</c:v>
                </c:pt>
                <c:pt idx="7">
                  <c:v>44983</c:v>
                </c:pt>
                <c:pt idx="8">
                  <c:v>44990</c:v>
                </c:pt>
                <c:pt idx="9">
                  <c:v>44997</c:v>
                </c:pt>
                <c:pt idx="10">
                  <c:v>45011</c:v>
                </c:pt>
                <c:pt idx="11">
                  <c:v>45018</c:v>
                </c:pt>
                <c:pt idx="12">
                  <c:v>45081</c:v>
                </c:pt>
                <c:pt idx="13">
                  <c:v>45088</c:v>
                </c:pt>
                <c:pt idx="14">
                  <c:v>45144</c:v>
                </c:pt>
                <c:pt idx="15">
                  <c:v>45207</c:v>
                </c:pt>
                <c:pt idx="16">
                  <c:v>45277</c:v>
                </c:pt>
                <c:pt idx="17">
                  <c:v>45284</c:v>
                </c:pt>
                <c:pt idx="18">
                  <c:v>45291</c:v>
                </c:pt>
                <c:pt idx="19">
                  <c:v>45298</c:v>
                </c:pt>
                <c:pt idx="20">
                  <c:v>45305</c:v>
                </c:pt>
                <c:pt idx="21">
                  <c:v>45312</c:v>
                </c:pt>
                <c:pt idx="22">
                  <c:v>45319</c:v>
                </c:pt>
                <c:pt idx="23">
                  <c:v>45326</c:v>
                </c:pt>
                <c:pt idx="24">
                  <c:v>45333</c:v>
                </c:pt>
                <c:pt idx="25">
                  <c:v>45340</c:v>
                </c:pt>
                <c:pt idx="26">
                  <c:v>45347</c:v>
                </c:pt>
                <c:pt idx="27">
                  <c:v>45354</c:v>
                </c:pt>
                <c:pt idx="28">
                  <c:v>45375</c:v>
                </c:pt>
                <c:pt idx="29">
                  <c:v>45382</c:v>
                </c:pt>
                <c:pt idx="30">
                  <c:v>45389</c:v>
                </c:pt>
                <c:pt idx="31">
                  <c:v>45396</c:v>
                </c:pt>
                <c:pt idx="32">
                  <c:v>45403</c:v>
                </c:pt>
                <c:pt idx="33">
                  <c:v>45410</c:v>
                </c:pt>
                <c:pt idx="34">
                  <c:v>45417</c:v>
                </c:pt>
                <c:pt idx="35">
                  <c:v>45424</c:v>
                </c:pt>
                <c:pt idx="36">
                  <c:v>45431</c:v>
                </c:pt>
                <c:pt idx="37">
                  <c:v>45438</c:v>
                </c:pt>
                <c:pt idx="38">
                  <c:v>45445</c:v>
                </c:pt>
                <c:pt idx="39">
                  <c:v>45452</c:v>
                </c:pt>
                <c:pt idx="40">
                  <c:v>45459</c:v>
                </c:pt>
                <c:pt idx="41">
                  <c:v>45466</c:v>
                </c:pt>
              </c:numCache>
            </c:numRef>
          </c:cat>
          <c:val>
            <c:numRef>
              <c:f>Sheet1!$E$2:$E$43</c:f>
              <c:numCache>
                <c:formatCode>General</c:formatCode>
                <c:ptCount val="42"/>
                <c:pt idx="0">
                  <c:v>420774</c:v>
                </c:pt>
                <c:pt idx="1">
                  <c:v>422903</c:v>
                </c:pt>
                <c:pt idx="2">
                  <c:v>423539</c:v>
                </c:pt>
                <c:pt idx="3">
                  <c:v>423169</c:v>
                </c:pt>
                <c:pt idx="4">
                  <c:v>427292</c:v>
                </c:pt>
                <c:pt idx="5">
                  <c:v>434788</c:v>
                </c:pt>
                <c:pt idx="6">
                  <c:v>440633</c:v>
                </c:pt>
                <c:pt idx="7">
                  <c:v>444301</c:v>
                </c:pt>
                <c:pt idx="8">
                  <c:v>448781</c:v>
                </c:pt>
                <c:pt idx="9">
                  <c:v>450223</c:v>
                </c:pt>
                <c:pt idx="10">
                  <c:v>458859</c:v>
                </c:pt>
                <c:pt idx="11">
                  <c:v>459656</c:v>
                </c:pt>
                <c:pt idx="12">
                  <c:v>492311</c:v>
                </c:pt>
                <c:pt idx="13">
                  <c:v>493514</c:v>
                </c:pt>
                <c:pt idx="14">
                  <c:v>518383</c:v>
                </c:pt>
                <c:pt idx="15">
                  <c:v>469858</c:v>
                </c:pt>
                <c:pt idx="16">
                  <c:v>447967</c:v>
                </c:pt>
                <c:pt idx="17">
                  <c:v>449205</c:v>
                </c:pt>
                <c:pt idx="18">
                  <c:v>452244</c:v>
                </c:pt>
                <c:pt idx="19">
                  <c:v>453977</c:v>
                </c:pt>
                <c:pt idx="20">
                  <c:v>454111</c:v>
                </c:pt>
                <c:pt idx="21">
                  <c:v>456754</c:v>
                </c:pt>
                <c:pt idx="22">
                  <c:v>452672</c:v>
                </c:pt>
                <c:pt idx="23">
                  <c:v>464537</c:v>
                </c:pt>
                <c:pt idx="24">
                  <c:v>471635</c:v>
                </c:pt>
                <c:pt idx="25">
                  <c:v>476922</c:v>
                </c:pt>
                <c:pt idx="26">
                  <c:v>483823</c:v>
                </c:pt>
                <c:pt idx="27">
                  <c:v>486772</c:v>
                </c:pt>
                <c:pt idx="28">
                  <c:v>490382</c:v>
                </c:pt>
                <c:pt idx="29">
                  <c:v>478635</c:v>
                </c:pt>
                <c:pt idx="30">
                  <c:v>465252</c:v>
                </c:pt>
                <c:pt idx="31">
                  <c:v>457222</c:v>
                </c:pt>
                <c:pt idx="32">
                  <c:v>457583</c:v>
                </c:pt>
                <c:pt idx="33">
                  <c:v>460068</c:v>
                </c:pt>
                <c:pt idx="34">
                  <c:v>464301</c:v>
                </c:pt>
                <c:pt idx="35">
                  <c:v>465522</c:v>
                </c:pt>
                <c:pt idx="36">
                  <c:v>478095</c:v>
                </c:pt>
                <c:pt idx="37">
                  <c:v>490243</c:v>
                </c:pt>
                <c:pt idx="38">
                  <c:v>509997</c:v>
                </c:pt>
                <c:pt idx="39">
                  <c:v>534380</c:v>
                </c:pt>
                <c:pt idx="40">
                  <c:v>548664</c:v>
                </c:pt>
                <c:pt idx="41">
                  <c:v>551888</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43</c:f>
              <c:numCache>
                <c:formatCode>yyyy\-mm\-dd</c:formatCode>
                <c:ptCount val="42"/>
                <c:pt idx="0">
                  <c:v>44934</c:v>
                </c:pt>
                <c:pt idx="1">
                  <c:v>44941</c:v>
                </c:pt>
                <c:pt idx="2">
                  <c:v>44948</c:v>
                </c:pt>
                <c:pt idx="3">
                  <c:v>44955</c:v>
                </c:pt>
                <c:pt idx="4">
                  <c:v>44962</c:v>
                </c:pt>
                <c:pt idx="5">
                  <c:v>44969</c:v>
                </c:pt>
                <c:pt idx="6">
                  <c:v>44976</c:v>
                </c:pt>
                <c:pt idx="7">
                  <c:v>44983</c:v>
                </c:pt>
                <c:pt idx="8">
                  <c:v>44990</c:v>
                </c:pt>
                <c:pt idx="9">
                  <c:v>44997</c:v>
                </c:pt>
                <c:pt idx="10">
                  <c:v>45011</c:v>
                </c:pt>
                <c:pt idx="11">
                  <c:v>45018</c:v>
                </c:pt>
                <c:pt idx="12">
                  <c:v>45081</c:v>
                </c:pt>
                <c:pt idx="13">
                  <c:v>45088</c:v>
                </c:pt>
                <c:pt idx="14">
                  <c:v>45144</c:v>
                </c:pt>
                <c:pt idx="15">
                  <c:v>45207</c:v>
                </c:pt>
                <c:pt idx="16">
                  <c:v>45277</c:v>
                </c:pt>
                <c:pt idx="17">
                  <c:v>45284</c:v>
                </c:pt>
                <c:pt idx="18">
                  <c:v>45291</c:v>
                </c:pt>
                <c:pt idx="19">
                  <c:v>45298</c:v>
                </c:pt>
                <c:pt idx="20">
                  <c:v>45305</c:v>
                </c:pt>
                <c:pt idx="21">
                  <c:v>45312</c:v>
                </c:pt>
                <c:pt idx="22">
                  <c:v>45319</c:v>
                </c:pt>
                <c:pt idx="23">
                  <c:v>45326</c:v>
                </c:pt>
                <c:pt idx="24">
                  <c:v>45333</c:v>
                </c:pt>
                <c:pt idx="25">
                  <c:v>45340</c:v>
                </c:pt>
                <c:pt idx="26">
                  <c:v>45347</c:v>
                </c:pt>
                <c:pt idx="27">
                  <c:v>45354</c:v>
                </c:pt>
                <c:pt idx="28">
                  <c:v>45375</c:v>
                </c:pt>
                <c:pt idx="29">
                  <c:v>45382</c:v>
                </c:pt>
                <c:pt idx="30">
                  <c:v>45389</c:v>
                </c:pt>
                <c:pt idx="31">
                  <c:v>45396</c:v>
                </c:pt>
                <c:pt idx="32">
                  <c:v>45403</c:v>
                </c:pt>
                <c:pt idx="33">
                  <c:v>45410</c:v>
                </c:pt>
                <c:pt idx="34">
                  <c:v>45417</c:v>
                </c:pt>
                <c:pt idx="35">
                  <c:v>45424</c:v>
                </c:pt>
                <c:pt idx="36">
                  <c:v>45431</c:v>
                </c:pt>
                <c:pt idx="37">
                  <c:v>45438</c:v>
                </c:pt>
                <c:pt idx="38">
                  <c:v>45445</c:v>
                </c:pt>
                <c:pt idx="39">
                  <c:v>45452</c:v>
                </c:pt>
                <c:pt idx="40">
                  <c:v>45459</c:v>
                </c:pt>
                <c:pt idx="41">
                  <c:v>45466</c:v>
                </c:pt>
              </c:numCache>
            </c:numRef>
          </c:cat>
          <c:val>
            <c:numRef>
              <c:f>Sheet1!$F$2:$F$43</c:f>
              <c:numCache>
                <c:formatCode>General</c:formatCode>
                <c:ptCount val="42"/>
                <c:pt idx="0">
                  <c:v>0.02</c:v>
                </c:pt>
                <c:pt idx="1">
                  <c:v>0.02</c:v>
                </c:pt>
                <c:pt idx="2">
                  <c:v>0.01</c:v>
                </c:pt>
                <c:pt idx="3">
                  <c:v>0.01</c:v>
                </c:pt>
                <c:pt idx="4">
                  <c:v>0</c:v>
                </c:pt>
                <c:pt idx="5">
                  <c:v>0</c:v>
                </c:pt>
                <c:pt idx="6">
                  <c:v>0</c:v>
                </c:pt>
                <c:pt idx="7">
                  <c:v>0</c:v>
                </c:pt>
                <c:pt idx="8">
                  <c:v>0</c:v>
                </c:pt>
                <c:pt idx="9">
                  <c:v>0</c:v>
                </c:pt>
                <c:pt idx="10">
                  <c:v>0</c:v>
                </c:pt>
                <c:pt idx="11">
                  <c:v>0</c:v>
                </c:pt>
                <c:pt idx="12">
                  <c:v>0.01</c:v>
                </c:pt>
                <c:pt idx="13">
                  <c:v>0</c:v>
                </c:pt>
                <c:pt idx="14">
                  <c:v>0.01</c:v>
                </c:pt>
                <c:pt idx="15">
                  <c:v>0.01</c:v>
                </c:pt>
                <c:pt idx="16">
                  <c:v>0.01</c:v>
                </c:pt>
                <c:pt idx="17">
                  <c:v>0.01</c:v>
                </c:pt>
                <c:pt idx="18">
                  <c:v>0.01</c:v>
                </c:pt>
                <c:pt idx="19">
                  <c:v>0.02</c:v>
                </c:pt>
                <c:pt idx="20">
                  <c:v>0.05</c:v>
                </c:pt>
                <c:pt idx="21">
                  <c:v>0.04</c:v>
                </c:pt>
                <c:pt idx="22">
                  <c:v>0.04</c:v>
                </c:pt>
                <c:pt idx="23">
                  <c:v>0.04</c:v>
                </c:pt>
                <c:pt idx="24">
                  <c:v>0.05</c:v>
                </c:pt>
                <c:pt idx="25">
                  <c:v>0.05</c:v>
                </c:pt>
                <c:pt idx="26">
                  <c:v>0.03</c:v>
                </c:pt>
                <c:pt idx="27">
                  <c:v>0.01</c:v>
                </c:pt>
                <c:pt idx="28">
                  <c:v>0.01</c:v>
                </c:pt>
                <c:pt idx="29">
                  <c:v>0.01</c:v>
                </c:pt>
                <c:pt idx="30">
                  <c:v>0.11</c:v>
                </c:pt>
                <c:pt idx="31">
                  <c:v>0.19</c:v>
                </c:pt>
                <c:pt idx="32">
                  <c:v>0.2</c:v>
                </c:pt>
                <c:pt idx="33">
                  <c:v>0.2</c:v>
                </c:pt>
                <c:pt idx="34">
                  <c:v>0.21</c:v>
                </c:pt>
                <c:pt idx="35">
                  <c:v>0.21</c:v>
                </c:pt>
                <c:pt idx="36">
                  <c:v>0.21</c:v>
                </c:pt>
                <c:pt idx="37">
                  <c:v>0.21</c:v>
                </c:pt>
                <c:pt idx="38">
                  <c:v>0.21</c:v>
                </c:pt>
                <c:pt idx="39">
                  <c:v>0.21</c:v>
                </c:pt>
                <c:pt idx="40">
                  <c:v>0.21</c:v>
                </c:pt>
                <c:pt idx="41">
                  <c:v>0.18</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18</c:f>
              <c:numCache>
                <c:formatCode>yyyy\-mm\-dd</c:formatCode>
                <c:ptCount val="17"/>
                <c:pt idx="0">
                  <c:v>45235</c:v>
                </c:pt>
                <c:pt idx="1">
                  <c:v>45242</c:v>
                </c:pt>
                <c:pt idx="2">
                  <c:v>45249</c:v>
                </c:pt>
                <c:pt idx="3">
                  <c:v>45256</c:v>
                </c:pt>
                <c:pt idx="4">
                  <c:v>45270</c:v>
                </c:pt>
                <c:pt idx="5">
                  <c:v>45277</c:v>
                </c:pt>
                <c:pt idx="6">
                  <c:v>45284</c:v>
                </c:pt>
                <c:pt idx="7">
                  <c:v>45291</c:v>
                </c:pt>
                <c:pt idx="8">
                  <c:v>45298</c:v>
                </c:pt>
                <c:pt idx="9">
                  <c:v>45305</c:v>
                </c:pt>
                <c:pt idx="10">
                  <c:v>45312</c:v>
                </c:pt>
                <c:pt idx="11">
                  <c:v>45319</c:v>
                </c:pt>
                <c:pt idx="12">
                  <c:v>45326</c:v>
                </c:pt>
                <c:pt idx="13">
                  <c:v>45333</c:v>
                </c:pt>
                <c:pt idx="14">
                  <c:v>45340</c:v>
                </c:pt>
                <c:pt idx="15">
                  <c:v>45347</c:v>
                </c:pt>
                <c:pt idx="16">
                  <c:v>45354</c:v>
                </c:pt>
              </c:numCache>
            </c:numRef>
          </c:cat>
          <c:val>
            <c:numRef>
              <c:f>Sheet1!$B$2:$B$18</c:f>
              <c:numCache>
                <c:formatCode>General</c:formatCode>
                <c:ptCount val="17"/>
                <c:pt idx="0">
                  <c:v>13572</c:v>
                </c:pt>
                <c:pt idx="1">
                  <c:v>19654</c:v>
                </c:pt>
                <c:pt idx="2">
                  <c:v>20606</c:v>
                </c:pt>
                <c:pt idx="3">
                  <c:v>23727</c:v>
                </c:pt>
                <c:pt idx="4">
                  <c:v>22758</c:v>
                </c:pt>
                <c:pt idx="5">
                  <c:v>40918</c:v>
                </c:pt>
                <c:pt idx="6">
                  <c:v>123276</c:v>
                </c:pt>
                <c:pt idx="7">
                  <c:v>65933</c:v>
                </c:pt>
                <c:pt idx="8">
                  <c:v>33328</c:v>
                </c:pt>
                <c:pt idx="9">
                  <c:v>71915</c:v>
                </c:pt>
                <c:pt idx="10">
                  <c:v>49178</c:v>
                </c:pt>
                <c:pt idx="11">
                  <c:v>20389</c:v>
                </c:pt>
                <c:pt idx="12">
                  <c:v>5814</c:v>
                </c:pt>
                <c:pt idx="13">
                  <c:v>1961</c:v>
                </c:pt>
                <c:pt idx="14">
                  <c:v>775</c:v>
                </c:pt>
                <c:pt idx="15">
                  <c:v>473</c:v>
                </c:pt>
                <c:pt idx="16">
                  <c:v>350</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18</c:f>
              <c:numCache>
                <c:formatCode>yyyy\-mm\-dd</c:formatCode>
                <c:ptCount val="17"/>
                <c:pt idx="0">
                  <c:v>45235</c:v>
                </c:pt>
                <c:pt idx="1">
                  <c:v>45242</c:v>
                </c:pt>
                <c:pt idx="2">
                  <c:v>45249</c:v>
                </c:pt>
                <c:pt idx="3">
                  <c:v>45256</c:v>
                </c:pt>
                <c:pt idx="4">
                  <c:v>45270</c:v>
                </c:pt>
                <c:pt idx="5">
                  <c:v>45277</c:v>
                </c:pt>
                <c:pt idx="6">
                  <c:v>45284</c:v>
                </c:pt>
                <c:pt idx="7">
                  <c:v>45291</c:v>
                </c:pt>
                <c:pt idx="8">
                  <c:v>45298</c:v>
                </c:pt>
                <c:pt idx="9">
                  <c:v>45305</c:v>
                </c:pt>
                <c:pt idx="10">
                  <c:v>45312</c:v>
                </c:pt>
                <c:pt idx="11">
                  <c:v>45319</c:v>
                </c:pt>
                <c:pt idx="12">
                  <c:v>45326</c:v>
                </c:pt>
                <c:pt idx="13">
                  <c:v>45333</c:v>
                </c:pt>
                <c:pt idx="14">
                  <c:v>45340</c:v>
                </c:pt>
                <c:pt idx="15">
                  <c:v>45347</c:v>
                </c:pt>
                <c:pt idx="16">
                  <c:v>45354</c:v>
                </c:pt>
              </c:numCache>
            </c:numRef>
          </c:cat>
          <c:val>
            <c:numRef>
              <c:f>Sheet1!$C$2:$C$18</c:f>
              <c:numCache>
                <c:formatCode>General</c:formatCode>
                <c:ptCount val="17"/>
                <c:pt idx="0">
                  <c:v>842</c:v>
                </c:pt>
                <c:pt idx="1">
                  <c:v>103</c:v>
                </c:pt>
                <c:pt idx="2">
                  <c:v>40</c:v>
                </c:pt>
                <c:pt idx="3">
                  <c:v>154</c:v>
                </c:pt>
                <c:pt idx="4">
                  <c:v>1499</c:v>
                </c:pt>
                <c:pt idx="5">
                  <c:v>1824</c:v>
                </c:pt>
                <c:pt idx="6">
                  <c:v>0</c:v>
                </c:pt>
                <c:pt idx="7">
                  <c:v>0</c:v>
                </c:pt>
                <c:pt idx="8">
                  <c:v>0</c:v>
                </c:pt>
                <c:pt idx="9">
                  <c:v>0</c:v>
                </c:pt>
                <c:pt idx="10">
                  <c:v>0</c:v>
                </c:pt>
                <c:pt idx="11">
                  <c:v>0</c:v>
                </c:pt>
                <c:pt idx="12">
                  <c:v>0</c:v>
                </c:pt>
                <c:pt idx="13">
                  <c:v>0</c:v>
                </c:pt>
                <c:pt idx="14">
                  <c:v>4</c:v>
                </c:pt>
                <c:pt idx="15">
                  <c:v>31</c:v>
                </c:pt>
                <c:pt idx="16">
                  <c:v>48</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18</c:f>
              <c:numCache>
                <c:formatCode>yyyy\-mm\-dd</c:formatCode>
                <c:ptCount val="17"/>
                <c:pt idx="0">
                  <c:v>45235</c:v>
                </c:pt>
                <c:pt idx="1">
                  <c:v>45242</c:v>
                </c:pt>
                <c:pt idx="2">
                  <c:v>45249</c:v>
                </c:pt>
                <c:pt idx="3">
                  <c:v>45256</c:v>
                </c:pt>
                <c:pt idx="4">
                  <c:v>45270</c:v>
                </c:pt>
                <c:pt idx="5">
                  <c:v>45277</c:v>
                </c:pt>
                <c:pt idx="6">
                  <c:v>45284</c:v>
                </c:pt>
                <c:pt idx="7">
                  <c:v>45291</c:v>
                </c:pt>
                <c:pt idx="8">
                  <c:v>45298</c:v>
                </c:pt>
                <c:pt idx="9">
                  <c:v>45305</c:v>
                </c:pt>
                <c:pt idx="10">
                  <c:v>45312</c:v>
                </c:pt>
                <c:pt idx="11">
                  <c:v>45319</c:v>
                </c:pt>
                <c:pt idx="12">
                  <c:v>45326</c:v>
                </c:pt>
                <c:pt idx="13">
                  <c:v>45333</c:v>
                </c:pt>
                <c:pt idx="14">
                  <c:v>45340</c:v>
                </c:pt>
                <c:pt idx="15">
                  <c:v>45347</c:v>
                </c:pt>
                <c:pt idx="16">
                  <c:v>45354</c:v>
                </c:pt>
              </c:numCache>
            </c:numRef>
          </c:cat>
          <c:val>
            <c:numRef>
              <c:f>Sheet1!$D$2:$D$18</c:f>
              <c:numCache>
                <c:formatCode>General</c:formatCode>
                <c:ptCount val="17"/>
                <c:pt idx="0">
                  <c:v>14414</c:v>
                </c:pt>
                <c:pt idx="1">
                  <c:v>19757</c:v>
                </c:pt>
                <c:pt idx="2">
                  <c:v>20646</c:v>
                </c:pt>
                <c:pt idx="3">
                  <c:v>23881</c:v>
                </c:pt>
                <c:pt idx="4">
                  <c:v>24257</c:v>
                </c:pt>
                <c:pt idx="5">
                  <c:v>42742</c:v>
                </c:pt>
                <c:pt idx="6">
                  <c:v>123276</c:v>
                </c:pt>
                <c:pt idx="7">
                  <c:v>65933</c:v>
                </c:pt>
                <c:pt idx="8">
                  <c:v>33328</c:v>
                </c:pt>
                <c:pt idx="9">
                  <c:v>71915</c:v>
                </c:pt>
                <c:pt idx="10">
                  <c:v>49178</c:v>
                </c:pt>
                <c:pt idx="11">
                  <c:v>20389</c:v>
                </c:pt>
                <c:pt idx="12">
                  <c:v>5814</c:v>
                </c:pt>
                <c:pt idx="13">
                  <c:v>1961</c:v>
                </c:pt>
                <c:pt idx="14">
                  <c:v>779</c:v>
                </c:pt>
                <c:pt idx="15">
                  <c:v>504</c:v>
                </c:pt>
                <c:pt idx="16">
                  <c:v>398</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18</c:f>
              <c:numCache>
                <c:formatCode>yyyy\-mm\-dd</c:formatCode>
                <c:ptCount val="17"/>
                <c:pt idx="0">
                  <c:v>45235</c:v>
                </c:pt>
                <c:pt idx="1">
                  <c:v>45242</c:v>
                </c:pt>
                <c:pt idx="2">
                  <c:v>45249</c:v>
                </c:pt>
                <c:pt idx="3">
                  <c:v>45256</c:v>
                </c:pt>
                <c:pt idx="4">
                  <c:v>45270</c:v>
                </c:pt>
                <c:pt idx="5">
                  <c:v>45277</c:v>
                </c:pt>
                <c:pt idx="6">
                  <c:v>45284</c:v>
                </c:pt>
                <c:pt idx="7">
                  <c:v>45291</c:v>
                </c:pt>
                <c:pt idx="8">
                  <c:v>45298</c:v>
                </c:pt>
                <c:pt idx="9">
                  <c:v>45305</c:v>
                </c:pt>
                <c:pt idx="10">
                  <c:v>45312</c:v>
                </c:pt>
                <c:pt idx="11">
                  <c:v>45319</c:v>
                </c:pt>
                <c:pt idx="12">
                  <c:v>45326</c:v>
                </c:pt>
                <c:pt idx="13">
                  <c:v>45333</c:v>
                </c:pt>
                <c:pt idx="14">
                  <c:v>45340</c:v>
                </c:pt>
                <c:pt idx="15">
                  <c:v>45347</c:v>
                </c:pt>
                <c:pt idx="16">
                  <c:v>45354</c:v>
                </c:pt>
              </c:numCache>
            </c:numRef>
          </c:cat>
          <c:val>
            <c:numRef>
              <c:f>Sheet1!$E$2:$E$18</c:f>
              <c:numCache>
                <c:formatCode>General</c:formatCode>
                <c:ptCount val="17"/>
                <c:pt idx="0">
                  <c:v>15250</c:v>
                </c:pt>
                <c:pt idx="1">
                  <c:v>21575</c:v>
                </c:pt>
                <c:pt idx="2">
                  <c:v>21575</c:v>
                </c:pt>
                <c:pt idx="3">
                  <c:v>21575</c:v>
                </c:pt>
                <c:pt idx="4">
                  <c:v>21575</c:v>
                </c:pt>
                <c:pt idx="5">
                  <c:v>21575</c:v>
                </c:pt>
                <c:pt idx="6">
                  <c:v>21558</c:v>
                </c:pt>
                <c:pt idx="7">
                  <c:v>21558</c:v>
                </c:pt>
                <c:pt idx="8">
                  <c:v>21558</c:v>
                </c:pt>
                <c:pt idx="9">
                  <c:v>21523</c:v>
                </c:pt>
                <c:pt idx="10">
                  <c:v>21515</c:v>
                </c:pt>
                <c:pt idx="11">
                  <c:v>21515</c:v>
                </c:pt>
                <c:pt idx="12">
                  <c:v>18897</c:v>
                </c:pt>
                <c:pt idx="13">
                  <c:v>6432</c:v>
                </c:pt>
                <c:pt idx="14">
                  <c:v>2593</c:v>
                </c:pt>
                <c:pt idx="15">
                  <c:v>1695</c:v>
                </c:pt>
                <c:pt idx="16">
                  <c:v>1105</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18</c:f>
              <c:numCache>
                <c:formatCode>yyyy\-mm\-dd</c:formatCode>
                <c:ptCount val="17"/>
                <c:pt idx="0">
                  <c:v>45235</c:v>
                </c:pt>
                <c:pt idx="1">
                  <c:v>45242</c:v>
                </c:pt>
                <c:pt idx="2">
                  <c:v>45249</c:v>
                </c:pt>
                <c:pt idx="3">
                  <c:v>45256</c:v>
                </c:pt>
                <c:pt idx="4">
                  <c:v>45270</c:v>
                </c:pt>
                <c:pt idx="5">
                  <c:v>45277</c:v>
                </c:pt>
                <c:pt idx="6">
                  <c:v>45284</c:v>
                </c:pt>
                <c:pt idx="7">
                  <c:v>45291</c:v>
                </c:pt>
                <c:pt idx="8">
                  <c:v>45298</c:v>
                </c:pt>
                <c:pt idx="9">
                  <c:v>45305</c:v>
                </c:pt>
                <c:pt idx="10">
                  <c:v>45312</c:v>
                </c:pt>
                <c:pt idx="11">
                  <c:v>45319</c:v>
                </c:pt>
                <c:pt idx="12">
                  <c:v>45326</c:v>
                </c:pt>
                <c:pt idx="13">
                  <c:v>45333</c:v>
                </c:pt>
                <c:pt idx="14">
                  <c:v>45340</c:v>
                </c:pt>
                <c:pt idx="15">
                  <c:v>45347</c:v>
                </c:pt>
                <c:pt idx="16">
                  <c:v>45354</c:v>
                </c:pt>
              </c:numCache>
            </c:numRef>
          </c:cat>
          <c:val>
            <c:numRef>
              <c:f>Sheet1!$F$2:$F$18</c:f>
              <c:numCache>
                <c:formatCode>General</c:formatCode>
                <c:ptCount val="17"/>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pt idx="15">
                  <c:v>1</c:v>
                </c:pt>
                <c:pt idx="16">
                  <c:v>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3-3C16-4125-B97A-D0EBA9D0B1CF}"/>
              </c:ext>
            </c:extLst>
          </c:dPt>
          <c:dPt>
            <c:idx val="1"/>
            <c:invertIfNegative val="0"/>
            <c:bubble3D val="0"/>
            <c:extLst>
              <c:ext xmlns:c16="http://schemas.microsoft.com/office/drawing/2014/chart" uri="{C3380CC4-5D6E-409C-BE32-E72D297353CC}">
                <c16:uniqueId val="{00000001-615A-458F-B49B-C3992C8CBC6B}"/>
              </c:ext>
            </c:extLst>
          </c:dPt>
          <c:dPt>
            <c:idx val="2"/>
            <c:invertIfNegative val="0"/>
            <c:bubble3D val="0"/>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c:v>
                </c:pt>
                <c:pt idx="1">
                  <c:v>Schick</c:v>
                </c:pt>
                <c:pt idx="2">
                  <c:v>Bic</c:v>
                </c:pt>
              </c:strCache>
            </c:strRef>
          </c:cat>
          <c:val>
            <c:numRef>
              <c:f>Sheet1!$B$2:$B$4</c:f>
              <c:numCache>
                <c:formatCode>General</c:formatCode>
                <c:ptCount val="3"/>
                <c:pt idx="0">
                  <c:v>0.35000000000000009</c:v>
                </c:pt>
                <c:pt idx="1">
                  <c:v>0.38100000000000001</c:v>
                </c:pt>
                <c:pt idx="2">
                  <c:v>0.1519999999999999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23</c:f>
              <c:numCache>
                <c:formatCode>yyyy\-mm\-dd</c:formatCode>
                <c:ptCount val="22"/>
                <c:pt idx="0">
                  <c:v>44983</c:v>
                </c:pt>
                <c:pt idx="1">
                  <c:v>45214</c:v>
                </c:pt>
                <c:pt idx="2">
                  <c:v>45221</c:v>
                </c:pt>
                <c:pt idx="3">
                  <c:v>45228</c:v>
                </c:pt>
                <c:pt idx="4">
                  <c:v>45235</c:v>
                </c:pt>
                <c:pt idx="5">
                  <c:v>45242</c:v>
                </c:pt>
                <c:pt idx="6">
                  <c:v>45249</c:v>
                </c:pt>
                <c:pt idx="7">
                  <c:v>45256</c:v>
                </c:pt>
                <c:pt idx="8">
                  <c:v>45263</c:v>
                </c:pt>
                <c:pt idx="9">
                  <c:v>45270</c:v>
                </c:pt>
                <c:pt idx="10">
                  <c:v>45277</c:v>
                </c:pt>
                <c:pt idx="11">
                  <c:v>45284</c:v>
                </c:pt>
                <c:pt idx="12">
                  <c:v>45291</c:v>
                </c:pt>
                <c:pt idx="13">
                  <c:v>45298</c:v>
                </c:pt>
                <c:pt idx="14">
                  <c:v>45305</c:v>
                </c:pt>
                <c:pt idx="15">
                  <c:v>45312</c:v>
                </c:pt>
                <c:pt idx="16">
                  <c:v>45319</c:v>
                </c:pt>
                <c:pt idx="17">
                  <c:v>45326</c:v>
                </c:pt>
                <c:pt idx="18">
                  <c:v>45333</c:v>
                </c:pt>
                <c:pt idx="19">
                  <c:v>45340</c:v>
                </c:pt>
                <c:pt idx="20">
                  <c:v>45347</c:v>
                </c:pt>
                <c:pt idx="21">
                  <c:v>45354</c:v>
                </c:pt>
              </c:numCache>
            </c:numRef>
          </c:cat>
          <c:val>
            <c:numRef>
              <c:f>Sheet1!$B$2:$B$23</c:f>
              <c:numCache>
                <c:formatCode>General</c:formatCode>
                <c:ptCount val="22"/>
                <c:pt idx="0">
                  <c:v>562</c:v>
                </c:pt>
                <c:pt idx="1">
                  <c:v>6077</c:v>
                </c:pt>
                <c:pt idx="2">
                  <c:v>10270</c:v>
                </c:pt>
                <c:pt idx="3">
                  <c:v>11807</c:v>
                </c:pt>
                <c:pt idx="4">
                  <c:v>12785</c:v>
                </c:pt>
                <c:pt idx="5">
                  <c:v>16244</c:v>
                </c:pt>
                <c:pt idx="6">
                  <c:v>19851</c:v>
                </c:pt>
                <c:pt idx="7">
                  <c:v>37584</c:v>
                </c:pt>
                <c:pt idx="8">
                  <c:v>35732</c:v>
                </c:pt>
                <c:pt idx="9">
                  <c:v>55479</c:v>
                </c:pt>
                <c:pt idx="10">
                  <c:v>92136</c:v>
                </c:pt>
                <c:pt idx="11">
                  <c:v>224941</c:v>
                </c:pt>
                <c:pt idx="12">
                  <c:v>443320</c:v>
                </c:pt>
                <c:pt idx="13">
                  <c:v>63013</c:v>
                </c:pt>
                <c:pt idx="14">
                  <c:v>10685</c:v>
                </c:pt>
                <c:pt idx="15">
                  <c:v>6231</c:v>
                </c:pt>
                <c:pt idx="16">
                  <c:v>4607</c:v>
                </c:pt>
                <c:pt idx="17">
                  <c:v>2014</c:v>
                </c:pt>
                <c:pt idx="18">
                  <c:v>1555</c:v>
                </c:pt>
                <c:pt idx="19">
                  <c:v>780</c:v>
                </c:pt>
                <c:pt idx="20">
                  <c:v>644</c:v>
                </c:pt>
                <c:pt idx="21">
                  <c:v>533</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23</c:f>
              <c:numCache>
                <c:formatCode>yyyy\-mm\-dd</c:formatCode>
                <c:ptCount val="22"/>
                <c:pt idx="0">
                  <c:v>44983</c:v>
                </c:pt>
                <c:pt idx="1">
                  <c:v>45214</c:v>
                </c:pt>
                <c:pt idx="2">
                  <c:v>45221</c:v>
                </c:pt>
                <c:pt idx="3">
                  <c:v>45228</c:v>
                </c:pt>
                <c:pt idx="4">
                  <c:v>45235</c:v>
                </c:pt>
                <c:pt idx="5">
                  <c:v>45242</c:v>
                </c:pt>
                <c:pt idx="6">
                  <c:v>45249</c:v>
                </c:pt>
                <c:pt idx="7">
                  <c:v>45256</c:v>
                </c:pt>
                <c:pt idx="8">
                  <c:v>45263</c:v>
                </c:pt>
                <c:pt idx="9">
                  <c:v>45270</c:v>
                </c:pt>
                <c:pt idx="10">
                  <c:v>45277</c:v>
                </c:pt>
                <c:pt idx="11">
                  <c:v>45284</c:v>
                </c:pt>
                <c:pt idx="12">
                  <c:v>45291</c:v>
                </c:pt>
                <c:pt idx="13">
                  <c:v>45298</c:v>
                </c:pt>
                <c:pt idx="14">
                  <c:v>45305</c:v>
                </c:pt>
                <c:pt idx="15">
                  <c:v>45312</c:v>
                </c:pt>
                <c:pt idx="16">
                  <c:v>45319</c:v>
                </c:pt>
                <c:pt idx="17">
                  <c:v>45326</c:v>
                </c:pt>
                <c:pt idx="18">
                  <c:v>45333</c:v>
                </c:pt>
                <c:pt idx="19">
                  <c:v>45340</c:v>
                </c:pt>
                <c:pt idx="20">
                  <c:v>45347</c:v>
                </c:pt>
                <c:pt idx="21">
                  <c:v>45354</c:v>
                </c:pt>
              </c:numCache>
            </c:numRef>
          </c:cat>
          <c:val>
            <c:numRef>
              <c:f>Sheet1!$C$2:$C$23</c:f>
              <c:numCache>
                <c:formatCode>General</c:formatCode>
                <c:ptCount val="22"/>
                <c:pt idx="0">
                  <c:v>11929</c:v>
                </c:pt>
                <c:pt idx="1">
                  <c:v>13989</c:v>
                </c:pt>
                <c:pt idx="2">
                  <c:v>13820</c:v>
                </c:pt>
                <c:pt idx="3">
                  <c:v>12798</c:v>
                </c:pt>
                <c:pt idx="4">
                  <c:v>13315</c:v>
                </c:pt>
                <c:pt idx="5">
                  <c:v>13532</c:v>
                </c:pt>
                <c:pt idx="6">
                  <c:v>13095</c:v>
                </c:pt>
                <c:pt idx="7">
                  <c:v>11358</c:v>
                </c:pt>
                <c:pt idx="8">
                  <c:v>12062</c:v>
                </c:pt>
                <c:pt idx="9">
                  <c:v>11413</c:v>
                </c:pt>
                <c:pt idx="10">
                  <c:v>7345</c:v>
                </c:pt>
                <c:pt idx="11">
                  <c:v>5016</c:v>
                </c:pt>
                <c:pt idx="12">
                  <c:v>5398</c:v>
                </c:pt>
                <c:pt idx="13">
                  <c:v>3254</c:v>
                </c:pt>
                <c:pt idx="14">
                  <c:v>1348</c:v>
                </c:pt>
                <c:pt idx="15">
                  <c:v>550</c:v>
                </c:pt>
                <c:pt idx="16">
                  <c:v>220</c:v>
                </c:pt>
                <c:pt idx="17">
                  <c:v>206</c:v>
                </c:pt>
                <c:pt idx="18">
                  <c:v>139</c:v>
                </c:pt>
                <c:pt idx="19">
                  <c:v>190</c:v>
                </c:pt>
                <c:pt idx="20">
                  <c:v>274</c:v>
                </c:pt>
                <c:pt idx="21">
                  <c:v>279</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23</c:f>
              <c:numCache>
                <c:formatCode>yyyy\-mm\-dd</c:formatCode>
                <c:ptCount val="22"/>
                <c:pt idx="0">
                  <c:v>44983</c:v>
                </c:pt>
                <c:pt idx="1">
                  <c:v>45214</c:v>
                </c:pt>
                <c:pt idx="2">
                  <c:v>45221</c:v>
                </c:pt>
                <c:pt idx="3">
                  <c:v>45228</c:v>
                </c:pt>
                <c:pt idx="4">
                  <c:v>45235</c:v>
                </c:pt>
                <c:pt idx="5">
                  <c:v>45242</c:v>
                </c:pt>
                <c:pt idx="6">
                  <c:v>45249</c:v>
                </c:pt>
                <c:pt idx="7">
                  <c:v>45256</c:v>
                </c:pt>
                <c:pt idx="8">
                  <c:v>45263</c:v>
                </c:pt>
                <c:pt idx="9">
                  <c:v>45270</c:v>
                </c:pt>
                <c:pt idx="10">
                  <c:v>45277</c:v>
                </c:pt>
                <c:pt idx="11">
                  <c:v>45284</c:v>
                </c:pt>
                <c:pt idx="12">
                  <c:v>45291</c:v>
                </c:pt>
                <c:pt idx="13">
                  <c:v>45298</c:v>
                </c:pt>
                <c:pt idx="14">
                  <c:v>45305</c:v>
                </c:pt>
                <c:pt idx="15">
                  <c:v>45312</c:v>
                </c:pt>
                <c:pt idx="16">
                  <c:v>45319</c:v>
                </c:pt>
                <c:pt idx="17">
                  <c:v>45326</c:v>
                </c:pt>
                <c:pt idx="18">
                  <c:v>45333</c:v>
                </c:pt>
                <c:pt idx="19">
                  <c:v>45340</c:v>
                </c:pt>
                <c:pt idx="20">
                  <c:v>45347</c:v>
                </c:pt>
                <c:pt idx="21">
                  <c:v>45354</c:v>
                </c:pt>
              </c:numCache>
            </c:numRef>
          </c:cat>
          <c:val>
            <c:numRef>
              <c:f>Sheet1!$D$2:$D$23</c:f>
              <c:numCache>
                <c:formatCode>General</c:formatCode>
                <c:ptCount val="22"/>
                <c:pt idx="0">
                  <c:v>12491</c:v>
                </c:pt>
                <c:pt idx="1">
                  <c:v>20066</c:v>
                </c:pt>
                <c:pt idx="2">
                  <c:v>24090</c:v>
                </c:pt>
                <c:pt idx="3">
                  <c:v>24605</c:v>
                </c:pt>
                <c:pt idx="4">
                  <c:v>26100</c:v>
                </c:pt>
                <c:pt idx="5">
                  <c:v>29776</c:v>
                </c:pt>
                <c:pt idx="6">
                  <c:v>32946</c:v>
                </c:pt>
                <c:pt idx="7">
                  <c:v>48942</c:v>
                </c:pt>
                <c:pt idx="8">
                  <c:v>47794</c:v>
                </c:pt>
                <c:pt idx="9">
                  <c:v>66892</c:v>
                </c:pt>
                <c:pt idx="10">
                  <c:v>99481</c:v>
                </c:pt>
                <c:pt idx="11">
                  <c:v>229957</c:v>
                </c:pt>
                <c:pt idx="12">
                  <c:v>448718</c:v>
                </c:pt>
                <c:pt idx="13">
                  <c:v>66267</c:v>
                </c:pt>
                <c:pt idx="14">
                  <c:v>12033</c:v>
                </c:pt>
                <c:pt idx="15">
                  <c:v>6781</c:v>
                </c:pt>
                <c:pt idx="16">
                  <c:v>4827</c:v>
                </c:pt>
                <c:pt idx="17">
                  <c:v>2220</c:v>
                </c:pt>
                <c:pt idx="18">
                  <c:v>1694</c:v>
                </c:pt>
                <c:pt idx="19">
                  <c:v>970</c:v>
                </c:pt>
                <c:pt idx="20">
                  <c:v>918</c:v>
                </c:pt>
                <c:pt idx="21">
                  <c:v>812</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23</c:f>
              <c:numCache>
                <c:formatCode>yyyy\-mm\-dd</c:formatCode>
                <c:ptCount val="22"/>
                <c:pt idx="0">
                  <c:v>44983</c:v>
                </c:pt>
                <c:pt idx="1">
                  <c:v>45214</c:v>
                </c:pt>
                <c:pt idx="2">
                  <c:v>45221</c:v>
                </c:pt>
                <c:pt idx="3">
                  <c:v>45228</c:v>
                </c:pt>
                <c:pt idx="4">
                  <c:v>45235</c:v>
                </c:pt>
                <c:pt idx="5">
                  <c:v>45242</c:v>
                </c:pt>
                <c:pt idx="6">
                  <c:v>45249</c:v>
                </c:pt>
                <c:pt idx="7">
                  <c:v>45256</c:v>
                </c:pt>
                <c:pt idx="8">
                  <c:v>45263</c:v>
                </c:pt>
                <c:pt idx="9">
                  <c:v>45270</c:v>
                </c:pt>
                <c:pt idx="10">
                  <c:v>45277</c:v>
                </c:pt>
                <c:pt idx="11">
                  <c:v>45284</c:v>
                </c:pt>
                <c:pt idx="12">
                  <c:v>45291</c:v>
                </c:pt>
                <c:pt idx="13">
                  <c:v>45298</c:v>
                </c:pt>
                <c:pt idx="14">
                  <c:v>45305</c:v>
                </c:pt>
                <c:pt idx="15">
                  <c:v>45312</c:v>
                </c:pt>
                <c:pt idx="16">
                  <c:v>45319</c:v>
                </c:pt>
                <c:pt idx="17">
                  <c:v>45326</c:v>
                </c:pt>
                <c:pt idx="18">
                  <c:v>45333</c:v>
                </c:pt>
                <c:pt idx="19">
                  <c:v>45340</c:v>
                </c:pt>
                <c:pt idx="20">
                  <c:v>45347</c:v>
                </c:pt>
                <c:pt idx="21">
                  <c:v>45354</c:v>
                </c:pt>
              </c:numCache>
            </c:numRef>
          </c:cat>
          <c:val>
            <c:numRef>
              <c:f>Sheet1!$E$2:$E$23</c:f>
              <c:numCache>
                <c:formatCode>General</c:formatCode>
                <c:ptCount val="22"/>
                <c:pt idx="0">
                  <c:v>12320</c:v>
                </c:pt>
                <c:pt idx="1">
                  <c:v>19883</c:v>
                </c:pt>
                <c:pt idx="2">
                  <c:v>23862</c:v>
                </c:pt>
                <c:pt idx="3">
                  <c:v>25300</c:v>
                </c:pt>
                <c:pt idx="4">
                  <c:v>26529</c:v>
                </c:pt>
                <c:pt idx="5">
                  <c:v>29746</c:v>
                </c:pt>
                <c:pt idx="6">
                  <c:v>32908</c:v>
                </c:pt>
                <c:pt idx="7">
                  <c:v>42311</c:v>
                </c:pt>
                <c:pt idx="8">
                  <c:v>41660</c:v>
                </c:pt>
                <c:pt idx="9">
                  <c:v>46018</c:v>
                </c:pt>
                <c:pt idx="10">
                  <c:v>45960</c:v>
                </c:pt>
                <c:pt idx="11">
                  <c:v>46300</c:v>
                </c:pt>
                <c:pt idx="12">
                  <c:v>45034</c:v>
                </c:pt>
                <c:pt idx="13">
                  <c:v>42186</c:v>
                </c:pt>
                <c:pt idx="14">
                  <c:v>21957</c:v>
                </c:pt>
                <c:pt idx="15">
                  <c:v>11672</c:v>
                </c:pt>
                <c:pt idx="16">
                  <c:v>9077</c:v>
                </c:pt>
                <c:pt idx="17">
                  <c:v>6665</c:v>
                </c:pt>
                <c:pt idx="18">
                  <c:v>6646</c:v>
                </c:pt>
                <c:pt idx="19">
                  <c:v>3165</c:v>
                </c:pt>
                <c:pt idx="20">
                  <c:v>3513</c:v>
                </c:pt>
                <c:pt idx="21">
                  <c:v>259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23</c:f>
              <c:numCache>
                <c:formatCode>yyyy\-mm\-dd</c:formatCode>
                <c:ptCount val="22"/>
                <c:pt idx="0">
                  <c:v>44983</c:v>
                </c:pt>
                <c:pt idx="1">
                  <c:v>45214</c:v>
                </c:pt>
                <c:pt idx="2">
                  <c:v>45221</c:v>
                </c:pt>
                <c:pt idx="3">
                  <c:v>45228</c:v>
                </c:pt>
                <c:pt idx="4">
                  <c:v>45235</c:v>
                </c:pt>
                <c:pt idx="5">
                  <c:v>45242</c:v>
                </c:pt>
                <c:pt idx="6">
                  <c:v>45249</c:v>
                </c:pt>
                <c:pt idx="7">
                  <c:v>45256</c:v>
                </c:pt>
                <c:pt idx="8">
                  <c:v>45263</c:v>
                </c:pt>
                <c:pt idx="9">
                  <c:v>45270</c:v>
                </c:pt>
                <c:pt idx="10">
                  <c:v>45277</c:v>
                </c:pt>
                <c:pt idx="11">
                  <c:v>45284</c:v>
                </c:pt>
                <c:pt idx="12">
                  <c:v>45291</c:v>
                </c:pt>
                <c:pt idx="13">
                  <c:v>45298</c:v>
                </c:pt>
                <c:pt idx="14">
                  <c:v>45305</c:v>
                </c:pt>
                <c:pt idx="15">
                  <c:v>45312</c:v>
                </c:pt>
                <c:pt idx="16">
                  <c:v>45319</c:v>
                </c:pt>
                <c:pt idx="17">
                  <c:v>45326</c:v>
                </c:pt>
                <c:pt idx="18">
                  <c:v>45333</c:v>
                </c:pt>
                <c:pt idx="19">
                  <c:v>45340</c:v>
                </c:pt>
                <c:pt idx="20">
                  <c:v>45347</c:v>
                </c:pt>
                <c:pt idx="21">
                  <c:v>45354</c:v>
                </c:pt>
              </c:numCache>
            </c:numRef>
          </c:cat>
          <c:val>
            <c:numRef>
              <c:f>Sheet1!$F$2:$F$23</c:f>
              <c:numCache>
                <c:formatCode>General</c:formatCode>
                <c:ptCount val="22"/>
                <c:pt idx="0">
                  <c:v>0.09</c:v>
                </c:pt>
                <c:pt idx="1">
                  <c:v>0.26</c:v>
                </c:pt>
                <c:pt idx="2">
                  <c:v>0.37</c:v>
                </c:pt>
                <c:pt idx="3">
                  <c:v>0.42</c:v>
                </c:pt>
                <c:pt idx="4">
                  <c:v>0.41</c:v>
                </c:pt>
                <c:pt idx="5">
                  <c:v>0.47</c:v>
                </c:pt>
                <c:pt idx="6">
                  <c:v>0.53</c:v>
                </c:pt>
                <c:pt idx="7">
                  <c:v>0.7</c:v>
                </c:pt>
                <c:pt idx="8">
                  <c:v>0.68</c:v>
                </c:pt>
                <c:pt idx="9">
                  <c:v>0.77</c:v>
                </c:pt>
                <c:pt idx="10">
                  <c:v>0.9</c:v>
                </c:pt>
                <c:pt idx="11">
                  <c:v>0.97</c:v>
                </c:pt>
                <c:pt idx="12">
                  <c:v>0.99</c:v>
                </c:pt>
                <c:pt idx="13">
                  <c:v>0.99</c:v>
                </c:pt>
                <c:pt idx="14">
                  <c:v>0.92</c:v>
                </c:pt>
                <c:pt idx="15">
                  <c:v>0.94</c:v>
                </c:pt>
                <c:pt idx="16">
                  <c:v>0.97</c:v>
                </c:pt>
                <c:pt idx="17">
                  <c:v>0.94</c:v>
                </c:pt>
                <c:pt idx="18">
                  <c:v>0.95</c:v>
                </c:pt>
                <c:pt idx="19">
                  <c:v>0.84</c:v>
                </c:pt>
                <c:pt idx="20">
                  <c:v>0.81</c:v>
                </c:pt>
                <c:pt idx="21">
                  <c:v>0.73</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85</c:f>
              <c:numCache>
                <c:formatCode>yyyy\-mm\-dd</c:formatCode>
                <c:ptCount val="84"/>
                <c:pt idx="0">
                  <c:v>44934</c:v>
                </c:pt>
                <c:pt idx="1">
                  <c:v>44941</c:v>
                </c:pt>
                <c:pt idx="2">
                  <c:v>44948</c:v>
                </c:pt>
                <c:pt idx="3">
                  <c:v>44955</c:v>
                </c:pt>
                <c:pt idx="4">
                  <c:v>44997</c:v>
                </c:pt>
                <c:pt idx="5">
                  <c:v>45004</c:v>
                </c:pt>
                <c:pt idx="6">
                  <c:v>45011</c:v>
                </c:pt>
                <c:pt idx="7">
                  <c:v>45018</c:v>
                </c:pt>
                <c:pt idx="8">
                  <c:v>45025</c:v>
                </c:pt>
                <c:pt idx="9">
                  <c:v>45032</c:v>
                </c:pt>
                <c:pt idx="10">
                  <c:v>45039</c:v>
                </c:pt>
                <c:pt idx="11">
                  <c:v>45046</c:v>
                </c:pt>
                <c:pt idx="12">
                  <c:v>45067</c:v>
                </c:pt>
                <c:pt idx="13">
                  <c:v>45074</c:v>
                </c:pt>
                <c:pt idx="14">
                  <c:v>45081</c:v>
                </c:pt>
                <c:pt idx="15">
                  <c:v>45088</c:v>
                </c:pt>
                <c:pt idx="16">
                  <c:v>45095</c:v>
                </c:pt>
                <c:pt idx="17">
                  <c:v>45102</c:v>
                </c:pt>
                <c:pt idx="18">
                  <c:v>45109</c:v>
                </c:pt>
                <c:pt idx="19">
                  <c:v>45116</c:v>
                </c:pt>
                <c:pt idx="20">
                  <c:v>45123</c:v>
                </c:pt>
                <c:pt idx="21">
                  <c:v>45165</c:v>
                </c:pt>
                <c:pt idx="22">
                  <c:v>45172</c:v>
                </c:pt>
                <c:pt idx="23">
                  <c:v>45179</c:v>
                </c:pt>
                <c:pt idx="24">
                  <c:v>45186</c:v>
                </c:pt>
                <c:pt idx="25">
                  <c:v>45221</c:v>
                </c:pt>
                <c:pt idx="26">
                  <c:v>45228</c:v>
                </c:pt>
                <c:pt idx="27">
                  <c:v>45235</c:v>
                </c:pt>
                <c:pt idx="28">
                  <c:v>45242</c:v>
                </c:pt>
                <c:pt idx="29">
                  <c:v>45249</c:v>
                </c:pt>
                <c:pt idx="30">
                  <c:v>45256</c:v>
                </c:pt>
                <c:pt idx="31">
                  <c:v>45263</c:v>
                </c:pt>
                <c:pt idx="32">
                  <c:v>45270</c:v>
                </c:pt>
                <c:pt idx="33">
                  <c:v>45277</c:v>
                </c:pt>
                <c:pt idx="34">
                  <c:v>45284</c:v>
                </c:pt>
                <c:pt idx="35">
                  <c:v>45291</c:v>
                </c:pt>
                <c:pt idx="36">
                  <c:v>45298</c:v>
                </c:pt>
                <c:pt idx="37">
                  <c:v>45305</c:v>
                </c:pt>
                <c:pt idx="38">
                  <c:v>45312</c:v>
                </c:pt>
                <c:pt idx="39">
                  <c:v>45319</c:v>
                </c:pt>
                <c:pt idx="40">
                  <c:v>45354</c:v>
                </c:pt>
                <c:pt idx="41">
                  <c:v>45361</c:v>
                </c:pt>
                <c:pt idx="42">
                  <c:v>45368</c:v>
                </c:pt>
                <c:pt idx="43">
                  <c:v>45375</c:v>
                </c:pt>
                <c:pt idx="44">
                  <c:v>45389</c:v>
                </c:pt>
                <c:pt idx="45">
                  <c:v>45396</c:v>
                </c:pt>
                <c:pt idx="46">
                  <c:v>45403</c:v>
                </c:pt>
                <c:pt idx="47">
                  <c:v>45410</c:v>
                </c:pt>
                <c:pt idx="48">
                  <c:v>45417</c:v>
                </c:pt>
                <c:pt idx="49">
                  <c:v>45424</c:v>
                </c:pt>
                <c:pt idx="50">
                  <c:v>45431</c:v>
                </c:pt>
                <c:pt idx="51">
                  <c:v>45438</c:v>
                </c:pt>
                <c:pt idx="52">
                  <c:v>45445</c:v>
                </c:pt>
                <c:pt idx="53">
                  <c:v>45452</c:v>
                </c:pt>
                <c:pt idx="54">
                  <c:v>45459</c:v>
                </c:pt>
                <c:pt idx="55">
                  <c:v>45466</c:v>
                </c:pt>
                <c:pt idx="56">
                  <c:v>45473</c:v>
                </c:pt>
                <c:pt idx="57">
                  <c:v>45480</c:v>
                </c:pt>
                <c:pt idx="58">
                  <c:v>45487</c:v>
                </c:pt>
                <c:pt idx="59">
                  <c:v>45508</c:v>
                </c:pt>
                <c:pt idx="60">
                  <c:v>45515</c:v>
                </c:pt>
                <c:pt idx="61">
                  <c:v>45522</c:v>
                </c:pt>
                <c:pt idx="62">
                  <c:v>45529</c:v>
                </c:pt>
                <c:pt idx="63">
                  <c:v>45536</c:v>
                </c:pt>
                <c:pt idx="64">
                  <c:v>45543</c:v>
                </c:pt>
                <c:pt idx="65">
                  <c:v>45550</c:v>
                </c:pt>
                <c:pt idx="66">
                  <c:v>45557</c:v>
                </c:pt>
                <c:pt idx="67">
                  <c:v>45564</c:v>
                </c:pt>
                <c:pt idx="68">
                  <c:v>45578</c:v>
                </c:pt>
                <c:pt idx="69">
                  <c:v>45585</c:v>
                </c:pt>
                <c:pt idx="70">
                  <c:v>45592</c:v>
                </c:pt>
                <c:pt idx="71">
                  <c:v>45599</c:v>
                </c:pt>
                <c:pt idx="72">
                  <c:v>45606</c:v>
                </c:pt>
                <c:pt idx="73">
                  <c:v>45613</c:v>
                </c:pt>
                <c:pt idx="74">
                  <c:v>45620</c:v>
                </c:pt>
                <c:pt idx="75">
                  <c:v>45627</c:v>
                </c:pt>
                <c:pt idx="76">
                  <c:v>45634</c:v>
                </c:pt>
                <c:pt idx="77">
                  <c:v>45641</c:v>
                </c:pt>
                <c:pt idx="78">
                  <c:v>45648</c:v>
                </c:pt>
                <c:pt idx="79">
                  <c:v>45655</c:v>
                </c:pt>
                <c:pt idx="80">
                  <c:v>45662</c:v>
                </c:pt>
                <c:pt idx="81">
                  <c:v>45669</c:v>
                </c:pt>
                <c:pt idx="82">
                  <c:v>45676</c:v>
                </c:pt>
                <c:pt idx="83">
                  <c:v>45683</c:v>
                </c:pt>
              </c:numCache>
            </c:numRef>
          </c:cat>
          <c:val>
            <c:numRef>
              <c:f>Sheet1!$B$2:$B$85</c:f>
              <c:numCache>
                <c:formatCode>General</c:formatCode>
                <c:ptCount val="84"/>
                <c:pt idx="0">
                  <c:v>73775</c:v>
                </c:pt>
                <c:pt idx="1">
                  <c:v>31097</c:v>
                </c:pt>
                <c:pt idx="2">
                  <c:v>27142</c:v>
                </c:pt>
                <c:pt idx="3">
                  <c:v>70632</c:v>
                </c:pt>
                <c:pt idx="4">
                  <c:v>79241</c:v>
                </c:pt>
                <c:pt idx="5">
                  <c:v>113982</c:v>
                </c:pt>
                <c:pt idx="6">
                  <c:v>89719</c:v>
                </c:pt>
                <c:pt idx="7">
                  <c:v>87998</c:v>
                </c:pt>
                <c:pt idx="8">
                  <c:v>77629</c:v>
                </c:pt>
                <c:pt idx="9">
                  <c:v>83787</c:v>
                </c:pt>
                <c:pt idx="10">
                  <c:v>99665</c:v>
                </c:pt>
                <c:pt idx="11">
                  <c:v>2798</c:v>
                </c:pt>
                <c:pt idx="12">
                  <c:v>70056</c:v>
                </c:pt>
                <c:pt idx="13">
                  <c:v>80589</c:v>
                </c:pt>
                <c:pt idx="14">
                  <c:v>282388</c:v>
                </c:pt>
                <c:pt idx="15">
                  <c:v>338683</c:v>
                </c:pt>
                <c:pt idx="16">
                  <c:v>341952</c:v>
                </c:pt>
                <c:pt idx="17">
                  <c:v>339879</c:v>
                </c:pt>
                <c:pt idx="18">
                  <c:v>340173</c:v>
                </c:pt>
                <c:pt idx="19">
                  <c:v>77321</c:v>
                </c:pt>
                <c:pt idx="20">
                  <c:v>65370</c:v>
                </c:pt>
                <c:pt idx="21">
                  <c:v>97781</c:v>
                </c:pt>
                <c:pt idx="22">
                  <c:v>73785</c:v>
                </c:pt>
                <c:pt idx="23">
                  <c:v>96929</c:v>
                </c:pt>
                <c:pt idx="24">
                  <c:v>63263</c:v>
                </c:pt>
                <c:pt idx="25">
                  <c:v>87075</c:v>
                </c:pt>
                <c:pt idx="26">
                  <c:v>98473</c:v>
                </c:pt>
                <c:pt idx="27">
                  <c:v>79184</c:v>
                </c:pt>
                <c:pt idx="28">
                  <c:v>347453</c:v>
                </c:pt>
                <c:pt idx="29">
                  <c:v>324416</c:v>
                </c:pt>
                <c:pt idx="30">
                  <c:v>288148</c:v>
                </c:pt>
                <c:pt idx="31">
                  <c:v>87121</c:v>
                </c:pt>
                <c:pt idx="32">
                  <c:v>67580</c:v>
                </c:pt>
                <c:pt idx="33">
                  <c:v>66161</c:v>
                </c:pt>
                <c:pt idx="34">
                  <c:v>99697</c:v>
                </c:pt>
                <c:pt idx="35">
                  <c:v>251809</c:v>
                </c:pt>
                <c:pt idx="36">
                  <c:v>322017</c:v>
                </c:pt>
                <c:pt idx="37">
                  <c:v>336233</c:v>
                </c:pt>
                <c:pt idx="38">
                  <c:v>310381</c:v>
                </c:pt>
                <c:pt idx="39">
                  <c:v>293721</c:v>
                </c:pt>
                <c:pt idx="40">
                  <c:v>77042</c:v>
                </c:pt>
                <c:pt idx="41">
                  <c:v>99260</c:v>
                </c:pt>
                <c:pt idx="42">
                  <c:v>71859</c:v>
                </c:pt>
                <c:pt idx="43">
                  <c:v>24823</c:v>
                </c:pt>
                <c:pt idx="44">
                  <c:v>84114</c:v>
                </c:pt>
                <c:pt idx="45">
                  <c:v>183068</c:v>
                </c:pt>
                <c:pt idx="46">
                  <c:v>171571</c:v>
                </c:pt>
                <c:pt idx="47">
                  <c:v>103565</c:v>
                </c:pt>
                <c:pt idx="48">
                  <c:v>53963</c:v>
                </c:pt>
                <c:pt idx="49">
                  <c:v>36041</c:v>
                </c:pt>
                <c:pt idx="50">
                  <c:v>61765</c:v>
                </c:pt>
                <c:pt idx="51">
                  <c:v>51951</c:v>
                </c:pt>
                <c:pt idx="52">
                  <c:v>193824</c:v>
                </c:pt>
                <c:pt idx="53">
                  <c:v>238147</c:v>
                </c:pt>
                <c:pt idx="54">
                  <c:v>236587</c:v>
                </c:pt>
                <c:pt idx="55">
                  <c:v>230302</c:v>
                </c:pt>
                <c:pt idx="56">
                  <c:v>228001</c:v>
                </c:pt>
                <c:pt idx="57">
                  <c:v>227491</c:v>
                </c:pt>
                <c:pt idx="58">
                  <c:v>26235</c:v>
                </c:pt>
                <c:pt idx="59">
                  <c:v>49312</c:v>
                </c:pt>
                <c:pt idx="60">
                  <c:v>56189</c:v>
                </c:pt>
                <c:pt idx="61">
                  <c:v>61690</c:v>
                </c:pt>
                <c:pt idx="62">
                  <c:v>54826</c:v>
                </c:pt>
                <c:pt idx="63">
                  <c:v>13618</c:v>
                </c:pt>
                <c:pt idx="64">
                  <c:v>14642</c:v>
                </c:pt>
                <c:pt idx="65">
                  <c:v>13438</c:v>
                </c:pt>
                <c:pt idx="66">
                  <c:v>14607</c:v>
                </c:pt>
                <c:pt idx="67">
                  <c:v>15617</c:v>
                </c:pt>
                <c:pt idx="68">
                  <c:v>910</c:v>
                </c:pt>
                <c:pt idx="69">
                  <c:v>46520</c:v>
                </c:pt>
                <c:pt idx="70">
                  <c:v>54916</c:v>
                </c:pt>
                <c:pt idx="71">
                  <c:v>247717</c:v>
                </c:pt>
                <c:pt idx="72">
                  <c:v>259457</c:v>
                </c:pt>
                <c:pt idx="73">
                  <c:v>248536</c:v>
                </c:pt>
                <c:pt idx="74">
                  <c:v>241752</c:v>
                </c:pt>
                <c:pt idx="75">
                  <c:v>221995</c:v>
                </c:pt>
                <c:pt idx="76">
                  <c:v>189946</c:v>
                </c:pt>
                <c:pt idx="77">
                  <c:v>56512</c:v>
                </c:pt>
                <c:pt idx="78">
                  <c:v>76181</c:v>
                </c:pt>
                <c:pt idx="79">
                  <c:v>65321</c:v>
                </c:pt>
                <c:pt idx="80">
                  <c:v>201725</c:v>
                </c:pt>
                <c:pt idx="81">
                  <c:v>281643</c:v>
                </c:pt>
                <c:pt idx="82">
                  <c:v>297071</c:v>
                </c:pt>
                <c:pt idx="83">
                  <c:v>269481</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85</c:f>
              <c:numCache>
                <c:formatCode>yyyy\-mm\-dd</c:formatCode>
                <c:ptCount val="84"/>
                <c:pt idx="0">
                  <c:v>44934</c:v>
                </c:pt>
                <c:pt idx="1">
                  <c:v>44941</c:v>
                </c:pt>
                <c:pt idx="2">
                  <c:v>44948</c:v>
                </c:pt>
                <c:pt idx="3">
                  <c:v>44955</c:v>
                </c:pt>
                <c:pt idx="4">
                  <c:v>44997</c:v>
                </c:pt>
                <c:pt idx="5">
                  <c:v>45004</c:v>
                </c:pt>
                <c:pt idx="6">
                  <c:v>45011</c:v>
                </c:pt>
                <c:pt idx="7">
                  <c:v>45018</c:v>
                </c:pt>
                <c:pt idx="8">
                  <c:v>45025</c:v>
                </c:pt>
                <c:pt idx="9">
                  <c:v>45032</c:v>
                </c:pt>
                <c:pt idx="10">
                  <c:v>45039</c:v>
                </c:pt>
                <c:pt idx="11">
                  <c:v>45046</c:v>
                </c:pt>
                <c:pt idx="12">
                  <c:v>45067</c:v>
                </c:pt>
                <c:pt idx="13">
                  <c:v>45074</c:v>
                </c:pt>
                <c:pt idx="14">
                  <c:v>45081</c:v>
                </c:pt>
                <c:pt idx="15">
                  <c:v>45088</c:v>
                </c:pt>
                <c:pt idx="16">
                  <c:v>45095</c:v>
                </c:pt>
                <c:pt idx="17">
                  <c:v>45102</c:v>
                </c:pt>
                <c:pt idx="18">
                  <c:v>45109</c:v>
                </c:pt>
                <c:pt idx="19">
                  <c:v>45116</c:v>
                </c:pt>
                <c:pt idx="20">
                  <c:v>45123</c:v>
                </c:pt>
                <c:pt idx="21">
                  <c:v>45165</c:v>
                </c:pt>
                <c:pt idx="22">
                  <c:v>45172</c:v>
                </c:pt>
                <c:pt idx="23">
                  <c:v>45179</c:v>
                </c:pt>
                <c:pt idx="24">
                  <c:v>45186</c:v>
                </c:pt>
                <c:pt idx="25">
                  <c:v>45221</c:v>
                </c:pt>
                <c:pt idx="26">
                  <c:v>45228</c:v>
                </c:pt>
                <c:pt idx="27">
                  <c:v>45235</c:v>
                </c:pt>
                <c:pt idx="28">
                  <c:v>45242</c:v>
                </c:pt>
                <c:pt idx="29">
                  <c:v>45249</c:v>
                </c:pt>
                <c:pt idx="30">
                  <c:v>45256</c:v>
                </c:pt>
                <c:pt idx="31">
                  <c:v>45263</c:v>
                </c:pt>
                <c:pt idx="32">
                  <c:v>45270</c:v>
                </c:pt>
                <c:pt idx="33">
                  <c:v>45277</c:v>
                </c:pt>
                <c:pt idx="34">
                  <c:v>45284</c:v>
                </c:pt>
                <c:pt idx="35">
                  <c:v>45291</c:v>
                </c:pt>
                <c:pt idx="36">
                  <c:v>45298</c:v>
                </c:pt>
                <c:pt idx="37">
                  <c:v>45305</c:v>
                </c:pt>
                <c:pt idx="38">
                  <c:v>45312</c:v>
                </c:pt>
                <c:pt idx="39">
                  <c:v>45319</c:v>
                </c:pt>
                <c:pt idx="40">
                  <c:v>45354</c:v>
                </c:pt>
                <c:pt idx="41">
                  <c:v>45361</c:v>
                </c:pt>
                <c:pt idx="42">
                  <c:v>45368</c:v>
                </c:pt>
                <c:pt idx="43">
                  <c:v>45375</c:v>
                </c:pt>
                <c:pt idx="44">
                  <c:v>45389</c:v>
                </c:pt>
                <c:pt idx="45">
                  <c:v>45396</c:v>
                </c:pt>
                <c:pt idx="46">
                  <c:v>45403</c:v>
                </c:pt>
                <c:pt idx="47">
                  <c:v>45410</c:v>
                </c:pt>
                <c:pt idx="48">
                  <c:v>45417</c:v>
                </c:pt>
                <c:pt idx="49">
                  <c:v>45424</c:v>
                </c:pt>
                <c:pt idx="50">
                  <c:v>45431</c:v>
                </c:pt>
                <c:pt idx="51">
                  <c:v>45438</c:v>
                </c:pt>
                <c:pt idx="52">
                  <c:v>45445</c:v>
                </c:pt>
                <c:pt idx="53">
                  <c:v>45452</c:v>
                </c:pt>
                <c:pt idx="54">
                  <c:v>45459</c:v>
                </c:pt>
                <c:pt idx="55">
                  <c:v>45466</c:v>
                </c:pt>
                <c:pt idx="56">
                  <c:v>45473</c:v>
                </c:pt>
                <c:pt idx="57">
                  <c:v>45480</c:v>
                </c:pt>
                <c:pt idx="58">
                  <c:v>45487</c:v>
                </c:pt>
                <c:pt idx="59">
                  <c:v>45508</c:v>
                </c:pt>
                <c:pt idx="60">
                  <c:v>45515</c:v>
                </c:pt>
                <c:pt idx="61">
                  <c:v>45522</c:v>
                </c:pt>
                <c:pt idx="62">
                  <c:v>45529</c:v>
                </c:pt>
                <c:pt idx="63">
                  <c:v>45536</c:v>
                </c:pt>
                <c:pt idx="64">
                  <c:v>45543</c:v>
                </c:pt>
                <c:pt idx="65">
                  <c:v>45550</c:v>
                </c:pt>
                <c:pt idx="66">
                  <c:v>45557</c:v>
                </c:pt>
                <c:pt idx="67">
                  <c:v>45564</c:v>
                </c:pt>
                <c:pt idx="68">
                  <c:v>45578</c:v>
                </c:pt>
                <c:pt idx="69">
                  <c:v>45585</c:v>
                </c:pt>
                <c:pt idx="70">
                  <c:v>45592</c:v>
                </c:pt>
                <c:pt idx="71">
                  <c:v>45599</c:v>
                </c:pt>
                <c:pt idx="72">
                  <c:v>45606</c:v>
                </c:pt>
                <c:pt idx="73">
                  <c:v>45613</c:v>
                </c:pt>
                <c:pt idx="74">
                  <c:v>45620</c:v>
                </c:pt>
                <c:pt idx="75">
                  <c:v>45627</c:v>
                </c:pt>
                <c:pt idx="76">
                  <c:v>45634</c:v>
                </c:pt>
                <c:pt idx="77">
                  <c:v>45641</c:v>
                </c:pt>
                <c:pt idx="78">
                  <c:v>45648</c:v>
                </c:pt>
                <c:pt idx="79">
                  <c:v>45655</c:v>
                </c:pt>
                <c:pt idx="80">
                  <c:v>45662</c:v>
                </c:pt>
                <c:pt idx="81">
                  <c:v>45669</c:v>
                </c:pt>
                <c:pt idx="82">
                  <c:v>45676</c:v>
                </c:pt>
                <c:pt idx="83">
                  <c:v>45683</c:v>
                </c:pt>
              </c:numCache>
            </c:numRef>
          </c:cat>
          <c:val>
            <c:numRef>
              <c:f>Sheet1!$C$2:$C$85</c:f>
              <c:numCache>
                <c:formatCode>General</c:formatCode>
                <c:ptCount val="84"/>
                <c:pt idx="0">
                  <c:v>172166</c:v>
                </c:pt>
                <c:pt idx="1">
                  <c:v>253812</c:v>
                </c:pt>
                <c:pt idx="2">
                  <c:v>260415</c:v>
                </c:pt>
                <c:pt idx="3">
                  <c:v>207675</c:v>
                </c:pt>
                <c:pt idx="4">
                  <c:v>225339</c:v>
                </c:pt>
                <c:pt idx="5">
                  <c:v>210860</c:v>
                </c:pt>
                <c:pt idx="6">
                  <c:v>221454</c:v>
                </c:pt>
                <c:pt idx="7">
                  <c:v>193408</c:v>
                </c:pt>
                <c:pt idx="8">
                  <c:v>235665</c:v>
                </c:pt>
                <c:pt idx="9">
                  <c:v>191153</c:v>
                </c:pt>
                <c:pt idx="10">
                  <c:v>234055</c:v>
                </c:pt>
                <c:pt idx="11">
                  <c:v>291802</c:v>
                </c:pt>
                <c:pt idx="12">
                  <c:v>206654</c:v>
                </c:pt>
                <c:pt idx="13">
                  <c:v>211694</c:v>
                </c:pt>
                <c:pt idx="14">
                  <c:v>22119</c:v>
                </c:pt>
                <c:pt idx="15">
                  <c:v>13587</c:v>
                </c:pt>
                <c:pt idx="16">
                  <c:v>15619</c:v>
                </c:pt>
                <c:pt idx="17">
                  <c:v>9485</c:v>
                </c:pt>
                <c:pt idx="18">
                  <c:v>38000</c:v>
                </c:pt>
                <c:pt idx="19">
                  <c:v>225292</c:v>
                </c:pt>
                <c:pt idx="20">
                  <c:v>219789</c:v>
                </c:pt>
                <c:pt idx="21">
                  <c:v>220492</c:v>
                </c:pt>
                <c:pt idx="22">
                  <c:v>244728</c:v>
                </c:pt>
                <c:pt idx="23">
                  <c:v>215148</c:v>
                </c:pt>
                <c:pt idx="24">
                  <c:v>226940</c:v>
                </c:pt>
                <c:pt idx="25">
                  <c:v>205352</c:v>
                </c:pt>
                <c:pt idx="26">
                  <c:v>198815</c:v>
                </c:pt>
                <c:pt idx="27">
                  <c:v>260952</c:v>
                </c:pt>
                <c:pt idx="28">
                  <c:v>0</c:v>
                </c:pt>
                <c:pt idx="29">
                  <c:v>0</c:v>
                </c:pt>
                <c:pt idx="30">
                  <c:v>302</c:v>
                </c:pt>
                <c:pt idx="31">
                  <c:v>183301</c:v>
                </c:pt>
                <c:pt idx="32">
                  <c:v>225514</c:v>
                </c:pt>
                <c:pt idx="33">
                  <c:v>226025</c:v>
                </c:pt>
                <c:pt idx="34">
                  <c:v>226010</c:v>
                </c:pt>
                <c:pt idx="35">
                  <c:v>780</c:v>
                </c:pt>
                <c:pt idx="36">
                  <c:v>117</c:v>
                </c:pt>
                <c:pt idx="37">
                  <c:v>51</c:v>
                </c:pt>
                <c:pt idx="38">
                  <c:v>96</c:v>
                </c:pt>
                <c:pt idx="39">
                  <c:v>9508</c:v>
                </c:pt>
                <c:pt idx="40">
                  <c:v>220771</c:v>
                </c:pt>
                <c:pt idx="41">
                  <c:v>212398</c:v>
                </c:pt>
                <c:pt idx="42">
                  <c:v>230289</c:v>
                </c:pt>
                <c:pt idx="43">
                  <c:v>247648</c:v>
                </c:pt>
                <c:pt idx="44">
                  <c:v>169548</c:v>
                </c:pt>
                <c:pt idx="45">
                  <c:v>120659</c:v>
                </c:pt>
                <c:pt idx="46">
                  <c:v>131631</c:v>
                </c:pt>
                <c:pt idx="47">
                  <c:v>157361</c:v>
                </c:pt>
                <c:pt idx="48">
                  <c:v>174275</c:v>
                </c:pt>
                <c:pt idx="49">
                  <c:v>177673</c:v>
                </c:pt>
                <c:pt idx="50">
                  <c:v>137772</c:v>
                </c:pt>
                <c:pt idx="51">
                  <c:v>157896</c:v>
                </c:pt>
                <c:pt idx="52">
                  <c:v>15818</c:v>
                </c:pt>
                <c:pt idx="53">
                  <c:v>3145</c:v>
                </c:pt>
                <c:pt idx="54">
                  <c:v>2297</c:v>
                </c:pt>
                <c:pt idx="55">
                  <c:v>3762</c:v>
                </c:pt>
                <c:pt idx="56">
                  <c:v>13365</c:v>
                </c:pt>
                <c:pt idx="57">
                  <c:v>18083</c:v>
                </c:pt>
                <c:pt idx="58">
                  <c:v>161472</c:v>
                </c:pt>
                <c:pt idx="59">
                  <c:v>147962</c:v>
                </c:pt>
                <c:pt idx="60">
                  <c:v>156460</c:v>
                </c:pt>
                <c:pt idx="61">
                  <c:v>147124</c:v>
                </c:pt>
                <c:pt idx="62">
                  <c:v>158578</c:v>
                </c:pt>
                <c:pt idx="63">
                  <c:v>182286</c:v>
                </c:pt>
                <c:pt idx="64">
                  <c:v>171706</c:v>
                </c:pt>
                <c:pt idx="65">
                  <c:v>172103</c:v>
                </c:pt>
                <c:pt idx="66">
                  <c:v>166994</c:v>
                </c:pt>
                <c:pt idx="67">
                  <c:v>172463</c:v>
                </c:pt>
                <c:pt idx="68">
                  <c:v>186980</c:v>
                </c:pt>
                <c:pt idx="69">
                  <c:v>154429</c:v>
                </c:pt>
                <c:pt idx="70">
                  <c:v>166645</c:v>
                </c:pt>
                <c:pt idx="71">
                  <c:v>0</c:v>
                </c:pt>
                <c:pt idx="72">
                  <c:v>181</c:v>
                </c:pt>
                <c:pt idx="73">
                  <c:v>633</c:v>
                </c:pt>
                <c:pt idx="74">
                  <c:v>19</c:v>
                </c:pt>
                <c:pt idx="75">
                  <c:v>24</c:v>
                </c:pt>
                <c:pt idx="76">
                  <c:v>29229</c:v>
                </c:pt>
                <c:pt idx="77">
                  <c:v>169291</c:v>
                </c:pt>
                <c:pt idx="78">
                  <c:v>162908</c:v>
                </c:pt>
                <c:pt idx="79">
                  <c:v>137342</c:v>
                </c:pt>
                <c:pt idx="80">
                  <c:v>17266</c:v>
                </c:pt>
                <c:pt idx="81">
                  <c:v>0</c:v>
                </c:pt>
                <c:pt idx="82">
                  <c:v>115</c:v>
                </c:pt>
                <c:pt idx="83">
                  <c:v>147</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85</c:f>
              <c:numCache>
                <c:formatCode>yyyy\-mm\-dd</c:formatCode>
                <c:ptCount val="84"/>
                <c:pt idx="0">
                  <c:v>44934</c:v>
                </c:pt>
                <c:pt idx="1">
                  <c:v>44941</c:v>
                </c:pt>
                <c:pt idx="2">
                  <c:v>44948</c:v>
                </c:pt>
                <c:pt idx="3">
                  <c:v>44955</c:v>
                </c:pt>
                <c:pt idx="4">
                  <c:v>44997</c:v>
                </c:pt>
                <c:pt idx="5">
                  <c:v>45004</c:v>
                </c:pt>
                <c:pt idx="6">
                  <c:v>45011</c:v>
                </c:pt>
                <c:pt idx="7">
                  <c:v>45018</c:v>
                </c:pt>
                <c:pt idx="8">
                  <c:v>45025</c:v>
                </c:pt>
                <c:pt idx="9">
                  <c:v>45032</c:v>
                </c:pt>
                <c:pt idx="10">
                  <c:v>45039</c:v>
                </c:pt>
                <c:pt idx="11">
                  <c:v>45046</c:v>
                </c:pt>
                <c:pt idx="12">
                  <c:v>45067</c:v>
                </c:pt>
                <c:pt idx="13">
                  <c:v>45074</c:v>
                </c:pt>
                <c:pt idx="14">
                  <c:v>45081</c:v>
                </c:pt>
                <c:pt idx="15">
                  <c:v>45088</c:v>
                </c:pt>
                <c:pt idx="16">
                  <c:v>45095</c:v>
                </c:pt>
                <c:pt idx="17">
                  <c:v>45102</c:v>
                </c:pt>
                <c:pt idx="18">
                  <c:v>45109</c:v>
                </c:pt>
                <c:pt idx="19">
                  <c:v>45116</c:v>
                </c:pt>
                <c:pt idx="20">
                  <c:v>45123</c:v>
                </c:pt>
                <c:pt idx="21">
                  <c:v>45165</c:v>
                </c:pt>
                <c:pt idx="22">
                  <c:v>45172</c:v>
                </c:pt>
                <c:pt idx="23">
                  <c:v>45179</c:v>
                </c:pt>
                <c:pt idx="24">
                  <c:v>45186</c:v>
                </c:pt>
                <c:pt idx="25">
                  <c:v>45221</c:v>
                </c:pt>
                <c:pt idx="26">
                  <c:v>45228</c:v>
                </c:pt>
                <c:pt idx="27">
                  <c:v>45235</c:v>
                </c:pt>
                <c:pt idx="28">
                  <c:v>45242</c:v>
                </c:pt>
                <c:pt idx="29">
                  <c:v>45249</c:v>
                </c:pt>
                <c:pt idx="30">
                  <c:v>45256</c:v>
                </c:pt>
                <c:pt idx="31">
                  <c:v>45263</c:v>
                </c:pt>
                <c:pt idx="32">
                  <c:v>45270</c:v>
                </c:pt>
                <c:pt idx="33">
                  <c:v>45277</c:v>
                </c:pt>
                <c:pt idx="34">
                  <c:v>45284</c:v>
                </c:pt>
                <c:pt idx="35">
                  <c:v>45291</c:v>
                </c:pt>
                <c:pt idx="36">
                  <c:v>45298</c:v>
                </c:pt>
                <c:pt idx="37">
                  <c:v>45305</c:v>
                </c:pt>
                <c:pt idx="38">
                  <c:v>45312</c:v>
                </c:pt>
                <c:pt idx="39">
                  <c:v>45319</c:v>
                </c:pt>
                <c:pt idx="40">
                  <c:v>45354</c:v>
                </c:pt>
                <c:pt idx="41">
                  <c:v>45361</c:v>
                </c:pt>
                <c:pt idx="42">
                  <c:v>45368</c:v>
                </c:pt>
                <c:pt idx="43">
                  <c:v>45375</c:v>
                </c:pt>
                <c:pt idx="44">
                  <c:v>45389</c:v>
                </c:pt>
                <c:pt idx="45">
                  <c:v>45396</c:v>
                </c:pt>
                <c:pt idx="46">
                  <c:v>45403</c:v>
                </c:pt>
                <c:pt idx="47">
                  <c:v>45410</c:v>
                </c:pt>
                <c:pt idx="48">
                  <c:v>45417</c:v>
                </c:pt>
                <c:pt idx="49">
                  <c:v>45424</c:v>
                </c:pt>
                <c:pt idx="50">
                  <c:v>45431</c:v>
                </c:pt>
                <c:pt idx="51">
                  <c:v>45438</c:v>
                </c:pt>
                <c:pt idx="52">
                  <c:v>45445</c:v>
                </c:pt>
                <c:pt idx="53">
                  <c:v>45452</c:v>
                </c:pt>
                <c:pt idx="54">
                  <c:v>45459</c:v>
                </c:pt>
                <c:pt idx="55">
                  <c:v>45466</c:v>
                </c:pt>
                <c:pt idx="56">
                  <c:v>45473</c:v>
                </c:pt>
                <c:pt idx="57">
                  <c:v>45480</c:v>
                </c:pt>
                <c:pt idx="58">
                  <c:v>45487</c:v>
                </c:pt>
                <c:pt idx="59">
                  <c:v>45508</c:v>
                </c:pt>
                <c:pt idx="60">
                  <c:v>45515</c:v>
                </c:pt>
                <c:pt idx="61">
                  <c:v>45522</c:v>
                </c:pt>
                <c:pt idx="62">
                  <c:v>45529</c:v>
                </c:pt>
                <c:pt idx="63">
                  <c:v>45536</c:v>
                </c:pt>
                <c:pt idx="64">
                  <c:v>45543</c:v>
                </c:pt>
                <c:pt idx="65">
                  <c:v>45550</c:v>
                </c:pt>
                <c:pt idx="66">
                  <c:v>45557</c:v>
                </c:pt>
                <c:pt idx="67">
                  <c:v>45564</c:v>
                </c:pt>
                <c:pt idx="68">
                  <c:v>45578</c:v>
                </c:pt>
                <c:pt idx="69">
                  <c:v>45585</c:v>
                </c:pt>
                <c:pt idx="70">
                  <c:v>45592</c:v>
                </c:pt>
                <c:pt idx="71">
                  <c:v>45599</c:v>
                </c:pt>
                <c:pt idx="72">
                  <c:v>45606</c:v>
                </c:pt>
                <c:pt idx="73">
                  <c:v>45613</c:v>
                </c:pt>
                <c:pt idx="74">
                  <c:v>45620</c:v>
                </c:pt>
                <c:pt idx="75">
                  <c:v>45627</c:v>
                </c:pt>
                <c:pt idx="76">
                  <c:v>45634</c:v>
                </c:pt>
                <c:pt idx="77">
                  <c:v>45641</c:v>
                </c:pt>
                <c:pt idx="78">
                  <c:v>45648</c:v>
                </c:pt>
                <c:pt idx="79">
                  <c:v>45655</c:v>
                </c:pt>
                <c:pt idx="80">
                  <c:v>45662</c:v>
                </c:pt>
                <c:pt idx="81">
                  <c:v>45669</c:v>
                </c:pt>
                <c:pt idx="82">
                  <c:v>45676</c:v>
                </c:pt>
                <c:pt idx="83">
                  <c:v>45683</c:v>
                </c:pt>
              </c:numCache>
            </c:numRef>
          </c:cat>
          <c:val>
            <c:numRef>
              <c:f>Sheet1!$D$2:$D$85</c:f>
              <c:numCache>
                <c:formatCode>General</c:formatCode>
                <c:ptCount val="84"/>
                <c:pt idx="0">
                  <c:v>245941</c:v>
                </c:pt>
                <c:pt idx="1">
                  <c:v>284909</c:v>
                </c:pt>
                <c:pt idx="2">
                  <c:v>287557</c:v>
                </c:pt>
                <c:pt idx="3">
                  <c:v>278307</c:v>
                </c:pt>
                <c:pt idx="4">
                  <c:v>304580</c:v>
                </c:pt>
                <c:pt idx="5">
                  <c:v>324842</c:v>
                </c:pt>
                <c:pt idx="6">
                  <c:v>311173</c:v>
                </c:pt>
                <c:pt idx="7">
                  <c:v>281406</c:v>
                </c:pt>
                <c:pt idx="8">
                  <c:v>313294</c:v>
                </c:pt>
                <c:pt idx="9">
                  <c:v>274940</c:v>
                </c:pt>
                <c:pt idx="10">
                  <c:v>333720</c:v>
                </c:pt>
                <c:pt idx="11">
                  <c:v>294600</c:v>
                </c:pt>
                <c:pt idx="12">
                  <c:v>276710</c:v>
                </c:pt>
                <c:pt idx="13">
                  <c:v>292283</c:v>
                </c:pt>
                <c:pt idx="14">
                  <c:v>304507</c:v>
                </c:pt>
                <c:pt idx="15">
                  <c:v>352270</c:v>
                </c:pt>
                <c:pt idx="16">
                  <c:v>357571</c:v>
                </c:pt>
                <c:pt idx="17">
                  <c:v>349364</c:v>
                </c:pt>
                <c:pt idx="18">
                  <c:v>378173</c:v>
                </c:pt>
                <c:pt idx="19">
                  <c:v>302613</c:v>
                </c:pt>
                <c:pt idx="20">
                  <c:v>285159</c:v>
                </c:pt>
                <c:pt idx="21">
                  <c:v>318273</c:v>
                </c:pt>
                <c:pt idx="22">
                  <c:v>318513</c:v>
                </c:pt>
                <c:pt idx="23">
                  <c:v>312077</c:v>
                </c:pt>
                <c:pt idx="24">
                  <c:v>290203</c:v>
                </c:pt>
                <c:pt idx="25">
                  <c:v>292427</c:v>
                </c:pt>
                <c:pt idx="26">
                  <c:v>297288</c:v>
                </c:pt>
                <c:pt idx="27">
                  <c:v>340136</c:v>
                </c:pt>
                <c:pt idx="28">
                  <c:v>347453</c:v>
                </c:pt>
                <c:pt idx="29">
                  <c:v>324416</c:v>
                </c:pt>
                <c:pt idx="30">
                  <c:v>288450</c:v>
                </c:pt>
                <c:pt idx="31">
                  <c:v>270422</c:v>
                </c:pt>
                <c:pt idx="32">
                  <c:v>293094</c:v>
                </c:pt>
                <c:pt idx="33">
                  <c:v>292186</c:v>
                </c:pt>
                <c:pt idx="34">
                  <c:v>325707</c:v>
                </c:pt>
                <c:pt idx="35">
                  <c:v>252589</c:v>
                </c:pt>
                <c:pt idx="36">
                  <c:v>322134</c:v>
                </c:pt>
                <c:pt idx="37">
                  <c:v>336284</c:v>
                </c:pt>
                <c:pt idx="38">
                  <c:v>310477</c:v>
                </c:pt>
                <c:pt idx="39">
                  <c:v>303229</c:v>
                </c:pt>
                <c:pt idx="40">
                  <c:v>297813</c:v>
                </c:pt>
                <c:pt idx="41">
                  <c:v>311658</c:v>
                </c:pt>
                <c:pt idx="42">
                  <c:v>302148</c:v>
                </c:pt>
                <c:pt idx="43">
                  <c:v>272471</c:v>
                </c:pt>
                <c:pt idx="44">
                  <c:v>253662</c:v>
                </c:pt>
                <c:pt idx="45">
                  <c:v>303727</c:v>
                </c:pt>
                <c:pt idx="46">
                  <c:v>303202</c:v>
                </c:pt>
                <c:pt idx="47">
                  <c:v>260926</c:v>
                </c:pt>
                <c:pt idx="48">
                  <c:v>228238</c:v>
                </c:pt>
                <c:pt idx="49">
                  <c:v>213714</c:v>
                </c:pt>
                <c:pt idx="50">
                  <c:v>199537</c:v>
                </c:pt>
                <c:pt idx="51">
                  <c:v>209847</c:v>
                </c:pt>
                <c:pt idx="52">
                  <c:v>209642</c:v>
                </c:pt>
                <c:pt idx="53">
                  <c:v>241292</c:v>
                </c:pt>
                <c:pt idx="54">
                  <c:v>238884</c:v>
                </c:pt>
                <c:pt idx="55">
                  <c:v>234064</c:v>
                </c:pt>
                <c:pt idx="56">
                  <c:v>241366</c:v>
                </c:pt>
                <c:pt idx="57">
                  <c:v>245574</c:v>
                </c:pt>
                <c:pt idx="58">
                  <c:v>187707</c:v>
                </c:pt>
                <c:pt idx="59">
                  <c:v>197274</c:v>
                </c:pt>
                <c:pt idx="60">
                  <c:v>212649</c:v>
                </c:pt>
                <c:pt idx="61">
                  <c:v>208814</c:v>
                </c:pt>
                <c:pt idx="62">
                  <c:v>213404</c:v>
                </c:pt>
                <c:pt idx="63">
                  <c:v>195904</c:v>
                </c:pt>
                <c:pt idx="64">
                  <c:v>186348</c:v>
                </c:pt>
                <c:pt idx="65">
                  <c:v>185541</c:v>
                </c:pt>
                <c:pt idx="66">
                  <c:v>181601</c:v>
                </c:pt>
                <c:pt idx="67">
                  <c:v>188080</c:v>
                </c:pt>
                <c:pt idx="68">
                  <c:v>187890</c:v>
                </c:pt>
                <c:pt idx="69">
                  <c:v>200949</c:v>
                </c:pt>
                <c:pt idx="70">
                  <c:v>221561</c:v>
                </c:pt>
                <c:pt idx="71">
                  <c:v>247717</c:v>
                </c:pt>
                <c:pt idx="72">
                  <c:v>259638</c:v>
                </c:pt>
                <c:pt idx="73">
                  <c:v>249169</c:v>
                </c:pt>
                <c:pt idx="74">
                  <c:v>241771</c:v>
                </c:pt>
                <c:pt idx="75">
                  <c:v>222019</c:v>
                </c:pt>
                <c:pt idx="76">
                  <c:v>219175</c:v>
                </c:pt>
                <c:pt idx="77">
                  <c:v>225803</c:v>
                </c:pt>
                <c:pt idx="78">
                  <c:v>239089</c:v>
                </c:pt>
                <c:pt idx="79">
                  <c:v>202663</c:v>
                </c:pt>
                <c:pt idx="80">
                  <c:v>218991</c:v>
                </c:pt>
                <c:pt idx="81">
                  <c:v>281643</c:v>
                </c:pt>
                <c:pt idx="82">
                  <c:v>297186</c:v>
                </c:pt>
                <c:pt idx="83">
                  <c:v>269628</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85</c:f>
              <c:numCache>
                <c:formatCode>yyyy\-mm\-dd</c:formatCode>
                <c:ptCount val="84"/>
                <c:pt idx="0">
                  <c:v>44934</c:v>
                </c:pt>
                <c:pt idx="1">
                  <c:v>44941</c:v>
                </c:pt>
                <c:pt idx="2">
                  <c:v>44948</c:v>
                </c:pt>
                <c:pt idx="3">
                  <c:v>44955</c:v>
                </c:pt>
                <c:pt idx="4">
                  <c:v>44997</c:v>
                </c:pt>
                <c:pt idx="5">
                  <c:v>45004</c:v>
                </c:pt>
                <c:pt idx="6">
                  <c:v>45011</c:v>
                </c:pt>
                <c:pt idx="7">
                  <c:v>45018</c:v>
                </c:pt>
                <c:pt idx="8">
                  <c:v>45025</c:v>
                </c:pt>
                <c:pt idx="9">
                  <c:v>45032</c:v>
                </c:pt>
                <c:pt idx="10">
                  <c:v>45039</c:v>
                </c:pt>
                <c:pt idx="11">
                  <c:v>45046</c:v>
                </c:pt>
                <c:pt idx="12">
                  <c:v>45067</c:v>
                </c:pt>
                <c:pt idx="13">
                  <c:v>45074</c:v>
                </c:pt>
                <c:pt idx="14">
                  <c:v>45081</c:v>
                </c:pt>
                <c:pt idx="15">
                  <c:v>45088</c:v>
                </c:pt>
                <c:pt idx="16">
                  <c:v>45095</c:v>
                </c:pt>
                <c:pt idx="17">
                  <c:v>45102</c:v>
                </c:pt>
                <c:pt idx="18">
                  <c:v>45109</c:v>
                </c:pt>
                <c:pt idx="19">
                  <c:v>45116</c:v>
                </c:pt>
                <c:pt idx="20">
                  <c:v>45123</c:v>
                </c:pt>
                <c:pt idx="21">
                  <c:v>45165</c:v>
                </c:pt>
                <c:pt idx="22">
                  <c:v>45172</c:v>
                </c:pt>
                <c:pt idx="23">
                  <c:v>45179</c:v>
                </c:pt>
                <c:pt idx="24">
                  <c:v>45186</c:v>
                </c:pt>
                <c:pt idx="25">
                  <c:v>45221</c:v>
                </c:pt>
                <c:pt idx="26">
                  <c:v>45228</c:v>
                </c:pt>
                <c:pt idx="27">
                  <c:v>45235</c:v>
                </c:pt>
                <c:pt idx="28">
                  <c:v>45242</c:v>
                </c:pt>
                <c:pt idx="29">
                  <c:v>45249</c:v>
                </c:pt>
                <c:pt idx="30">
                  <c:v>45256</c:v>
                </c:pt>
                <c:pt idx="31">
                  <c:v>45263</c:v>
                </c:pt>
                <c:pt idx="32">
                  <c:v>45270</c:v>
                </c:pt>
                <c:pt idx="33">
                  <c:v>45277</c:v>
                </c:pt>
                <c:pt idx="34">
                  <c:v>45284</c:v>
                </c:pt>
                <c:pt idx="35">
                  <c:v>45291</c:v>
                </c:pt>
                <c:pt idx="36">
                  <c:v>45298</c:v>
                </c:pt>
                <c:pt idx="37">
                  <c:v>45305</c:v>
                </c:pt>
                <c:pt idx="38">
                  <c:v>45312</c:v>
                </c:pt>
                <c:pt idx="39">
                  <c:v>45319</c:v>
                </c:pt>
                <c:pt idx="40">
                  <c:v>45354</c:v>
                </c:pt>
                <c:pt idx="41">
                  <c:v>45361</c:v>
                </c:pt>
                <c:pt idx="42">
                  <c:v>45368</c:v>
                </c:pt>
                <c:pt idx="43">
                  <c:v>45375</c:v>
                </c:pt>
                <c:pt idx="44">
                  <c:v>45389</c:v>
                </c:pt>
                <c:pt idx="45">
                  <c:v>45396</c:v>
                </c:pt>
                <c:pt idx="46">
                  <c:v>45403</c:v>
                </c:pt>
                <c:pt idx="47">
                  <c:v>45410</c:v>
                </c:pt>
                <c:pt idx="48">
                  <c:v>45417</c:v>
                </c:pt>
                <c:pt idx="49">
                  <c:v>45424</c:v>
                </c:pt>
                <c:pt idx="50">
                  <c:v>45431</c:v>
                </c:pt>
                <c:pt idx="51">
                  <c:v>45438</c:v>
                </c:pt>
                <c:pt idx="52">
                  <c:v>45445</c:v>
                </c:pt>
                <c:pt idx="53">
                  <c:v>45452</c:v>
                </c:pt>
                <c:pt idx="54">
                  <c:v>45459</c:v>
                </c:pt>
                <c:pt idx="55">
                  <c:v>45466</c:v>
                </c:pt>
                <c:pt idx="56">
                  <c:v>45473</c:v>
                </c:pt>
                <c:pt idx="57">
                  <c:v>45480</c:v>
                </c:pt>
                <c:pt idx="58">
                  <c:v>45487</c:v>
                </c:pt>
                <c:pt idx="59">
                  <c:v>45508</c:v>
                </c:pt>
                <c:pt idx="60">
                  <c:v>45515</c:v>
                </c:pt>
                <c:pt idx="61">
                  <c:v>45522</c:v>
                </c:pt>
                <c:pt idx="62">
                  <c:v>45529</c:v>
                </c:pt>
                <c:pt idx="63">
                  <c:v>45536</c:v>
                </c:pt>
                <c:pt idx="64">
                  <c:v>45543</c:v>
                </c:pt>
                <c:pt idx="65">
                  <c:v>45550</c:v>
                </c:pt>
                <c:pt idx="66">
                  <c:v>45557</c:v>
                </c:pt>
                <c:pt idx="67">
                  <c:v>45564</c:v>
                </c:pt>
                <c:pt idx="68">
                  <c:v>45578</c:v>
                </c:pt>
                <c:pt idx="69">
                  <c:v>45585</c:v>
                </c:pt>
                <c:pt idx="70">
                  <c:v>45592</c:v>
                </c:pt>
                <c:pt idx="71">
                  <c:v>45599</c:v>
                </c:pt>
                <c:pt idx="72">
                  <c:v>45606</c:v>
                </c:pt>
                <c:pt idx="73">
                  <c:v>45613</c:v>
                </c:pt>
                <c:pt idx="74">
                  <c:v>45620</c:v>
                </c:pt>
                <c:pt idx="75">
                  <c:v>45627</c:v>
                </c:pt>
                <c:pt idx="76">
                  <c:v>45634</c:v>
                </c:pt>
                <c:pt idx="77">
                  <c:v>45641</c:v>
                </c:pt>
                <c:pt idx="78">
                  <c:v>45648</c:v>
                </c:pt>
                <c:pt idx="79">
                  <c:v>45655</c:v>
                </c:pt>
                <c:pt idx="80">
                  <c:v>45662</c:v>
                </c:pt>
                <c:pt idx="81">
                  <c:v>45669</c:v>
                </c:pt>
                <c:pt idx="82">
                  <c:v>45676</c:v>
                </c:pt>
                <c:pt idx="83">
                  <c:v>45683</c:v>
                </c:pt>
              </c:numCache>
            </c:numRef>
          </c:cat>
          <c:val>
            <c:numRef>
              <c:f>Sheet1!$E$2:$E$85</c:f>
              <c:numCache>
                <c:formatCode>General</c:formatCode>
                <c:ptCount val="84"/>
                <c:pt idx="0">
                  <c:v>273061</c:v>
                </c:pt>
                <c:pt idx="1">
                  <c:v>272544</c:v>
                </c:pt>
                <c:pt idx="2">
                  <c:v>271452</c:v>
                </c:pt>
                <c:pt idx="3">
                  <c:v>267374</c:v>
                </c:pt>
                <c:pt idx="4">
                  <c:v>276001</c:v>
                </c:pt>
                <c:pt idx="5">
                  <c:v>277482</c:v>
                </c:pt>
                <c:pt idx="6">
                  <c:v>275479</c:v>
                </c:pt>
                <c:pt idx="7">
                  <c:v>273403</c:v>
                </c:pt>
                <c:pt idx="8">
                  <c:v>293781</c:v>
                </c:pt>
                <c:pt idx="9">
                  <c:v>286800</c:v>
                </c:pt>
                <c:pt idx="10">
                  <c:v>281856</c:v>
                </c:pt>
                <c:pt idx="11">
                  <c:v>279698</c:v>
                </c:pt>
                <c:pt idx="12">
                  <c:v>280268</c:v>
                </c:pt>
                <c:pt idx="13">
                  <c:v>278355</c:v>
                </c:pt>
                <c:pt idx="14">
                  <c:v>272674</c:v>
                </c:pt>
                <c:pt idx="15">
                  <c:v>267175</c:v>
                </c:pt>
                <c:pt idx="16">
                  <c:v>272538</c:v>
                </c:pt>
                <c:pt idx="17">
                  <c:v>269708</c:v>
                </c:pt>
                <c:pt idx="18">
                  <c:v>279142</c:v>
                </c:pt>
                <c:pt idx="19">
                  <c:v>275873</c:v>
                </c:pt>
                <c:pt idx="20">
                  <c:v>278644</c:v>
                </c:pt>
                <c:pt idx="21">
                  <c:v>280802</c:v>
                </c:pt>
                <c:pt idx="22">
                  <c:v>280992</c:v>
                </c:pt>
                <c:pt idx="23">
                  <c:v>279993</c:v>
                </c:pt>
                <c:pt idx="24">
                  <c:v>280225</c:v>
                </c:pt>
                <c:pt idx="25">
                  <c:v>284582</c:v>
                </c:pt>
                <c:pt idx="26">
                  <c:v>288263</c:v>
                </c:pt>
                <c:pt idx="27">
                  <c:v>289689</c:v>
                </c:pt>
                <c:pt idx="28">
                  <c:v>286103</c:v>
                </c:pt>
                <c:pt idx="29">
                  <c:v>286457</c:v>
                </c:pt>
                <c:pt idx="30">
                  <c:v>283815</c:v>
                </c:pt>
                <c:pt idx="31">
                  <c:v>287810</c:v>
                </c:pt>
                <c:pt idx="32">
                  <c:v>282205</c:v>
                </c:pt>
                <c:pt idx="33">
                  <c:v>282066</c:v>
                </c:pt>
                <c:pt idx="34">
                  <c:v>282917</c:v>
                </c:pt>
                <c:pt idx="35">
                  <c:v>276095</c:v>
                </c:pt>
                <c:pt idx="36">
                  <c:v>283033</c:v>
                </c:pt>
                <c:pt idx="37">
                  <c:v>289568</c:v>
                </c:pt>
                <c:pt idx="38">
                  <c:v>277803</c:v>
                </c:pt>
                <c:pt idx="39">
                  <c:v>255136</c:v>
                </c:pt>
                <c:pt idx="40">
                  <c:v>276367</c:v>
                </c:pt>
                <c:pt idx="41">
                  <c:v>271915</c:v>
                </c:pt>
                <c:pt idx="42">
                  <c:v>269094</c:v>
                </c:pt>
                <c:pt idx="43">
                  <c:v>271550</c:v>
                </c:pt>
                <c:pt idx="44">
                  <c:v>264076</c:v>
                </c:pt>
                <c:pt idx="45">
                  <c:v>255558</c:v>
                </c:pt>
                <c:pt idx="46">
                  <c:v>247035</c:v>
                </c:pt>
                <c:pt idx="47">
                  <c:v>239011</c:v>
                </c:pt>
                <c:pt idx="48">
                  <c:v>231578</c:v>
                </c:pt>
                <c:pt idx="49">
                  <c:v>227447</c:v>
                </c:pt>
                <c:pt idx="50">
                  <c:v>219789</c:v>
                </c:pt>
                <c:pt idx="51">
                  <c:v>214212</c:v>
                </c:pt>
                <c:pt idx="52">
                  <c:v>211206</c:v>
                </c:pt>
                <c:pt idx="53">
                  <c:v>205213</c:v>
                </c:pt>
                <c:pt idx="54">
                  <c:v>199412</c:v>
                </c:pt>
                <c:pt idx="55">
                  <c:v>196266</c:v>
                </c:pt>
                <c:pt idx="56">
                  <c:v>182240</c:v>
                </c:pt>
                <c:pt idx="57">
                  <c:v>183931</c:v>
                </c:pt>
                <c:pt idx="58">
                  <c:v>185071</c:v>
                </c:pt>
                <c:pt idx="59">
                  <c:v>187572</c:v>
                </c:pt>
                <c:pt idx="60">
                  <c:v>191872</c:v>
                </c:pt>
                <c:pt idx="61">
                  <c:v>191294</c:v>
                </c:pt>
                <c:pt idx="62">
                  <c:v>192601</c:v>
                </c:pt>
                <c:pt idx="63">
                  <c:v>190990</c:v>
                </c:pt>
                <c:pt idx="64">
                  <c:v>191698</c:v>
                </c:pt>
                <c:pt idx="65">
                  <c:v>197462</c:v>
                </c:pt>
                <c:pt idx="66">
                  <c:v>197582</c:v>
                </c:pt>
                <c:pt idx="67">
                  <c:v>196351</c:v>
                </c:pt>
                <c:pt idx="68">
                  <c:v>201608</c:v>
                </c:pt>
                <c:pt idx="69">
                  <c:v>202387</c:v>
                </c:pt>
                <c:pt idx="70">
                  <c:v>205115</c:v>
                </c:pt>
                <c:pt idx="71">
                  <c:v>210108</c:v>
                </c:pt>
                <c:pt idx="72">
                  <c:v>191349</c:v>
                </c:pt>
                <c:pt idx="73">
                  <c:v>192860</c:v>
                </c:pt>
                <c:pt idx="74">
                  <c:v>204034</c:v>
                </c:pt>
                <c:pt idx="75">
                  <c:v>212856</c:v>
                </c:pt>
                <c:pt idx="76">
                  <c:v>204172</c:v>
                </c:pt>
                <c:pt idx="77">
                  <c:v>203796</c:v>
                </c:pt>
                <c:pt idx="78">
                  <c:v>205121</c:v>
                </c:pt>
                <c:pt idx="79">
                  <c:v>204556</c:v>
                </c:pt>
                <c:pt idx="80">
                  <c:v>201373</c:v>
                </c:pt>
                <c:pt idx="81">
                  <c:v>201270</c:v>
                </c:pt>
                <c:pt idx="82">
                  <c:v>204364</c:v>
                </c:pt>
                <c:pt idx="83">
                  <c:v>18931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85</c:f>
              <c:numCache>
                <c:formatCode>yyyy\-mm\-dd</c:formatCode>
                <c:ptCount val="84"/>
                <c:pt idx="0">
                  <c:v>44934</c:v>
                </c:pt>
                <c:pt idx="1">
                  <c:v>44941</c:v>
                </c:pt>
                <c:pt idx="2">
                  <c:v>44948</c:v>
                </c:pt>
                <c:pt idx="3">
                  <c:v>44955</c:v>
                </c:pt>
                <c:pt idx="4">
                  <c:v>44997</c:v>
                </c:pt>
                <c:pt idx="5">
                  <c:v>45004</c:v>
                </c:pt>
                <c:pt idx="6">
                  <c:v>45011</c:v>
                </c:pt>
                <c:pt idx="7">
                  <c:v>45018</c:v>
                </c:pt>
                <c:pt idx="8">
                  <c:v>45025</c:v>
                </c:pt>
                <c:pt idx="9">
                  <c:v>45032</c:v>
                </c:pt>
                <c:pt idx="10">
                  <c:v>45039</c:v>
                </c:pt>
                <c:pt idx="11">
                  <c:v>45046</c:v>
                </c:pt>
                <c:pt idx="12">
                  <c:v>45067</c:v>
                </c:pt>
                <c:pt idx="13">
                  <c:v>45074</c:v>
                </c:pt>
                <c:pt idx="14">
                  <c:v>45081</c:v>
                </c:pt>
                <c:pt idx="15">
                  <c:v>45088</c:v>
                </c:pt>
                <c:pt idx="16">
                  <c:v>45095</c:v>
                </c:pt>
                <c:pt idx="17">
                  <c:v>45102</c:v>
                </c:pt>
                <c:pt idx="18">
                  <c:v>45109</c:v>
                </c:pt>
                <c:pt idx="19">
                  <c:v>45116</c:v>
                </c:pt>
                <c:pt idx="20">
                  <c:v>45123</c:v>
                </c:pt>
                <c:pt idx="21">
                  <c:v>45165</c:v>
                </c:pt>
                <c:pt idx="22">
                  <c:v>45172</c:v>
                </c:pt>
                <c:pt idx="23">
                  <c:v>45179</c:v>
                </c:pt>
                <c:pt idx="24">
                  <c:v>45186</c:v>
                </c:pt>
                <c:pt idx="25">
                  <c:v>45221</c:v>
                </c:pt>
                <c:pt idx="26">
                  <c:v>45228</c:v>
                </c:pt>
                <c:pt idx="27">
                  <c:v>45235</c:v>
                </c:pt>
                <c:pt idx="28">
                  <c:v>45242</c:v>
                </c:pt>
                <c:pt idx="29">
                  <c:v>45249</c:v>
                </c:pt>
                <c:pt idx="30">
                  <c:v>45256</c:v>
                </c:pt>
                <c:pt idx="31">
                  <c:v>45263</c:v>
                </c:pt>
                <c:pt idx="32">
                  <c:v>45270</c:v>
                </c:pt>
                <c:pt idx="33">
                  <c:v>45277</c:v>
                </c:pt>
                <c:pt idx="34">
                  <c:v>45284</c:v>
                </c:pt>
                <c:pt idx="35">
                  <c:v>45291</c:v>
                </c:pt>
                <c:pt idx="36">
                  <c:v>45298</c:v>
                </c:pt>
                <c:pt idx="37">
                  <c:v>45305</c:v>
                </c:pt>
                <c:pt idx="38">
                  <c:v>45312</c:v>
                </c:pt>
                <c:pt idx="39">
                  <c:v>45319</c:v>
                </c:pt>
                <c:pt idx="40">
                  <c:v>45354</c:v>
                </c:pt>
                <c:pt idx="41">
                  <c:v>45361</c:v>
                </c:pt>
                <c:pt idx="42">
                  <c:v>45368</c:v>
                </c:pt>
                <c:pt idx="43">
                  <c:v>45375</c:v>
                </c:pt>
                <c:pt idx="44">
                  <c:v>45389</c:v>
                </c:pt>
                <c:pt idx="45">
                  <c:v>45396</c:v>
                </c:pt>
                <c:pt idx="46">
                  <c:v>45403</c:v>
                </c:pt>
                <c:pt idx="47">
                  <c:v>45410</c:v>
                </c:pt>
                <c:pt idx="48">
                  <c:v>45417</c:v>
                </c:pt>
                <c:pt idx="49">
                  <c:v>45424</c:v>
                </c:pt>
                <c:pt idx="50">
                  <c:v>45431</c:v>
                </c:pt>
                <c:pt idx="51">
                  <c:v>45438</c:v>
                </c:pt>
                <c:pt idx="52">
                  <c:v>45445</c:v>
                </c:pt>
                <c:pt idx="53">
                  <c:v>45452</c:v>
                </c:pt>
                <c:pt idx="54">
                  <c:v>45459</c:v>
                </c:pt>
                <c:pt idx="55">
                  <c:v>45466</c:v>
                </c:pt>
                <c:pt idx="56">
                  <c:v>45473</c:v>
                </c:pt>
                <c:pt idx="57">
                  <c:v>45480</c:v>
                </c:pt>
                <c:pt idx="58">
                  <c:v>45487</c:v>
                </c:pt>
                <c:pt idx="59">
                  <c:v>45508</c:v>
                </c:pt>
                <c:pt idx="60">
                  <c:v>45515</c:v>
                </c:pt>
                <c:pt idx="61">
                  <c:v>45522</c:v>
                </c:pt>
                <c:pt idx="62">
                  <c:v>45529</c:v>
                </c:pt>
                <c:pt idx="63">
                  <c:v>45536</c:v>
                </c:pt>
                <c:pt idx="64">
                  <c:v>45543</c:v>
                </c:pt>
                <c:pt idx="65">
                  <c:v>45550</c:v>
                </c:pt>
                <c:pt idx="66">
                  <c:v>45557</c:v>
                </c:pt>
                <c:pt idx="67">
                  <c:v>45564</c:v>
                </c:pt>
                <c:pt idx="68">
                  <c:v>45578</c:v>
                </c:pt>
                <c:pt idx="69">
                  <c:v>45585</c:v>
                </c:pt>
                <c:pt idx="70">
                  <c:v>45592</c:v>
                </c:pt>
                <c:pt idx="71">
                  <c:v>45599</c:v>
                </c:pt>
                <c:pt idx="72">
                  <c:v>45606</c:v>
                </c:pt>
                <c:pt idx="73">
                  <c:v>45613</c:v>
                </c:pt>
                <c:pt idx="74">
                  <c:v>45620</c:v>
                </c:pt>
                <c:pt idx="75">
                  <c:v>45627</c:v>
                </c:pt>
                <c:pt idx="76">
                  <c:v>45634</c:v>
                </c:pt>
                <c:pt idx="77">
                  <c:v>45641</c:v>
                </c:pt>
                <c:pt idx="78">
                  <c:v>45648</c:v>
                </c:pt>
                <c:pt idx="79">
                  <c:v>45655</c:v>
                </c:pt>
                <c:pt idx="80">
                  <c:v>45662</c:v>
                </c:pt>
                <c:pt idx="81">
                  <c:v>45669</c:v>
                </c:pt>
                <c:pt idx="82">
                  <c:v>45676</c:v>
                </c:pt>
                <c:pt idx="83">
                  <c:v>45683</c:v>
                </c:pt>
              </c:numCache>
            </c:numRef>
          </c:cat>
          <c:val>
            <c:numRef>
              <c:f>Sheet1!$F$2:$F$85</c:f>
              <c:numCache>
                <c:formatCode>General</c:formatCode>
                <c:ptCount val="84"/>
                <c:pt idx="0">
                  <c:v>0.34</c:v>
                </c:pt>
                <c:pt idx="1">
                  <c:v>0.14000000000000001</c:v>
                </c:pt>
                <c:pt idx="2">
                  <c:v>0.12</c:v>
                </c:pt>
                <c:pt idx="3">
                  <c:v>0.3</c:v>
                </c:pt>
                <c:pt idx="4">
                  <c:v>0.28999999999999998</c:v>
                </c:pt>
                <c:pt idx="5">
                  <c:v>0.41</c:v>
                </c:pt>
                <c:pt idx="6">
                  <c:v>0.35</c:v>
                </c:pt>
                <c:pt idx="7">
                  <c:v>0.35</c:v>
                </c:pt>
                <c:pt idx="8">
                  <c:v>0.28000000000000003</c:v>
                </c:pt>
                <c:pt idx="9">
                  <c:v>0.34</c:v>
                </c:pt>
                <c:pt idx="10">
                  <c:v>0.34</c:v>
                </c:pt>
                <c:pt idx="11">
                  <c:v>0.01</c:v>
                </c:pt>
                <c:pt idx="12">
                  <c:v>0.3</c:v>
                </c:pt>
                <c:pt idx="13">
                  <c:v>0.33</c:v>
                </c:pt>
                <c:pt idx="14">
                  <c:v>0.93</c:v>
                </c:pt>
                <c:pt idx="15">
                  <c:v>0.97</c:v>
                </c:pt>
                <c:pt idx="16">
                  <c:v>0.96</c:v>
                </c:pt>
                <c:pt idx="17">
                  <c:v>0.98</c:v>
                </c:pt>
                <c:pt idx="18">
                  <c:v>0.9</c:v>
                </c:pt>
                <c:pt idx="19">
                  <c:v>0.27</c:v>
                </c:pt>
                <c:pt idx="20">
                  <c:v>0.23</c:v>
                </c:pt>
                <c:pt idx="21">
                  <c:v>0.32</c:v>
                </c:pt>
                <c:pt idx="22">
                  <c:v>0.24</c:v>
                </c:pt>
                <c:pt idx="23">
                  <c:v>0.32</c:v>
                </c:pt>
                <c:pt idx="24">
                  <c:v>0.23</c:v>
                </c:pt>
                <c:pt idx="25">
                  <c:v>0.3</c:v>
                </c:pt>
                <c:pt idx="26">
                  <c:v>0.36</c:v>
                </c:pt>
                <c:pt idx="27">
                  <c:v>0.25</c:v>
                </c:pt>
                <c:pt idx="28">
                  <c:v>1</c:v>
                </c:pt>
                <c:pt idx="29">
                  <c:v>1</c:v>
                </c:pt>
                <c:pt idx="30">
                  <c:v>1</c:v>
                </c:pt>
                <c:pt idx="31">
                  <c:v>0.34</c:v>
                </c:pt>
                <c:pt idx="32">
                  <c:v>0.25</c:v>
                </c:pt>
                <c:pt idx="33">
                  <c:v>0.24</c:v>
                </c:pt>
                <c:pt idx="34">
                  <c:v>0.32</c:v>
                </c:pt>
                <c:pt idx="35">
                  <c:v>1</c:v>
                </c:pt>
                <c:pt idx="36">
                  <c:v>1</c:v>
                </c:pt>
                <c:pt idx="37">
                  <c:v>1</c:v>
                </c:pt>
                <c:pt idx="38">
                  <c:v>1</c:v>
                </c:pt>
                <c:pt idx="39">
                  <c:v>0.97</c:v>
                </c:pt>
                <c:pt idx="40">
                  <c:v>0.26</c:v>
                </c:pt>
                <c:pt idx="41">
                  <c:v>0.31</c:v>
                </c:pt>
                <c:pt idx="42">
                  <c:v>0.23</c:v>
                </c:pt>
                <c:pt idx="43">
                  <c:v>0.1</c:v>
                </c:pt>
                <c:pt idx="44">
                  <c:v>0.34</c:v>
                </c:pt>
                <c:pt idx="45">
                  <c:v>0.62</c:v>
                </c:pt>
                <c:pt idx="46">
                  <c:v>0.59</c:v>
                </c:pt>
                <c:pt idx="47">
                  <c:v>0.4</c:v>
                </c:pt>
                <c:pt idx="48">
                  <c:v>0.24</c:v>
                </c:pt>
                <c:pt idx="49">
                  <c:v>0.18</c:v>
                </c:pt>
                <c:pt idx="50">
                  <c:v>0.32</c:v>
                </c:pt>
                <c:pt idx="51">
                  <c:v>0.26</c:v>
                </c:pt>
                <c:pt idx="52">
                  <c:v>0.93</c:v>
                </c:pt>
                <c:pt idx="53">
                  <c:v>0.99</c:v>
                </c:pt>
                <c:pt idx="54">
                  <c:v>0.99</c:v>
                </c:pt>
                <c:pt idx="55">
                  <c:v>0.99</c:v>
                </c:pt>
                <c:pt idx="56">
                  <c:v>0.95</c:v>
                </c:pt>
                <c:pt idx="57">
                  <c:v>0.93</c:v>
                </c:pt>
                <c:pt idx="58">
                  <c:v>0.14000000000000001</c:v>
                </c:pt>
                <c:pt idx="59">
                  <c:v>0.26</c:v>
                </c:pt>
                <c:pt idx="60">
                  <c:v>0.28000000000000003</c:v>
                </c:pt>
                <c:pt idx="61">
                  <c:v>0.34</c:v>
                </c:pt>
                <c:pt idx="62">
                  <c:v>0.28000000000000003</c:v>
                </c:pt>
                <c:pt idx="63">
                  <c:v>7.0000000000000007E-2</c:v>
                </c:pt>
                <c:pt idx="64">
                  <c:v>0.08</c:v>
                </c:pt>
                <c:pt idx="65">
                  <c:v>7.0000000000000007E-2</c:v>
                </c:pt>
                <c:pt idx="66">
                  <c:v>0.08</c:v>
                </c:pt>
                <c:pt idx="67">
                  <c:v>0.08</c:v>
                </c:pt>
                <c:pt idx="68">
                  <c:v>0</c:v>
                </c:pt>
                <c:pt idx="69">
                  <c:v>0.26</c:v>
                </c:pt>
                <c:pt idx="70">
                  <c:v>0.28999999999999998</c:v>
                </c:pt>
                <c:pt idx="71">
                  <c:v>1</c:v>
                </c:pt>
                <c:pt idx="72">
                  <c:v>1</c:v>
                </c:pt>
                <c:pt idx="73">
                  <c:v>1</c:v>
                </c:pt>
                <c:pt idx="74">
                  <c:v>1</c:v>
                </c:pt>
                <c:pt idx="75">
                  <c:v>1</c:v>
                </c:pt>
                <c:pt idx="76">
                  <c:v>0.87</c:v>
                </c:pt>
                <c:pt idx="77">
                  <c:v>0.26</c:v>
                </c:pt>
                <c:pt idx="78">
                  <c:v>0.34</c:v>
                </c:pt>
                <c:pt idx="79">
                  <c:v>0.36</c:v>
                </c:pt>
                <c:pt idx="80">
                  <c:v>0.93</c:v>
                </c:pt>
                <c:pt idx="81">
                  <c:v>1</c:v>
                </c:pt>
                <c:pt idx="82">
                  <c:v>1</c:v>
                </c:pt>
                <c:pt idx="83">
                  <c:v>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73</c:f>
              <c:numCache>
                <c:formatCode>yyyy\-mm\-dd</c:formatCode>
                <c:ptCount val="72"/>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51</c:v>
                </c:pt>
                <c:pt idx="27">
                  <c:v>45158</c:v>
                </c:pt>
                <c:pt idx="28">
                  <c:v>45165</c:v>
                </c:pt>
                <c:pt idx="29">
                  <c:v>45172</c:v>
                </c:pt>
                <c:pt idx="30">
                  <c:v>45179</c:v>
                </c:pt>
                <c:pt idx="31">
                  <c:v>45186</c:v>
                </c:pt>
                <c:pt idx="32">
                  <c:v>45193</c:v>
                </c:pt>
                <c:pt idx="33">
                  <c:v>45200</c:v>
                </c:pt>
                <c:pt idx="34">
                  <c:v>45207</c:v>
                </c:pt>
                <c:pt idx="35">
                  <c:v>45214</c:v>
                </c:pt>
                <c:pt idx="36">
                  <c:v>45221</c:v>
                </c:pt>
                <c:pt idx="37">
                  <c:v>45228</c:v>
                </c:pt>
                <c:pt idx="38">
                  <c:v>45235</c:v>
                </c:pt>
                <c:pt idx="39">
                  <c:v>45242</c:v>
                </c:pt>
                <c:pt idx="40">
                  <c:v>45249</c:v>
                </c:pt>
                <c:pt idx="41">
                  <c:v>45256</c:v>
                </c:pt>
                <c:pt idx="42">
                  <c:v>45263</c:v>
                </c:pt>
                <c:pt idx="43">
                  <c:v>45270</c:v>
                </c:pt>
                <c:pt idx="44">
                  <c:v>45277</c:v>
                </c:pt>
                <c:pt idx="45">
                  <c:v>45284</c:v>
                </c:pt>
                <c:pt idx="46">
                  <c:v>45291</c:v>
                </c:pt>
                <c:pt idx="47">
                  <c:v>45298</c:v>
                </c:pt>
                <c:pt idx="48">
                  <c:v>45305</c:v>
                </c:pt>
                <c:pt idx="49">
                  <c:v>45312</c:v>
                </c:pt>
                <c:pt idx="50">
                  <c:v>45319</c:v>
                </c:pt>
                <c:pt idx="51">
                  <c:v>45326</c:v>
                </c:pt>
                <c:pt idx="52">
                  <c:v>45340</c:v>
                </c:pt>
                <c:pt idx="53">
                  <c:v>45347</c:v>
                </c:pt>
                <c:pt idx="54">
                  <c:v>45354</c:v>
                </c:pt>
                <c:pt idx="55">
                  <c:v>45368</c:v>
                </c:pt>
                <c:pt idx="56">
                  <c:v>45375</c:v>
                </c:pt>
                <c:pt idx="57">
                  <c:v>45522</c:v>
                </c:pt>
                <c:pt idx="58">
                  <c:v>45578</c:v>
                </c:pt>
                <c:pt idx="59">
                  <c:v>45585</c:v>
                </c:pt>
                <c:pt idx="60">
                  <c:v>45592</c:v>
                </c:pt>
                <c:pt idx="61">
                  <c:v>45599</c:v>
                </c:pt>
                <c:pt idx="62">
                  <c:v>45606</c:v>
                </c:pt>
                <c:pt idx="63">
                  <c:v>45613</c:v>
                </c:pt>
                <c:pt idx="64">
                  <c:v>45620</c:v>
                </c:pt>
                <c:pt idx="65">
                  <c:v>45627</c:v>
                </c:pt>
                <c:pt idx="66">
                  <c:v>45634</c:v>
                </c:pt>
                <c:pt idx="67">
                  <c:v>45641</c:v>
                </c:pt>
                <c:pt idx="68">
                  <c:v>45648</c:v>
                </c:pt>
                <c:pt idx="69">
                  <c:v>45655</c:v>
                </c:pt>
                <c:pt idx="70">
                  <c:v>45662</c:v>
                </c:pt>
                <c:pt idx="71">
                  <c:v>45669</c:v>
                </c:pt>
              </c:numCache>
            </c:numRef>
          </c:cat>
          <c:val>
            <c:numRef>
              <c:f>Sheet1!$B$2:$B$73</c:f>
              <c:numCache>
                <c:formatCode>General</c:formatCode>
                <c:ptCount val="72"/>
                <c:pt idx="0">
                  <c:v>42628</c:v>
                </c:pt>
                <c:pt idx="1">
                  <c:v>32802</c:v>
                </c:pt>
                <c:pt idx="2">
                  <c:v>27256</c:v>
                </c:pt>
                <c:pt idx="3">
                  <c:v>20787</c:v>
                </c:pt>
                <c:pt idx="4">
                  <c:v>20825</c:v>
                </c:pt>
                <c:pt idx="5">
                  <c:v>26522</c:v>
                </c:pt>
                <c:pt idx="6">
                  <c:v>30015</c:v>
                </c:pt>
                <c:pt idx="7">
                  <c:v>67174</c:v>
                </c:pt>
                <c:pt idx="8">
                  <c:v>55893</c:v>
                </c:pt>
                <c:pt idx="9">
                  <c:v>55685</c:v>
                </c:pt>
                <c:pt idx="10">
                  <c:v>54379</c:v>
                </c:pt>
                <c:pt idx="11">
                  <c:v>73708</c:v>
                </c:pt>
                <c:pt idx="12">
                  <c:v>1975</c:v>
                </c:pt>
                <c:pt idx="13">
                  <c:v>38234</c:v>
                </c:pt>
                <c:pt idx="14">
                  <c:v>59833</c:v>
                </c:pt>
                <c:pt idx="15">
                  <c:v>61077</c:v>
                </c:pt>
                <c:pt idx="16">
                  <c:v>9754</c:v>
                </c:pt>
                <c:pt idx="17">
                  <c:v>2816</c:v>
                </c:pt>
                <c:pt idx="18">
                  <c:v>2775</c:v>
                </c:pt>
                <c:pt idx="19">
                  <c:v>1705</c:v>
                </c:pt>
                <c:pt idx="20">
                  <c:v>1369</c:v>
                </c:pt>
                <c:pt idx="21">
                  <c:v>2180</c:v>
                </c:pt>
                <c:pt idx="22">
                  <c:v>2125</c:v>
                </c:pt>
                <c:pt idx="23">
                  <c:v>803</c:v>
                </c:pt>
                <c:pt idx="24">
                  <c:v>2754</c:v>
                </c:pt>
                <c:pt idx="25">
                  <c:v>3679</c:v>
                </c:pt>
                <c:pt idx="26">
                  <c:v>159967</c:v>
                </c:pt>
                <c:pt idx="27">
                  <c:v>383878</c:v>
                </c:pt>
                <c:pt idx="28">
                  <c:v>385926</c:v>
                </c:pt>
                <c:pt idx="29">
                  <c:v>387201</c:v>
                </c:pt>
                <c:pt idx="30">
                  <c:v>387973</c:v>
                </c:pt>
                <c:pt idx="31">
                  <c:v>369603</c:v>
                </c:pt>
                <c:pt idx="32">
                  <c:v>362386</c:v>
                </c:pt>
                <c:pt idx="33">
                  <c:v>354421</c:v>
                </c:pt>
                <c:pt idx="34">
                  <c:v>376092</c:v>
                </c:pt>
                <c:pt idx="35">
                  <c:v>387460</c:v>
                </c:pt>
                <c:pt idx="36">
                  <c:v>379727</c:v>
                </c:pt>
                <c:pt idx="37">
                  <c:v>360804</c:v>
                </c:pt>
                <c:pt idx="38">
                  <c:v>36320</c:v>
                </c:pt>
                <c:pt idx="39">
                  <c:v>43639</c:v>
                </c:pt>
                <c:pt idx="40">
                  <c:v>55831</c:v>
                </c:pt>
                <c:pt idx="41">
                  <c:v>83752</c:v>
                </c:pt>
                <c:pt idx="42">
                  <c:v>101123</c:v>
                </c:pt>
                <c:pt idx="43">
                  <c:v>170843</c:v>
                </c:pt>
                <c:pt idx="44">
                  <c:v>161549</c:v>
                </c:pt>
                <c:pt idx="45">
                  <c:v>277060</c:v>
                </c:pt>
                <c:pt idx="46">
                  <c:v>318873</c:v>
                </c:pt>
                <c:pt idx="47">
                  <c:v>7941</c:v>
                </c:pt>
                <c:pt idx="48">
                  <c:v>13646</c:v>
                </c:pt>
                <c:pt idx="49">
                  <c:v>5922</c:v>
                </c:pt>
                <c:pt idx="50">
                  <c:v>2623</c:v>
                </c:pt>
                <c:pt idx="51">
                  <c:v>1878</c:v>
                </c:pt>
                <c:pt idx="52">
                  <c:v>37369</c:v>
                </c:pt>
                <c:pt idx="53">
                  <c:v>113790</c:v>
                </c:pt>
                <c:pt idx="54">
                  <c:v>41119</c:v>
                </c:pt>
                <c:pt idx="55">
                  <c:v>1091</c:v>
                </c:pt>
                <c:pt idx="56">
                  <c:v>114890</c:v>
                </c:pt>
                <c:pt idx="57">
                  <c:v>1969</c:v>
                </c:pt>
                <c:pt idx="58">
                  <c:v>78889</c:v>
                </c:pt>
                <c:pt idx="59">
                  <c:v>105227</c:v>
                </c:pt>
                <c:pt idx="60">
                  <c:v>73897</c:v>
                </c:pt>
                <c:pt idx="61">
                  <c:v>37830</c:v>
                </c:pt>
                <c:pt idx="62">
                  <c:v>48221</c:v>
                </c:pt>
                <c:pt idx="63">
                  <c:v>59032</c:v>
                </c:pt>
                <c:pt idx="64">
                  <c:v>68742</c:v>
                </c:pt>
                <c:pt idx="65">
                  <c:v>144667</c:v>
                </c:pt>
                <c:pt idx="66">
                  <c:v>199436</c:v>
                </c:pt>
                <c:pt idx="67">
                  <c:v>186682</c:v>
                </c:pt>
                <c:pt idx="68">
                  <c:v>200065</c:v>
                </c:pt>
                <c:pt idx="69">
                  <c:v>288027</c:v>
                </c:pt>
                <c:pt idx="70">
                  <c:v>3827</c:v>
                </c:pt>
                <c:pt idx="71">
                  <c:v>1214</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73</c:f>
              <c:numCache>
                <c:formatCode>yyyy\-mm\-dd</c:formatCode>
                <c:ptCount val="72"/>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51</c:v>
                </c:pt>
                <c:pt idx="27">
                  <c:v>45158</c:v>
                </c:pt>
                <c:pt idx="28">
                  <c:v>45165</c:v>
                </c:pt>
                <c:pt idx="29">
                  <c:v>45172</c:v>
                </c:pt>
                <c:pt idx="30">
                  <c:v>45179</c:v>
                </c:pt>
                <c:pt idx="31">
                  <c:v>45186</c:v>
                </c:pt>
                <c:pt idx="32">
                  <c:v>45193</c:v>
                </c:pt>
                <c:pt idx="33">
                  <c:v>45200</c:v>
                </c:pt>
                <c:pt idx="34">
                  <c:v>45207</c:v>
                </c:pt>
                <c:pt idx="35">
                  <c:v>45214</c:v>
                </c:pt>
                <c:pt idx="36">
                  <c:v>45221</c:v>
                </c:pt>
                <c:pt idx="37">
                  <c:v>45228</c:v>
                </c:pt>
                <c:pt idx="38">
                  <c:v>45235</c:v>
                </c:pt>
                <c:pt idx="39">
                  <c:v>45242</c:v>
                </c:pt>
                <c:pt idx="40">
                  <c:v>45249</c:v>
                </c:pt>
                <c:pt idx="41">
                  <c:v>45256</c:v>
                </c:pt>
                <c:pt idx="42">
                  <c:v>45263</c:v>
                </c:pt>
                <c:pt idx="43">
                  <c:v>45270</c:v>
                </c:pt>
                <c:pt idx="44">
                  <c:v>45277</c:v>
                </c:pt>
                <c:pt idx="45">
                  <c:v>45284</c:v>
                </c:pt>
                <c:pt idx="46">
                  <c:v>45291</c:v>
                </c:pt>
                <c:pt idx="47">
                  <c:v>45298</c:v>
                </c:pt>
                <c:pt idx="48">
                  <c:v>45305</c:v>
                </c:pt>
                <c:pt idx="49">
                  <c:v>45312</c:v>
                </c:pt>
                <c:pt idx="50">
                  <c:v>45319</c:v>
                </c:pt>
                <c:pt idx="51">
                  <c:v>45326</c:v>
                </c:pt>
                <c:pt idx="52">
                  <c:v>45340</c:v>
                </c:pt>
                <c:pt idx="53">
                  <c:v>45347</c:v>
                </c:pt>
                <c:pt idx="54">
                  <c:v>45354</c:v>
                </c:pt>
                <c:pt idx="55">
                  <c:v>45368</c:v>
                </c:pt>
                <c:pt idx="56">
                  <c:v>45375</c:v>
                </c:pt>
                <c:pt idx="57">
                  <c:v>45522</c:v>
                </c:pt>
                <c:pt idx="58">
                  <c:v>45578</c:v>
                </c:pt>
                <c:pt idx="59">
                  <c:v>45585</c:v>
                </c:pt>
                <c:pt idx="60">
                  <c:v>45592</c:v>
                </c:pt>
                <c:pt idx="61">
                  <c:v>45599</c:v>
                </c:pt>
                <c:pt idx="62">
                  <c:v>45606</c:v>
                </c:pt>
                <c:pt idx="63">
                  <c:v>45613</c:v>
                </c:pt>
                <c:pt idx="64">
                  <c:v>45620</c:v>
                </c:pt>
                <c:pt idx="65">
                  <c:v>45627</c:v>
                </c:pt>
                <c:pt idx="66">
                  <c:v>45634</c:v>
                </c:pt>
                <c:pt idx="67">
                  <c:v>45641</c:v>
                </c:pt>
                <c:pt idx="68">
                  <c:v>45648</c:v>
                </c:pt>
                <c:pt idx="69">
                  <c:v>45655</c:v>
                </c:pt>
                <c:pt idx="70">
                  <c:v>45662</c:v>
                </c:pt>
                <c:pt idx="71">
                  <c:v>45669</c:v>
                </c:pt>
              </c:numCache>
            </c:numRef>
          </c:cat>
          <c:val>
            <c:numRef>
              <c:f>Sheet1!$C$2:$C$73</c:f>
              <c:numCache>
                <c:formatCode>General</c:formatCode>
                <c:ptCount val="72"/>
                <c:pt idx="0">
                  <c:v>361339</c:v>
                </c:pt>
                <c:pt idx="1">
                  <c:v>348270</c:v>
                </c:pt>
                <c:pt idx="2">
                  <c:v>336976</c:v>
                </c:pt>
                <c:pt idx="3">
                  <c:v>320825</c:v>
                </c:pt>
                <c:pt idx="4">
                  <c:v>333488</c:v>
                </c:pt>
                <c:pt idx="5">
                  <c:v>345937</c:v>
                </c:pt>
                <c:pt idx="6">
                  <c:v>331027</c:v>
                </c:pt>
                <c:pt idx="7">
                  <c:v>335322</c:v>
                </c:pt>
                <c:pt idx="8">
                  <c:v>356179</c:v>
                </c:pt>
                <c:pt idx="9">
                  <c:v>331158</c:v>
                </c:pt>
                <c:pt idx="10">
                  <c:v>316885</c:v>
                </c:pt>
                <c:pt idx="11">
                  <c:v>325742</c:v>
                </c:pt>
                <c:pt idx="12">
                  <c:v>353910</c:v>
                </c:pt>
                <c:pt idx="13">
                  <c:v>356322</c:v>
                </c:pt>
                <c:pt idx="14">
                  <c:v>300251</c:v>
                </c:pt>
                <c:pt idx="15">
                  <c:v>349653</c:v>
                </c:pt>
                <c:pt idx="16">
                  <c:v>351457</c:v>
                </c:pt>
                <c:pt idx="17">
                  <c:v>382350</c:v>
                </c:pt>
                <c:pt idx="18">
                  <c:v>358519</c:v>
                </c:pt>
                <c:pt idx="19">
                  <c:v>358730</c:v>
                </c:pt>
                <c:pt idx="20">
                  <c:v>385009</c:v>
                </c:pt>
                <c:pt idx="21">
                  <c:v>401797</c:v>
                </c:pt>
                <c:pt idx="22">
                  <c:v>412553</c:v>
                </c:pt>
                <c:pt idx="23">
                  <c:v>397248</c:v>
                </c:pt>
                <c:pt idx="24">
                  <c:v>385536</c:v>
                </c:pt>
                <c:pt idx="25">
                  <c:v>397955</c:v>
                </c:pt>
                <c:pt idx="26">
                  <c:v>246338</c:v>
                </c:pt>
                <c:pt idx="27">
                  <c:v>33830</c:v>
                </c:pt>
                <c:pt idx="28">
                  <c:v>18910</c:v>
                </c:pt>
                <c:pt idx="29">
                  <c:v>16355</c:v>
                </c:pt>
                <c:pt idx="30">
                  <c:v>17154</c:v>
                </c:pt>
                <c:pt idx="31">
                  <c:v>15724</c:v>
                </c:pt>
                <c:pt idx="32">
                  <c:v>17402</c:v>
                </c:pt>
                <c:pt idx="33">
                  <c:v>25195</c:v>
                </c:pt>
                <c:pt idx="34">
                  <c:v>30281</c:v>
                </c:pt>
                <c:pt idx="35">
                  <c:v>34965</c:v>
                </c:pt>
                <c:pt idx="36">
                  <c:v>36921</c:v>
                </c:pt>
                <c:pt idx="37">
                  <c:v>40367</c:v>
                </c:pt>
                <c:pt idx="38">
                  <c:v>382499</c:v>
                </c:pt>
                <c:pt idx="39">
                  <c:v>386236</c:v>
                </c:pt>
                <c:pt idx="40">
                  <c:v>362534</c:v>
                </c:pt>
                <c:pt idx="41">
                  <c:v>334080</c:v>
                </c:pt>
                <c:pt idx="42">
                  <c:v>361103</c:v>
                </c:pt>
                <c:pt idx="43">
                  <c:v>361116</c:v>
                </c:pt>
                <c:pt idx="44">
                  <c:v>374213</c:v>
                </c:pt>
                <c:pt idx="45">
                  <c:v>415302</c:v>
                </c:pt>
                <c:pt idx="46">
                  <c:v>321245</c:v>
                </c:pt>
                <c:pt idx="47">
                  <c:v>355141</c:v>
                </c:pt>
                <c:pt idx="48">
                  <c:v>311361</c:v>
                </c:pt>
                <c:pt idx="49">
                  <c:v>304778</c:v>
                </c:pt>
                <c:pt idx="50">
                  <c:v>330437</c:v>
                </c:pt>
                <c:pt idx="51">
                  <c:v>348414</c:v>
                </c:pt>
                <c:pt idx="52">
                  <c:v>291943</c:v>
                </c:pt>
                <c:pt idx="53">
                  <c:v>283770</c:v>
                </c:pt>
                <c:pt idx="54">
                  <c:v>330325</c:v>
                </c:pt>
                <c:pt idx="55">
                  <c:v>336754</c:v>
                </c:pt>
                <c:pt idx="56">
                  <c:v>265432</c:v>
                </c:pt>
                <c:pt idx="57">
                  <c:v>354662</c:v>
                </c:pt>
                <c:pt idx="58">
                  <c:v>273373</c:v>
                </c:pt>
                <c:pt idx="59">
                  <c:v>270767</c:v>
                </c:pt>
                <c:pt idx="60">
                  <c:v>294533</c:v>
                </c:pt>
                <c:pt idx="61">
                  <c:v>335538</c:v>
                </c:pt>
                <c:pt idx="62">
                  <c:v>344462</c:v>
                </c:pt>
                <c:pt idx="63">
                  <c:v>326396</c:v>
                </c:pt>
                <c:pt idx="64">
                  <c:v>322897</c:v>
                </c:pt>
                <c:pt idx="65">
                  <c:v>259799</c:v>
                </c:pt>
                <c:pt idx="66">
                  <c:v>283362</c:v>
                </c:pt>
                <c:pt idx="67">
                  <c:v>316565</c:v>
                </c:pt>
                <c:pt idx="68">
                  <c:v>363959</c:v>
                </c:pt>
                <c:pt idx="69">
                  <c:v>321048</c:v>
                </c:pt>
                <c:pt idx="70">
                  <c:v>330818</c:v>
                </c:pt>
                <c:pt idx="71">
                  <c:v>306518</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73</c:f>
              <c:numCache>
                <c:formatCode>yyyy\-mm\-dd</c:formatCode>
                <c:ptCount val="72"/>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51</c:v>
                </c:pt>
                <c:pt idx="27">
                  <c:v>45158</c:v>
                </c:pt>
                <c:pt idx="28">
                  <c:v>45165</c:v>
                </c:pt>
                <c:pt idx="29">
                  <c:v>45172</c:v>
                </c:pt>
                <c:pt idx="30">
                  <c:v>45179</c:v>
                </c:pt>
                <c:pt idx="31">
                  <c:v>45186</c:v>
                </c:pt>
                <c:pt idx="32">
                  <c:v>45193</c:v>
                </c:pt>
                <c:pt idx="33">
                  <c:v>45200</c:v>
                </c:pt>
                <c:pt idx="34">
                  <c:v>45207</c:v>
                </c:pt>
                <c:pt idx="35">
                  <c:v>45214</c:v>
                </c:pt>
                <c:pt idx="36">
                  <c:v>45221</c:v>
                </c:pt>
                <c:pt idx="37">
                  <c:v>45228</c:v>
                </c:pt>
                <c:pt idx="38">
                  <c:v>45235</c:v>
                </c:pt>
                <c:pt idx="39">
                  <c:v>45242</c:v>
                </c:pt>
                <c:pt idx="40">
                  <c:v>45249</c:v>
                </c:pt>
                <c:pt idx="41">
                  <c:v>45256</c:v>
                </c:pt>
                <c:pt idx="42">
                  <c:v>45263</c:v>
                </c:pt>
                <c:pt idx="43">
                  <c:v>45270</c:v>
                </c:pt>
                <c:pt idx="44">
                  <c:v>45277</c:v>
                </c:pt>
                <c:pt idx="45">
                  <c:v>45284</c:v>
                </c:pt>
                <c:pt idx="46">
                  <c:v>45291</c:v>
                </c:pt>
                <c:pt idx="47">
                  <c:v>45298</c:v>
                </c:pt>
                <c:pt idx="48">
                  <c:v>45305</c:v>
                </c:pt>
                <c:pt idx="49">
                  <c:v>45312</c:v>
                </c:pt>
                <c:pt idx="50">
                  <c:v>45319</c:v>
                </c:pt>
                <c:pt idx="51">
                  <c:v>45326</c:v>
                </c:pt>
                <c:pt idx="52">
                  <c:v>45340</c:v>
                </c:pt>
                <c:pt idx="53">
                  <c:v>45347</c:v>
                </c:pt>
                <c:pt idx="54">
                  <c:v>45354</c:v>
                </c:pt>
                <c:pt idx="55">
                  <c:v>45368</c:v>
                </c:pt>
                <c:pt idx="56">
                  <c:v>45375</c:v>
                </c:pt>
                <c:pt idx="57">
                  <c:v>45522</c:v>
                </c:pt>
                <c:pt idx="58">
                  <c:v>45578</c:v>
                </c:pt>
                <c:pt idx="59">
                  <c:v>45585</c:v>
                </c:pt>
                <c:pt idx="60">
                  <c:v>45592</c:v>
                </c:pt>
                <c:pt idx="61">
                  <c:v>45599</c:v>
                </c:pt>
                <c:pt idx="62">
                  <c:v>45606</c:v>
                </c:pt>
                <c:pt idx="63">
                  <c:v>45613</c:v>
                </c:pt>
                <c:pt idx="64">
                  <c:v>45620</c:v>
                </c:pt>
                <c:pt idx="65">
                  <c:v>45627</c:v>
                </c:pt>
                <c:pt idx="66">
                  <c:v>45634</c:v>
                </c:pt>
                <c:pt idx="67">
                  <c:v>45641</c:v>
                </c:pt>
                <c:pt idx="68">
                  <c:v>45648</c:v>
                </c:pt>
                <c:pt idx="69">
                  <c:v>45655</c:v>
                </c:pt>
                <c:pt idx="70">
                  <c:v>45662</c:v>
                </c:pt>
                <c:pt idx="71">
                  <c:v>45669</c:v>
                </c:pt>
              </c:numCache>
            </c:numRef>
          </c:cat>
          <c:val>
            <c:numRef>
              <c:f>Sheet1!$D$2:$D$73</c:f>
              <c:numCache>
                <c:formatCode>General</c:formatCode>
                <c:ptCount val="72"/>
                <c:pt idx="0">
                  <c:v>403967</c:v>
                </c:pt>
                <c:pt idx="1">
                  <c:v>381072</c:v>
                </c:pt>
                <c:pt idx="2">
                  <c:v>364232</c:v>
                </c:pt>
                <c:pt idx="3">
                  <c:v>341612</c:v>
                </c:pt>
                <c:pt idx="4">
                  <c:v>354313</c:v>
                </c:pt>
                <c:pt idx="5">
                  <c:v>372459</c:v>
                </c:pt>
                <c:pt idx="6">
                  <c:v>361042</c:v>
                </c:pt>
                <c:pt idx="7">
                  <c:v>402496</c:v>
                </c:pt>
                <c:pt idx="8">
                  <c:v>412072</c:v>
                </c:pt>
                <c:pt idx="9">
                  <c:v>386843</c:v>
                </c:pt>
                <c:pt idx="10">
                  <c:v>371264</c:v>
                </c:pt>
                <c:pt idx="11">
                  <c:v>399450</c:v>
                </c:pt>
                <c:pt idx="12">
                  <c:v>355885</c:v>
                </c:pt>
                <c:pt idx="13">
                  <c:v>394556</c:v>
                </c:pt>
                <c:pt idx="14">
                  <c:v>360084</c:v>
                </c:pt>
                <c:pt idx="15">
                  <c:v>410730</c:v>
                </c:pt>
                <c:pt idx="16">
                  <c:v>361211</c:v>
                </c:pt>
                <c:pt idx="17">
                  <c:v>385166</c:v>
                </c:pt>
                <c:pt idx="18">
                  <c:v>361294</c:v>
                </c:pt>
                <c:pt idx="19">
                  <c:v>360435</c:v>
                </c:pt>
                <c:pt idx="20">
                  <c:v>386378</c:v>
                </c:pt>
                <c:pt idx="21">
                  <c:v>403977</c:v>
                </c:pt>
                <c:pt idx="22">
                  <c:v>414678</c:v>
                </c:pt>
                <c:pt idx="23">
                  <c:v>398051</c:v>
                </c:pt>
                <c:pt idx="24">
                  <c:v>388290</c:v>
                </c:pt>
                <c:pt idx="25">
                  <c:v>401634</c:v>
                </c:pt>
                <c:pt idx="26">
                  <c:v>406305</c:v>
                </c:pt>
                <c:pt idx="27">
                  <c:v>417708</c:v>
                </c:pt>
                <c:pt idx="28">
                  <c:v>404836</c:v>
                </c:pt>
                <c:pt idx="29">
                  <c:v>403556</c:v>
                </c:pt>
                <c:pt idx="30">
                  <c:v>405127</c:v>
                </c:pt>
                <c:pt idx="31">
                  <c:v>385327</c:v>
                </c:pt>
                <c:pt idx="32">
                  <c:v>379788</c:v>
                </c:pt>
                <c:pt idx="33">
                  <c:v>379616</c:v>
                </c:pt>
                <c:pt idx="34">
                  <c:v>406373</c:v>
                </c:pt>
                <c:pt idx="35">
                  <c:v>422425</c:v>
                </c:pt>
                <c:pt idx="36">
                  <c:v>416648</c:v>
                </c:pt>
                <c:pt idx="37">
                  <c:v>401171</c:v>
                </c:pt>
                <c:pt idx="38">
                  <c:v>418819</c:v>
                </c:pt>
                <c:pt idx="39">
                  <c:v>429875</c:v>
                </c:pt>
                <c:pt idx="40">
                  <c:v>418365</c:v>
                </c:pt>
                <c:pt idx="41">
                  <c:v>417832</c:v>
                </c:pt>
                <c:pt idx="42">
                  <c:v>462226</c:v>
                </c:pt>
                <c:pt idx="43">
                  <c:v>531959</c:v>
                </c:pt>
                <c:pt idx="44">
                  <c:v>535762</c:v>
                </c:pt>
                <c:pt idx="45">
                  <c:v>692362</c:v>
                </c:pt>
                <c:pt idx="46">
                  <c:v>640118</c:v>
                </c:pt>
                <c:pt idx="47">
                  <c:v>363082</c:v>
                </c:pt>
                <c:pt idx="48">
                  <c:v>325007</c:v>
                </c:pt>
                <c:pt idx="49">
                  <c:v>310700</c:v>
                </c:pt>
                <c:pt idx="50">
                  <c:v>333060</c:v>
                </c:pt>
                <c:pt idx="51">
                  <c:v>350292</c:v>
                </c:pt>
                <c:pt idx="52">
                  <c:v>329312</c:v>
                </c:pt>
                <c:pt idx="53">
                  <c:v>397560</c:v>
                </c:pt>
                <c:pt idx="54">
                  <c:v>371444</c:v>
                </c:pt>
                <c:pt idx="55">
                  <c:v>337845</c:v>
                </c:pt>
                <c:pt idx="56">
                  <c:v>380322</c:v>
                </c:pt>
                <c:pt idx="57">
                  <c:v>356631</c:v>
                </c:pt>
                <c:pt idx="58">
                  <c:v>352262</c:v>
                </c:pt>
                <c:pt idx="59">
                  <c:v>375994</c:v>
                </c:pt>
                <c:pt idx="60">
                  <c:v>368430</c:v>
                </c:pt>
                <c:pt idx="61">
                  <c:v>373368</c:v>
                </c:pt>
                <c:pt idx="62">
                  <c:v>392683</c:v>
                </c:pt>
                <c:pt idx="63">
                  <c:v>385428</c:v>
                </c:pt>
                <c:pt idx="64">
                  <c:v>391639</c:v>
                </c:pt>
                <c:pt idx="65">
                  <c:v>404466</c:v>
                </c:pt>
                <c:pt idx="66">
                  <c:v>482798</c:v>
                </c:pt>
                <c:pt idx="67">
                  <c:v>503247</c:v>
                </c:pt>
                <c:pt idx="68">
                  <c:v>564024</c:v>
                </c:pt>
                <c:pt idx="69">
                  <c:v>609075</c:v>
                </c:pt>
                <c:pt idx="70">
                  <c:v>334645</c:v>
                </c:pt>
                <c:pt idx="71">
                  <c:v>307732</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73</c:f>
              <c:numCache>
                <c:formatCode>yyyy\-mm\-dd</c:formatCode>
                <c:ptCount val="72"/>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51</c:v>
                </c:pt>
                <c:pt idx="27">
                  <c:v>45158</c:v>
                </c:pt>
                <c:pt idx="28">
                  <c:v>45165</c:v>
                </c:pt>
                <c:pt idx="29">
                  <c:v>45172</c:v>
                </c:pt>
                <c:pt idx="30">
                  <c:v>45179</c:v>
                </c:pt>
                <c:pt idx="31">
                  <c:v>45186</c:v>
                </c:pt>
                <c:pt idx="32">
                  <c:v>45193</c:v>
                </c:pt>
                <c:pt idx="33">
                  <c:v>45200</c:v>
                </c:pt>
                <c:pt idx="34">
                  <c:v>45207</c:v>
                </c:pt>
                <c:pt idx="35">
                  <c:v>45214</c:v>
                </c:pt>
                <c:pt idx="36">
                  <c:v>45221</c:v>
                </c:pt>
                <c:pt idx="37">
                  <c:v>45228</c:v>
                </c:pt>
                <c:pt idx="38">
                  <c:v>45235</c:v>
                </c:pt>
                <c:pt idx="39">
                  <c:v>45242</c:v>
                </c:pt>
                <c:pt idx="40">
                  <c:v>45249</c:v>
                </c:pt>
                <c:pt idx="41">
                  <c:v>45256</c:v>
                </c:pt>
                <c:pt idx="42">
                  <c:v>45263</c:v>
                </c:pt>
                <c:pt idx="43">
                  <c:v>45270</c:v>
                </c:pt>
                <c:pt idx="44">
                  <c:v>45277</c:v>
                </c:pt>
                <c:pt idx="45">
                  <c:v>45284</c:v>
                </c:pt>
                <c:pt idx="46">
                  <c:v>45291</c:v>
                </c:pt>
                <c:pt idx="47">
                  <c:v>45298</c:v>
                </c:pt>
                <c:pt idx="48">
                  <c:v>45305</c:v>
                </c:pt>
                <c:pt idx="49">
                  <c:v>45312</c:v>
                </c:pt>
                <c:pt idx="50">
                  <c:v>45319</c:v>
                </c:pt>
                <c:pt idx="51">
                  <c:v>45326</c:v>
                </c:pt>
                <c:pt idx="52">
                  <c:v>45340</c:v>
                </c:pt>
                <c:pt idx="53">
                  <c:v>45347</c:v>
                </c:pt>
                <c:pt idx="54">
                  <c:v>45354</c:v>
                </c:pt>
                <c:pt idx="55">
                  <c:v>45368</c:v>
                </c:pt>
                <c:pt idx="56">
                  <c:v>45375</c:v>
                </c:pt>
                <c:pt idx="57">
                  <c:v>45522</c:v>
                </c:pt>
                <c:pt idx="58">
                  <c:v>45578</c:v>
                </c:pt>
                <c:pt idx="59">
                  <c:v>45585</c:v>
                </c:pt>
                <c:pt idx="60">
                  <c:v>45592</c:v>
                </c:pt>
                <c:pt idx="61">
                  <c:v>45599</c:v>
                </c:pt>
                <c:pt idx="62">
                  <c:v>45606</c:v>
                </c:pt>
                <c:pt idx="63">
                  <c:v>45613</c:v>
                </c:pt>
                <c:pt idx="64">
                  <c:v>45620</c:v>
                </c:pt>
                <c:pt idx="65">
                  <c:v>45627</c:v>
                </c:pt>
                <c:pt idx="66">
                  <c:v>45634</c:v>
                </c:pt>
                <c:pt idx="67">
                  <c:v>45641</c:v>
                </c:pt>
                <c:pt idx="68">
                  <c:v>45648</c:v>
                </c:pt>
                <c:pt idx="69">
                  <c:v>45655</c:v>
                </c:pt>
                <c:pt idx="70">
                  <c:v>45662</c:v>
                </c:pt>
                <c:pt idx="71">
                  <c:v>45669</c:v>
                </c:pt>
              </c:numCache>
            </c:numRef>
          </c:cat>
          <c:val>
            <c:numRef>
              <c:f>Sheet1!$E$2:$E$73</c:f>
              <c:numCache>
                <c:formatCode>General</c:formatCode>
                <c:ptCount val="72"/>
                <c:pt idx="0">
                  <c:v>362894</c:v>
                </c:pt>
                <c:pt idx="1">
                  <c:v>361146</c:v>
                </c:pt>
                <c:pt idx="2">
                  <c:v>362588</c:v>
                </c:pt>
                <c:pt idx="3">
                  <c:v>362573</c:v>
                </c:pt>
                <c:pt idx="4">
                  <c:v>366115</c:v>
                </c:pt>
                <c:pt idx="5">
                  <c:v>368718</c:v>
                </c:pt>
                <c:pt idx="6">
                  <c:v>371051</c:v>
                </c:pt>
                <c:pt idx="7">
                  <c:v>373266</c:v>
                </c:pt>
                <c:pt idx="8">
                  <c:v>380648</c:v>
                </c:pt>
                <c:pt idx="9">
                  <c:v>382046</c:v>
                </c:pt>
                <c:pt idx="10">
                  <c:v>383316</c:v>
                </c:pt>
                <c:pt idx="11">
                  <c:v>382878</c:v>
                </c:pt>
                <c:pt idx="12">
                  <c:v>384417</c:v>
                </c:pt>
                <c:pt idx="13">
                  <c:v>378897</c:v>
                </c:pt>
                <c:pt idx="14">
                  <c:v>378211</c:v>
                </c:pt>
                <c:pt idx="15">
                  <c:v>377665</c:v>
                </c:pt>
                <c:pt idx="16">
                  <c:v>373011</c:v>
                </c:pt>
                <c:pt idx="17">
                  <c:v>376391</c:v>
                </c:pt>
                <c:pt idx="18">
                  <c:v>378072</c:v>
                </c:pt>
                <c:pt idx="19">
                  <c:v>384817</c:v>
                </c:pt>
                <c:pt idx="20">
                  <c:v>383952</c:v>
                </c:pt>
                <c:pt idx="21">
                  <c:v>387411</c:v>
                </c:pt>
                <c:pt idx="22">
                  <c:v>389649</c:v>
                </c:pt>
                <c:pt idx="23">
                  <c:v>396288</c:v>
                </c:pt>
                <c:pt idx="24">
                  <c:v>401602</c:v>
                </c:pt>
                <c:pt idx="25">
                  <c:v>406204</c:v>
                </c:pt>
                <c:pt idx="26">
                  <c:v>411809</c:v>
                </c:pt>
                <c:pt idx="27">
                  <c:v>412686</c:v>
                </c:pt>
                <c:pt idx="28">
                  <c:v>406996</c:v>
                </c:pt>
                <c:pt idx="29">
                  <c:v>417401</c:v>
                </c:pt>
                <c:pt idx="30">
                  <c:v>416061</c:v>
                </c:pt>
                <c:pt idx="31">
                  <c:v>414782</c:v>
                </c:pt>
                <c:pt idx="32">
                  <c:v>411755</c:v>
                </c:pt>
                <c:pt idx="33">
                  <c:v>413016</c:v>
                </c:pt>
                <c:pt idx="34">
                  <c:v>416328</c:v>
                </c:pt>
                <c:pt idx="35">
                  <c:v>438091</c:v>
                </c:pt>
                <c:pt idx="36">
                  <c:v>441951</c:v>
                </c:pt>
                <c:pt idx="37">
                  <c:v>414356</c:v>
                </c:pt>
                <c:pt idx="38">
                  <c:v>392212</c:v>
                </c:pt>
                <c:pt idx="39">
                  <c:v>400563</c:v>
                </c:pt>
                <c:pt idx="40">
                  <c:v>423884</c:v>
                </c:pt>
                <c:pt idx="41">
                  <c:v>420826</c:v>
                </c:pt>
                <c:pt idx="42">
                  <c:v>424211</c:v>
                </c:pt>
                <c:pt idx="43">
                  <c:v>413057</c:v>
                </c:pt>
                <c:pt idx="44">
                  <c:v>406338</c:v>
                </c:pt>
                <c:pt idx="45">
                  <c:v>400718</c:v>
                </c:pt>
                <c:pt idx="46">
                  <c:v>406305</c:v>
                </c:pt>
                <c:pt idx="47">
                  <c:v>381286</c:v>
                </c:pt>
                <c:pt idx="48">
                  <c:v>371543</c:v>
                </c:pt>
                <c:pt idx="49">
                  <c:v>352312</c:v>
                </c:pt>
                <c:pt idx="50">
                  <c:v>332879</c:v>
                </c:pt>
                <c:pt idx="51">
                  <c:v>340699</c:v>
                </c:pt>
                <c:pt idx="52">
                  <c:v>347835</c:v>
                </c:pt>
                <c:pt idx="53">
                  <c:v>352936</c:v>
                </c:pt>
                <c:pt idx="54">
                  <c:v>358254</c:v>
                </c:pt>
                <c:pt idx="55">
                  <c:v>362247</c:v>
                </c:pt>
                <c:pt idx="56">
                  <c:v>364643</c:v>
                </c:pt>
                <c:pt idx="57">
                  <c:v>355365</c:v>
                </c:pt>
                <c:pt idx="58">
                  <c:v>356313</c:v>
                </c:pt>
                <c:pt idx="59">
                  <c:v>360367</c:v>
                </c:pt>
                <c:pt idx="60">
                  <c:v>363217</c:v>
                </c:pt>
                <c:pt idx="61">
                  <c:v>368198</c:v>
                </c:pt>
                <c:pt idx="62">
                  <c:v>361131</c:v>
                </c:pt>
                <c:pt idx="63">
                  <c:v>368404</c:v>
                </c:pt>
                <c:pt idx="64">
                  <c:v>370638</c:v>
                </c:pt>
                <c:pt idx="65">
                  <c:v>369749</c:v>
                </c:pt>
                <c:pt idx="66">
                  <c:v>372948</c:v>
                </c:pt>
                <c:pt idx="67">
                  <c:v>344818</c:v>
                </c:pt>
                <c:pt idx="68">
                  <c:v>334292</c:v>
                </c:pt>
                <c:pt idx="69">
                  <c:v>332007</c:v>
                </c:pt>
                <c:pt idx="70">
                  <c:v>338398</c:v>
                </c:pt>
                <c:pt idx="71">
                  <c:v>325933</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73</c:f>
              <c:numCache>
                <c:formatCode>yyyy\-mm\-dd</c:formatCode>
                <c:ptCount val="72"/>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51</c:v>
                </c:pt>
                <c:pt idx="27">
                  <c:v>45158</c:v>
                </c:pt>
                <c:pt idx="28">
                  <c:v>45165</c:v>
                </c:pt>
                <c:pt idx="29">
                  <c:v>45172</c:v>
                </c:pt>
                <c:pt idx="30">
                  <c:v>45179</c:v>
                </c:pt>
                <c:pt idx="31">
                  <c:v>45186</c:v>
                </c:pt>
                <c:pt idx="32">
                  <c:v>45193</c:v>
                </c:pt>
                <c:pt idx="33">
                  <c:v>45200</c:v>
                </c:pt>
                <c:pt idx="34">
                  <c:v>45207</c:v>
                </c:pt>
                <c:pt idx="35">
                  <c:v>45214</c:v>
                </c:pt>
                <c:pt idx="36">
                  <c:v>45221</c:v>
                </c:pt>
                <c:pt idx="37">
                  <c:v>45228</c:v>
                </c:pt>
                <c:pt idx="38">
                  <c:v>45235</c:v>
                </c:pt>
                <c:pt idx="39">
                  <c:v>45242</c:v>
                </c:pt>
                <c:pt idx="40">
                  <c:v>45249</c:v>
                </c:pt>
                <c:pt idx="41">
                  <c:v>45256</c:v>
                </c:pt>
                <c:pt idx="42">
                  <c:v>45263</c:v>
                </c:pt>
                <c:pt idx="43">
                  <c:v>45270</c:v>
                </c:pt>
                <c:pt idx="44">
                  <c:v>45277</c:v>
                </c:pt>
                <c:pt idx="45">
                  <c:v>45284</c:v>
                </c:pt>
                <c:pt idx="46">
                  <c:v>45291</c:v>
                </c:pt>
                <c:pt idx="47">
                  <c:v>45298</c:v>
                </c:pt>
                <c:pt idx="48">
                  <c:v>45305</c:v>
                </c:pt>
                <c:pt idx="49">
                  <c:v>45312</c:v>
                </c:pt>
                <c:pt idx="50">
                  <c:v>45319</c:v>
                </c:pt>
                <c:pt idx="51">
                  <c:v>45326</c:v>
                </c:pt>
                <c:pt idx="52">
                  <c:v>45340</c:v>
                </c:pt>
                <c:pt idx="53">
                  <c:v>45347</c:v>
                </c:pt>
                <c:pt idx="54">
                  <c:v>45354</c:v>
                </c:pt>
                <c:pt idx="55">
                  <c:v>45368</c:v>
                </c:pt>
                <c:pt idx="56">
                  <c:v>45375</c:v>
                </c:pt>
                <c:pt idx="57">
                  <c:v>45522</c:v>
                </c:pt>
                <c:pt idx="58">
                  <c:v>45578</c:v>
                </c:pt>
                <c:pt idx="59">
                  <c:v>45585</c:v>
                </c:pt>
                <c:pt idx="60">
                  <c:v>45592</c:v>
                </c:pt>
                <c:pt idx="61">
                  <c:v>45599</c:v>
                </c:pt>
                <c:pt idx="62">
                  <c:v>45606</c:v>
                </c:pt>
                <c:pt idx="63">
                  <c:v>45613</c:v>
                </c:pt>
                <c:pt idx="64">
                  <c:v>45620</c:v>
                </c:pt>
                <c:pt idx="65">
                  <c:v>45627</c:v>
                </c:pt>
                <c:pt idx="66">
                  <c:v>45634</c:v>
                </c:pt>
                <c:pt idx="67">
                  <c:v>45641</c:v>
                </c:pt>
                <c:pt idx="68">
                  <c:v>45648</c:v>
                </c:pt>
                <c:pt idx="69">
                  <c:v>45655</c:v>
                </c:pt>
                <c:pt idx="70">
                  <c:v>45662</c:v>
                </c:pt>
                <c:pt idx="71">
                  <c:v>45669</c:v>
                </c:pt>
              </c:numCache>
            </c:numRef>
          </c:cat>
          <c:val>
            <c:numRef>
              <c:f>Sheet1!$F$2:$F$73</c:f>
              <c:numCache>
                <c:formatCode>General</c:formatCode>
                <c:ptCount val="72"/>
                <c:pt idx="0">
                  <c:v>0.15</c:v>
                </c:pt>
                <c:pt idx="1">
                  <c:v>0.11</c:v>
                </c:pt>
                <c:pt idx="2">
                  <c:v>0.09</c:v>
                </c:pt>
                <c:pt idx="3">
                  <c:v>7.0000000000000007E-2</c:v>
                </c:pt>
                <c:pt idx="4">
                  <c:v>7.0000000000000007E-2</c:v>
                </c:pt>
                <c:pt idx="5">
                  <c:v>0.08</c:v>
                </c:pt>
                <c:pt idx="6">
                  <c:v>0.1</c:v>
                </c:pt>
                <c:pt idx="7">
                  <c:v>0.18</c:v>
                </c:pt>
                <c:pt idx="8">
                  <c:v>0.15</c:v>
                </c:pt>
                <c:pt idx="9">
                  <c:v>0.14000000000000001</c:v>
                </c:pt>
                <c:pt idx="10">
                  <c:v>0.15</c:v>
                </c:pt>
                <c:pt idx="11">
                  <c:v>0.18</c:v>
                </c:pt>
                <c:pt idx="12">
                  <c:v>0.01</c:v>
                </c:pt>
                <c:pt idx="13">
                  <c:v>0.09</c:v>
                </c:pt>
                <c:pt idx="14">
                  <c:v>0.15</c:v>
                </c:pt>
                <c:pt idx="15">
                  <c:v>0.12</c:v>
                </c:pt>
                <c:pt idx="16">
                  <c:v>0.02</c:v>
                </c:pt>
                <c:pt idx="17">
                  <c:v>0.01</c:v>
                </c:pt>
                <c:pt idx="18">
                  <c:v>0.01</c:v>
                </c:pt>
                <c:pt idx="19">
                  <c:v>0</c:v>
                </c:pt>
                <c:pt idx="20">
                  <c:v>0</c:v>
                </c:pt>
                <c:pt idx="21">
                  <c:v>0</c:v>
                </c:pt>
                <c:pt idx="22">
                  <c:v>0</c:v>
                </c:pt>
                <c:pt idx="23">
                  <c:v>0</c:v>
                </c:pt>
                <c:pt idx="24">
                  <c:v>0.01</c:v>
                </c:pt>
                <c:pt idx="25">
                  <c:v>0.01</c:v>
                </c:pt>
                <c:pt idx="26">
                  <c:v>0.4</c:v>
                </c:pt>
                <c:pt idx="27">
                  <c:v>0.92</c:v>
                </c:pt>
                <c:pt idx="28">
                  <c:v>0.95</c:v>
                </c:pt>
                <c:pt idx="29">
                  <c:v>0.96</c:v>
                </c:pt>
                <c:pt idx="30">
                  <c:v>0.96</c:v>
                </c:pt>
                <c:pt idx="31">
                  <c:v>0.96</c:v>
                </c:pt>
                <c:pt idx="32">
                  <c:v>0.95</c:v>
                </c:pt>
                <c:pt idx="33">
                  <c:v>0.94</c:v>
                </c:pt>
                <c:pt idx="34">
                  <c:v>0.93</c:v>
                </c:pt>
                <c:pt idx="35">
                  <c:v>0.92</c:v>
                </c:pt>
                <c:pt idx="36">
                  <c:v>0.92</c:v>
                </c:pt>
                <c:pt idx="37">
                  <c:v>0.91</c:v>
                </c:pt>
                <c:pt idx="38">
                  <c:v>0.05</c:v>
                </c:pt>
                <c:pt idx="39">
                  <c:v>0.06</c:v>
                </c:pt>
                <c:pt idx="40">
                  <c:v>0.09</c:v>
                </c:pt>
                <c:pt idx="41">
                  <c:v>0.13</c:v>
                </c:pt>
                <c:pt idx="42">
                  <c:v>0.15</c:v>
                </c:pt>
                <c:pt idx="43">
                  <c:v>0.24</c:v>
                </c:pt>
                <c:pt idx="44">
                  <c:v>0.22</c:v>
                </c:pt>
                <c:pt idx="45">
                  <c:v>0.3</c:v>
                </c:pt>
                <c:pt idx="46">
                  <c:v>0.5</c:v>
                </c:pt>
                <c:pt idx="47">
                  <c:v>0.03</c:v>
                </c:pt>
                <c:pt idx="48">
                  <c:v>0.06</c:v>
                </c:pt>
                <c:pt idx="49">
                  <c:v>0.03</c:v>
                </c:pt>
                <c:pt idx="50">
                  <c:v>0.01</c:v>
                </c:pt>
                <c:pt idx="51">
                  <c:v>0.01</c:v>
                </c:pt>
                <c:pt idx="52">
                  <c:v>0.1</c:v>
                </c:pt>
                <c:pt idx="53">
                  <c:v>0.3</c:v>
                </c:pt>
                <c:pt idx="54">
                  <c:v>0.11</c:v>
                </c:pt>
                <c:pt idx="55">
                  <c:v>0</c:v>
                </c:pt>
                <c:pt idx="56">
                  <c:v>0.31</c:v>
                </c:pt>
                <c:pt idx="57">
                  <c:v>0</c:v>
                </c:pt>
                <c:pt idx="58">
                  <c:v>0.24</c:v>
                </c:pt>
                <c:pt idx="59">
                  <c:v>0.28999999999999998</c:v>
                </c:pt>
                <c:pt idx="60">
                  <c:v>0.19</c:v>
                </c:pt>
                <c:pt idx="61">
                  <c:v>0.08</c:v>
                </c:pt>
                <c:pt idx="62">
                  <c:v>0.1</c:v>
                </c:pt>
                <c:pt idx="63">
                  <c:v>0.12</c:v>
                </c:pt>
                <c:pt idx="64">
                  <c:v>0.14000000000000001</c:v>
                </c:pt>
                <c:pt idx="65">
                  <c:v>0.32</c:v>
                </c:pt>
                <c:pt idx="66">
                  <c:v>0.41</c:v>
                </c:pt>
                <c:pt idx="67">
                  <c:v>0.33</c:v>
                </c:pt>
                <c:pt idx="68">
                  <c:v>0.3</c:v>
                </c:pt>
                <c:pt idx="69">
                  <c:v>0.52</c:v>
                </c:pt>
                <c:pt idx="70">
                  <c:v>0.02</c:v>
                </c:pt>
                <c:pt idx="71">
                  <c:v>0.0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18</c:f>
              <c:numCache>
                <c:formatCode>yyyy\-mm\-dd</c:formatCode>
                <c:ptCount val="17"/>
                <c:pt idx="0">
                  <c:v>45235</c:v>
                </c:pt>
                <c:pt idx="1">
                  <c:v>45242</c:v>
                </c:pt>
                <c:pt idx="2">
                  <c:v>45249</c:v>
                </c:pt>
                <c:pt idx="3">
                  <c:v>45256</c:v>
                </c:pt>
                <c:pt idx="4">
                  <c:v>45270</c:v>
                </c:pt>
                <c:pt idx="5">
                  <c:v>45277</c:v>
                </c:pt>
                <c:pt idx="6">
                  <c:v>45284</c:v>
                </c:pt>
                <c:pt idx="7">
                  <c:v>45291</c:v>
                </c:pt>
                <c:pt idx="8">
                  <c:v>45298</c:v>
                </c:pt>
                <c:pt idx="9">
                  <c:v>45305</c:v>
                </c:pt>
                <c:pt idx="10">
                  <c:v>45312</c:v>
                </c:pt>
                <c:pt idx="11">
                  <c:v>45319</c:v>
                </c:pt>
                <c:pt idx="12">
                  <c:v>45326</c:v>
                </c:pt>
                <c:pt idx="13">
                  <c:v>45333</c:v>
                </c:pt>
                <c:pt idx="14">
                  <c:v>45340</c:v>
                </c:pt>
                <c:pt idx="15">
                  <c:v>45347</c:v>
                </c:pt>
                <c:pt idx="16">
                  <c:v>45354</c:v>
                </c:pt>
              </c:numCache>
            </c:numRef>
          </c:cat>
          <c:val>
            <c:numRef>
              <c:f>Sheet1!$B$2:$B$18</c:f>
              <c:numCache>
                <c:formatCode>General</c:formatCode>
                <c:ptCount val="17"/>
                <c:pt idx="0">
                  <c:v>13572</c:v>
                </c:pt>
                <c:pt idx="1">
                  <c:v>19654</c:v>
                </c:pt>
                <c:pt idx="2">
                  <c:v>20606</c:v>
                </c:pt>
                <c:pt idx="3">
                  <c:v>23727</c:v>
                </c:pt>
                <c:pt idx="4">
                  <c:v>22758</c:v>
                </c:pt>
                <c:pt idx="5">
                  <c:v>40918</c:v>
                </c:pt>
                <c:pt idx="6">
                  <c:v>123276</c:v>
                </c:pt>
                <c:pt idx="7">
                  <c:v>65933</c:v>
                </c:pt>
                <c:pt idx="8">
                  <c:v>33328</c:v>
                </c:pt>
                <c:pt idx="9">
                  <c:v>71915</c:v>
                </c:pt>
                <c:pt idx="10">
                  <c:v>49178</c:v>
                </c:pt>
                <c:pt idx="11">
                  <c:v>20389</c:v>
                </c:pt>
                <c:pt idx="12">
                  <c:v>5814</c:v>
                </c:pt>
                <c:pt idx="13">
                  <c:v>1961</c:v>
                </c:pt>
                <c:pt idx="14">
                  <c:v>775</c:v>
                </c:pt>
                <c:pt idx="15">
                  <c:v>473</c:v>
                </c:pt>
                <c:pt idx="16">
                  <c:v>350</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18</c:f>
              <c:numCache>
                <c:formatCode>yyyy\-mm\-dd</c:formatCode>
                <c:ptCount val="17"/>
                <c:pt idx="0">
                  <c:v>45235</c:v>
                </c:pt>
                <c:pt idx="1">
                  <c:v>45242</c:v>
                </c:pt>
                <c:pt idx="2">
                  <c:v>45249</c:v>
                </c:pt>
                <c:pt idx="3">
                  <c:v>45256</c:v>
                </c:pt>
                <c:pt idx="4">
                  <c:v>45270</c:v>
                </c:pt>
                <c:pt idx="5">
                  <c:v>45277</c:v>
                </c:pt>
                <c:pt idx="6">
                  <c:v>45284</c:v>
                </c:pt>
                <c:pt idx="7">
                  <c:v>45291</c:v>
                </c:pt>
                <c:pt idx="8">
                  <c:v>45298</c:v>
                </c:pt>
                <c:pt idx="9">
                  <c:v>45305</c:v>
                </c:pt>
                <c:pt idx="10">
                  <c:v>45312</c:v>
                </c:pt>
                <c:pt idx="11">
                  <c:v>45319</c:v>
                </c:pt>
                <c:pt idx="12">
                  <c:v>45326</c:v>
                </c:pt>
                <c:pt idx="13">
                  <c:v>45333</c:v>
                </c:pt>
                <c:pt idx="14">
                  <c:v>45340</c:v>
                </c:pt>
                <c:pt idx="15">
                  <c:v>45347</c:v>
                </c:pt>
                <c:pt idx="16">
                  <c:v>45354</c:v>
                </c:pt>
              </c:numCache>
            </c:numRef>
          </c:cat>
          <c:val>
            <c:numRef>
              <c:f>Sheet1!$C$2:$C$18</c:f>
              <c:numCache>
                <c:formatCode>General</c:formatCode>
                <c:ptCount val="17"/>
                <c:pt idx="0">
                  <c:v>842</c:v>
                </c:pt>
                <c:pt idx="1">
                  <c:v>103</c:v>
                </c:pt>
                <c:pt idx="2">
                  <c:v>40</c:v>
                </c:pt>
                <c:pt idx="3">
                  <c:v>154</c:v>
                </c:pt>
                <c:pt idx="4">
                  <c:v>1499</c:v>
                </c:pt>
                <c:pt idx="5">
                  <c:v>1824</c:v>
                </c:pt>
                <c:pt idx="6">
                  <c:v>0</c:v>
                </c:pt>
                <c:pt idx="7">
                  <c:v>0</c:v>
                </c:pt>
                <c:pt idx="8">
                  <c:v>0</c:v>
                </c:pt>
                <c:pt idx="9">
                  <c:v>0</c:v>
                </c:pt>
                <c:pt idx="10">
                  <c:v>0</c:v>
                </c:pt>
                <c:pt idx="11">
                  <c:v>0</c:v>
                </c:pt>
                <c:pt idx="12">
                  <c:v>0</c:v>
                </c:pt>
                <c:pt idx="13">
                  <c:v>0</c:v>
                </c:pt>
                <c:pt idx="14">
                  <c:v>4</c:v>
                </c:pt>
                <c:pt idx="15">
                  <c:v>31</c:v>
                </c:pt>
                <c:pt idx="16">
                  <c:v>48</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18</c:f>
              <c:numCache>
                <c:formatCode>yyyy\-mm\-dd</c:formatCode>
                <c:ptCount val="17"/>
                <c:pt idx="0">
                  <c:v>45235</c:v>
                </c:pt>
                <c:pt idx="1">
                  <c:v>45242</c:v>
                </c:pt>
                <c:pt idx="2">
                  <c:v>45249</c:v>
                </c:pt>
                <c:pt idx="3">
                  <c:v>45256</c:v>
                </c:pt>
                <c:pt idx="4">
                  <c:v>45270</c:v>
                </c:pt>
                <c:pt idx="5">
                  <c:v>45277</c:v>
                </c:pt>
                <c:pt idx="6">
                  <c:v>45284</c:v>
                </c:pt>
                <c:pt idx="7">
                  <c:v>45291</c:v>
                </c:pt>
                <c:pt idx="8">
                  <c:v>45298</c:v>
                </c:pt>
                <c:pt idx="9">
                  <c:v>45305</c:v>
                </c:pt>
                <c:pt idx="10">
                  <c:v>45312</c:v>
                </c:pt>
                <c:pt idx="11">
                  <c:v>45319</c:v>
                </c:pt>
                <c:pt idx="12">
                  <c:v>45326</c:v>
                </c:pt>
                <c:pt idx="13">
                  <c:v>45333</c:v>
                </c:pt>
                <c:pt idx="14">
                  <c:v>45340</c:v>
                </c:pt>
                <c:pt idx="15">
                  <c:v>45347</c:v>
                </c:pt>
                <c:pt idx="16">
                  <c:v>45354</c:v>
                </c:pt>
              </c:numCache>
            </c:numRef>
          </c:cat>
          <c:val>
            <c:numRef>
              <c:f>Sheet1!$D$2:$D$18</c:f>
              <c:numCache>
                <c:formatCode>General</c:formatCode>
                <c:ptCount val="17"/>
                <c:pt idx="0">
                  <c:v>14414</c:v>
                </c:pt>
                <c:pt idx="1">
                  <c:v>19757</c:v>
                </c:pt>
                <c:pt idx="2">
                  <c:v>20646</c:v>
                </c:pt>
                <c:pt idx="3">
                  <c:v>23881</c:v>
                </c:pt>
                <c:pt idx="4">
                  <c:v>24257</c:v>
                </c:pt>
                <c:pt idx="5">
                  <c:v>42742</c:v>
                </c:pt>
                <c:pt idx="6">
                  <c:v>123276</c:v>
                </c:pt>
                <c:pt idx="7">
                  <c:v>65933</c:v>
                </c:pt>
                <c:pt idx="8">
                  <c:v>33328</c:v>
                </c:pt>
                <c:pt idx="9">
                  <c:v>71915</c:v>
                </c:pt>
                <c:pt idx="10">
                  <c:v>49178</c:v>
                </c:pt>
                <c:pt idx="11">
                  <c:v>20389</c:v>
                </c:pt>
                <c:pt idx="12">
                  <c:v>5814</c:v>
                </c:pt>
                <c:pt idx="13">
                  <c:v>1961</c:v>
                </c:pt>
                <c:pt idx="14">
                  <c:v>779</c:v>
                </c:pt>
                <c:pt idx="15">
                  <c:v>504</c:v>
                </c:pt>
                <c:pt idx="16">
                  <c:v>398</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18</c:f>
              <c:numCache>
                <c:formatCode>yyyy\-mm\-dd</c:formatCode>
                <c:ptCount val="17"/>
                <c:pt idx="0">
                  <c:v>45235</c:v>
                </c:pt>
                <c:pt idx="1">
                  <c:v>45242</c:v>
                </c:pt>
                <c:pt idx="2">
                  <c:v>45249</c:v>
                </c:pt>
                <c:pt idx="3">
                  <c:v>45256</c:v>
                </c:pt>
                <c:pt idx="4">
                  <c:v>45270</c:v>
                </c:pt>
                <c:pt idx="5">
                  <c:v>45277</c:v>
                </c:pt>
                <c:pt idx="6">
                  <c:v>45284</c:v>
                </c:pt>
                <c:pt idx="7">
                  <c:v>45291</c:v>
                </c:pt>
                <c:pt idx="8">
                  <c:v>45298</c:v>
                </c:pt>
                <c:pt idx="9">
                  <c:v>45305</c:v>
                </c:pt>
                <c:pt idx="10">
                  <c:v>45312</c:v>
                </c:pt>
                <c:pt idx="11">
                  <c:v>45319</c:v>
                </c:pt>
                <c:pt idx="12">
                  <c:v>45326</c:v>
                </c:pt>
                <c:pt idx="13">
                  <c:v>45333</c:v>
                </c:pt>
                <c:pt idx="14">
                  <c:v>45340</c:v>
                </c:pt>
                <c:pt idx="15">
                  <c:v>45347</c:v>
                </c:pt>
                <c:pt idx="16">
                  <c:v>45354</c:v>
                </c:pt>
              </c:numCache>
            </c:numRef>
          </c:cat>
          <c:val>
            <c:numRef>
              <c:f>Sheet1!$E$2:$E$18</c:f>
              <c:numCache>
                <c:formatCode>General</c:formatCode>
                <c:ptCount val="17"/>
                <c:pt idx="0">
                  <c:v>15250</c:v>
                </c:pt>
                <c:pt idx="1">
                  <c:v>21575</c:v>
                </c:pt>
                <c:pt idx="2">
                  <c:v>21575</c:v>
                </c:pt>
                <c:pt idx="3">
                  <c:v>21575</c:v>
                </c:pt>
                <c:pt idx="4">
                  <c:v>21575</c:v>
                </c:pt>
                <c:pt idx="5">
                  <c:v>21575</c:v>
                </c:pt>
                <c:pt idx="6">
                  <c:v>21558</c:v>
                </c:pt>
                <c:pt idx="7">
                  <c:v>21558</c:v>
                </c:pt>
                <c:pt idx="8">
                  <c:v>21558</c:v>
                </c:pt>
                <c:pt idx="9">
                  <c:v>21523</c:v>
                </c:pt>
                <c:pt idx="10">
                  <c:v>21515</c:v>
                </c:pt>
                <c:pt idx="11">
                  <c:v>21515</c:v>
                </c:pt>
                <c:pt idx="12">
                  <c:v>18897</c:v>
                </c:pt>
                <c:pt idx="13">
                  <c:v>6432</c:v>
                </c:pt>
                <c:pt idx="14">
                  <c:v>2593</c:v>
                </c:pt>
                <c:pt idx="15">
                  <c:v>1695</c:v>
                </c:pt>
                <c:pt idx="16">
                  <c:v>1105</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18</c:f>
              <c:numCache>
                <c:formatCode>yyyy\-mm\-dd</c:formatCode>
                <c:ptCount val="17"/>
                <c:pt idx="0">
                  <c:v>45235</c:v>
                </c:pt>
                <c:pt idx="1">
                  <c:v>45242</c:v>
                </c:pt>
                <c:pt idx="2">
                  <c:v>45249</c:v>
                </c:pt>
                <c:pt idx="3">
                  <c:v>45256</c:v>
                </c:pt>
                <c:pt idx="4">
                  <c:v>45270</c:v>
                </c:pt>
                <c:pt idx="5">
                  <c:v>45277</c:v>
                </c:pt>
                <c:pt idx="6">
                  <c:v>45284</c:v>
                </c:pt>
                <c:pt idx="7">
                  <c:v>45291</c:v>
                </c:pt>
                <c:pt idx="8">
                  <c:v>45298</c:v>
                </c:pt>
                <c:pt idx="9">
                  <c:v>45305</c:v>
                </c:pt>
                <c:pt idx="10">
                  <c:v>45312</c:v>
                </c:pt>
                <c:pt idx="11">
                  <c:v>45319</c:v>
                </c:pt>
                <c:pt idx="12">
                  <c:v>45326</c:v>
                </c:pt>
                <c:pt idx="13">
                  <c:v>45333</c:v>
                </c:pt>
                <c:pt idx="14">
                  <c:v>45340</c:v>
                </c:pt>
                <c:pt idx="15">
                  <c:v>45347</c:v>
                </c:pt>
                <c:pt idx="16">
                  <c:v>45354</c:v>
                </c:pt>
              </c:numCache>
            </c:numRef>
          </c:cat>
          <c:val>
            <c:numRef>
              <c:f>Sheet1!$F$2:$F$18</c:f>
              <c:numCache>
                <c:formatCode>General</c:formatCode>
                <c:ptCount val="17"/>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pt idx="15">
                  <c:v>1</c:v>
                </c:pt>
                <c:pt idx="16">
                  <c:v>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69</c:f>
              <c:numCache>
                <c:formatCode>yyyy\-mm\-dd</c:formatCode>
                <c:ptCount val="6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109</c:v>
                </c:pt>
                <c:pt idx="21">
                  <c:v>45130</c:v>
                </c:pt>
                <c:pt idx="22">
                  <c:v>45172</c:v>
                </c:pt>
                <c:pt idx="23">
                  <c:v>45179</c:v>
                </c:pt>
                <c:pt idx="24">
                  <c:v>45186</c:v>
                </c:pt>
                <c:pt idx="25">
                  <c:v>45193</c:v>
                </c:pt>
                <c:pt idx="26">
                  <c:v>45200</c:v>
                </c:pt>
                <c:pt idx="27">
                  <c:v>45207</c:v>
                </c:pt>
                <c:pt idx="28">
                  <c:v>45214</c:v>
                </c:pt>
                <c:pt idx="29">
                  <c:v>45221</c:v>
                </c:pt>
                <c:pt idx="30">
                  <c:v>45228</c:v>
                </c:pt>
                <c:pt idx="31">
                  <c:v>45235</c:v>
                </c:pt>
                <c:pt idx="32">
                  <c:v>45242</c:v>
                </c:pt>
                <c:pt idx="33">
                  <c:v>45249</c:v>
                </c:pt>
                <c:pt idx="34">
                  <c:v>45256</c:v>
                </c:pt>
                <c:pt idx="35">
                  <c:v>45263</c:v>
                </c:pt>
                <c:pt idx="36">
                  <c:v>45270</c:v>
                </c:pt>
                <c:pt idx="37">
                  <c:v>45277</c:v>
                </c:pt>
                <c:pt idx="38">
                  <c:v>45284</c:v>
                </c:pt>
                <c:pt idx="39">
                  <c:v>45291</c:v>
                </c:pt>
                <c:pt idx="40">
                  <c:v>45298</c:v>
                </c:pt>
                <c:pt idx="41">
                  <c:v>45305</c:v>
                </c:pt>
                <c:pt idx="42">
                  <c:v>45312</c:v>
                </c:pt>
                <c:pt idx="43">
                  <c:v>45319</c:v>
                </c:pt>
                <c:pt idx="44">
                  <c:v>45326</c:v>
                </c:pt>
                <c:pt idx="45">
                  <c:v>45333</c:v>
                </c:pt>
                <c:pt idx="46">
                  <c:v>45340</c:v>
                </c:pt>
                <c:pt idx="47">
                  <c:v>45354</c:v>
                </c:pt>
                <c:pt idx="48">
                  <c:v>45396</c:v>
                </c:pt>
                <c:pt idx="49">
                  <c:v>45438</c:v>
                </c:pt>
                <c:pt idx="50">
                  <c:v>45445</c:v>
                </c:pt>
                <c:pt idx="51">
                  <c:v>45515</c:v>
                </c:pt>
                <c:pt idx="52">
                  <c:v>45543</c:v>
                </c:pt>
                <c:pt idx="53">
                  <c:v>45578</c:v>
                </c:pt>
                <c:pt idx="54">
                  <c:v>45585</c:v>
                </c:pt>
                <c:pt idx="55">
                  <c:v>45592</c:v>
                </c:pt>
                <c:pt idx="56">
                  <c:v>45599</c:v>
                </c:pt>
                <c:pt idx="57">
                  <c:v>45606</c:v>
                </c:pt>
                <c:pt idx="58">
                  <c:v>45613</c:v>
                </c:pt>
                <c:pt idx="59">
                  <c:v>45620</c:v>
                </c:pt>
                <c:pt idx="60">
                  <c:v>45627</c:v>
                </c:pt>
                <c:pt idx="61">
                  <c:v>45634</c:v>
                </c:pt>
                <c:pt idx="62">
                  <c:v>45641</c:v>
                </c:pt>
                <c:pt idx="63">
                  <c:v>45648</c:v>
                </c:pt>
                <c:pt idx="64">
                  <c:v>45655</c:v>
                </c:pt>
                <c:pt idx="65">
                  <c:v>45662</c:v>
                </c:pt>
                <c:pt idx="66">
                  <c:v>45669</c:v>
                </c:pt>
                <c:pt idx="67">
                  <c:v>45676</c:v>
                </c:pt>
              </c:numCache>
            </c:numRef>
          </c:cat>
          <c:val>
            <c:numRef>
              <c:f>Sheet1!$B$2:$B$69</c:f>
              <c:numCache>
                <c:formatCode>General</c:formatCode>
                <c:ptCount val="68"/>
                <c:pt idx="0">
                  <c:v>42452</c:v>
                </c:pt>
                <c:pt idx="1">
                  <c:v>21005</c:v>
                </c:pt>
                <c:pt idx="2">
                  <c:v>22600</c:v>
                </c:pt>
                <c:pt idx="3">
                  <c:v>15098</c:v>
                </c:pt>
                <c:pt idx="4">
                  <c:v>10905</c:v>
                </c:pt>
                <c:pt idx="5">
                  <c:v>9902</c:v>
                </c:pt>
                <c:pt idx="6">
                  <c:v>13313</c:v>
                </c:pt>
                <c:pt idx="7">
                  <c:v>29457</c:v>
                </c:pt>
                <c:pt idx="8">
                  <c:v>12281</c:v>
                </c:pt>
                <c:pt idx="9">
                  <c:v>12400</c:v>
                </c:pt>
                <c:pt idx="10">
                  <c:v>26712</c:v>
                </c:pt>
                <c:pt idx="11">
                  <c:v>16837</c:v>
                </c:pt>
                <c:pt idx="12">
                  <c:v>9033</c:v>
                </c:pt>
                <c:pt idx="13">
                  <c:v>9138</c:v>
                </c:pt>
                <c:pt idx="14">
                  <c:v>12862</c:v>
                </c:pt>
                <c:pt idx="15">
                  <c:v>33527</c:v>
                </c:pt>
                <c:pt idx="16">
                  <c:v>13219</c:v>
                </c:pt>
                <c:pt idx="17">
                  <c:v>2003</c:v>
                </c:pt>
                <c:pt idx="18">
                  <c:v>3035</c:v>
                </c:pt>
                <c:pt idx="19">
                  <c:v>2768</c:v>
                </c:pt>
                <c:pt idx="20">
                  <c:v>671</c:v>
                </c:pt>
                <c:pt idx="21">
                  <c:v>23168</c:v>
                </c:pt>
                <c:pt idx="22">
                  <c:v>6299</c:v>
                </c:pt>
                <c:pt idx="23">
                  <c:v>2328</c:v>
                </c:pt>
                <c:pt idx="24">
                  <c:v>1491</c:v>
                </c:pt>
                <c:pt idx="25">
                  <c:v>1006</c:v>
                </c:pt>
                <c:pt idx="26">
                  <c:v>3821</c:v>
                </c:pt>
                <c:pt idx="27">
                  <c:v>7302</c:v>
                </c:pt>
                <c:pt idx="28">
                  <c:v>41486</c:v>
                </c:pt>
                <c:pt idx="29">
                  <c:v>48060</c:v>
                </c:pt>
                <c:pt idx="30">
                  <c:v>52758</c:v>
                </c:pt>
                <c:pt idx="31">
                  <c:v>60694</c:v>
                </c:pt>
                <c:pt idx="32">
                  <c:v>63375</c:v>
                </c:pt>
                <c:pt idx="33">
                  <c:v>75506</c:v>
                </c:pt>
                <c:pt idx="34">
                  <c:v>126668</c:v>
                </c:pt>
                <c:pt idx="35">
                  <c:v>124147</c:v>
                </c:pt>
                <c:pt idx="36">
                  <c:v>169430</c:v>
                </c:pt>
                <c:pt idx="37">
                  <c:v>260071</c:v>
                </c:pt>
                <c:pt idx="38">
                  <c:v>515709</c:v>
                </c:pt>
                <c:pt idx="39">
                  <c:v>731707</c:v>
                </c:pt>
                <c:pt idx="40">
                  <c:v>67755</c:v>
                </c:pt>
                <c:pt idx="41">
                  <c:v>15925</c:v>
                </c:pt>
                <c:pt idx="42">
                  <c:v>6050</c:v>
                </c:pt>
                <c:pt idx="43">
                  <c:v>3232</c:v>
                </c:pt>
                <c:pt idx="44">
                  <c:v>1874</c:v>
                </c:pt>
                <c:pt idx="45">
                  <c:v>1706</c:v>
                </c:pt>
                <c:pt idx="46">
                  <c:v>11461</c:v>
                </c:pt>
                <c:pt idx="47">
                  <c:v>20067</c:v>
                </c:pt>
                <c:pt idx="48">
                  <c:v>19375</c:v>
                </c:pt>
                <c:pt idx="49">
                  <c:v>19682</c:v>
                </c:pt>
                <c:pt idx="50">
                  <c:v>98</c:v>
                </c:pt>
                <c:pt idx="51">
                  <c:v>4099</c:v>
                </c:pt>
                <c:pt idx="52">
                  <c:v>712</c:v>
                </c:pt>
                <c:pt idx="53">
                  <c:v>19913</c:v>
                </c:pt>
                <c:pt idx="54">
                  <c:v>38222</c:v>
                </c:pt>
                <c:pt idx="55">
                  <c:v>37545</c:v>
                </c:pt>
                <c:pt idx="56">
                  <c:v>34961</c:v>
                </c:pt>
                <c:pt idx="57">
                  <c:v>44319</c:v>
                </c:pt>
                <c:pt idx="58">
                  <c:v>53538</c:v>
                </c:pt>
                <c:pt idx="59">
                  <c:v>66493</c:v>
                </c:pt>
                <c:pt idx="60">
                  <c:v>107195</c:v>
                </c:pt>
                <c:pt idx="61">
                  <c:v>117801</c:v>
                </c:pt>
                <c:pt idx="62">
                  <c:v>162782</c:v>
                </c:pt>
                <c:pt idx="63">
                  <c:v>255107</c:v>
                </c:pt>
                <c:pt idx="64">
                  <c:v>457574</c:v>
                </c:pt>
                <c:pt idx="65">
                  <c:v>8791</c:v>
                </c:pt>
                <c:pt idx="66">
                  <c:v>2066</c:v>
                </c:pt>
                <c:pt idx="67">
                  <c:v>1129</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69</c:f>
              <c:numCache>
                <c:formatCode>yyyy\-mm\-dd</c:formatCode>
                <c:ptCount val="6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109</c:v>
                </c:pt>
                <c:pt idx="21">
                  <c:v>45130</c:v>
                </c:pt>
                <c:pt idx="22">
                  <c:v>45172</c:v>
                </c:pt>
                <c:pt idx="23">
                  <c:v>45179</c:v>
                </c:pt>
                <c:pt idx="24">
                  <c:v>45186</c:v>
                </c:pt>
                <c:pt idx="25">
                  <c:v>45193</c:v>
                </c:pt>
                <c:pt idx="26">
                  <c:v>45200</c:v>
                </c:pt>
                <c:pt idx="27">
                  <c:v>45207</c:v>
                </c:pt>
                <c:pt idx="28">
                  <c:v>45214</c:v>
                </c:pt>
                <c:pt idx="29">
                  <c:v>45221</c:v>
                </c:pt>
                <c:pt idx="30">
                  <c:v>45228</c:v>
                </c:pt>
                <c:pt idx="31">
                  <c:v>45235</c:v>
                </c:pt>
                <c:pt idx="32">
                  <c:v>45242</c:v>
                </c:pt>
                <c:pt idx="33">
                  <c:v>45249</c:v>
                </c:pt>
                <c:pt idx="34">
                  <c:v>45256</c:v>
                </c:pt>
                <c:pt idx="35">
                  <c:v>45263</c:v>
                </c:pt>
                <c:pt idx="36">
                  <c:v>45270</c:v>
                </c:pt>
                <c:pt idx="37">
                  <c:v>45277</c:v>
                </c:pt>
                <c:pt idx="38">
                  <c:v>45284</c:v>
                </c:pt>
                <c:pt idx="39">
                  <c:v>45291</c:v>
                </c:pt>
                <c:pt idx="40">
                  <c:v>45298</c:v>
                </c:pt>
                <c:pt idx="41">
                  <c:v>45305</c:v>
                </c:pt>
                <c:pt idx="42">
                  <c:v>45312</c:v>
                </c:pt>
                <c:pt idx="43">
                  <c:v>45319</c:v>
                </c:pt>
                <c:pt idx="44">
                  <c:v>45326</c:v>
                </c:pt>
                <c:pt idx="45">
                  <c:v>45333</c:v>
                </c:pt>
                <c:pt idx="46">
                  <c:v>45340</c:v>
                </c:pt>
                <c:pt idx="47">
                  <c:v>45354</c:v>
                </c:pt>
                <c:pt idx="48">
                  <c:v>45396</c:v>
                </c:pt>
                <c:pt idx="49">
                  <c:v>45438</c:v>
                </c:pt>
                <c:pt idx="50">
                  <c:v>45445</c:v>
                </c:pt>
                <c:pt idx="51">
                  <c:v>45515</c:v>
                </c:pt>
                <c:pt idx="52">
                  <c:v>45543</c:v>
                </c:pt>
                <c:pt idx="53">
                  <c:v>45578</c:v>
                </c:pt>
                <c:pt idx="54">
                  <c:v>45585</c:v>
                </c:pt>
                <c:pt idx="55">
                  <c:v>45592</c:v>
                </c:pt>
                <c:pt idx="56">
                  <c:v>45599</c:v>
                </c:pt>
                <c:pt idx="57">
                  <c:v>45606</c:v>
                </c:pt>
                <c:pt idx="58">
                  <c:v>45613</c:v>
                </c:pt>
                <c:pt idx="59">
                  <c:v>45620</c:v>
                </c:pt>
                <c:pt idx="60">
                  <c:v>45627</c:v>
                </c:pt>
                <c:pt idx="61">
                  <c:v>45634</c:v>
                </c:pt>
                <c:pt idx="62">
                  <c:v>45641</c:v>
                </c:pt>
                <c:pt idx="63">
                  <c:v>45648</c:v>
                </c:pt>
                <c:pt idx="64">
                  <c:v>45655</c:v>
                </c:pt>
                <c:pt idx="65">
                  <c:v>45662</c:v>
                </c:pt>
                <c:pt idx="66">
                  <c:v>45669</c:v>
                </c:pt>
                <c:pt idx="67">
                  <c:v>45676</c:v>
                </c:pt>
              </c:numCache>
            </c:numRef>
          </c:cat>
          <c:val>
            <c:numRef>
              <c:f>Sheet1!$C$2:$C$69</c:f>
              <c:numCache>
                <c:formatCode>General</c:formatCode>
                <c:ptCount val="68"/>
                <c:pt idx="0">
                  <c:v>66408</c:v>
                </c:pt>
                <c:pt idx="1">
                  <c:v>67865</c:v>
                </c:pt>
                <c:pt idx="2">
                  <c:v>67393</c:v>
                </c:pt>
                <c:pt idx="3">
                  <c:v>67451</c:v>
                </c:pt>
                <c:pt idx="4">
                  <c:v>69267</c:v>
                </c:pt>
                <c:pt idx="5">
                  <c:v>74626</c:v>
                </c:pt>
                <c:pt idx="6">
                  <c:v>68126</c:v>
                </c:pt>
                <c:pt idx="7">
                  <c:v>70310</c:v>
                </c:pt>
                <c:pt idx="8">
                  <c:v>80423</c:v>
                </c:pt>
                <c:pt idx="9">
                  <c:v>71738</c:v>
                </c:pt>
                <c:pt idx="10">
                  <c:v>74299</c:v>
                </c:pt>
                <c:pt idx="11">
                  <c:v>74837</c:v>
                </c:pt>
                <c:pt idx="12">
                  <c:v>77387</c:v>
                </c:pt>
                <c:pt idx="13">
                  <c:v>86179</c:v>
                </c:pt>
                <c:pt idx="14">
                  <c:v>72955</c:v>
                </c:pt>
                <c:pt idx="15">
                  <c:v>73785</c:v>
                </c:pt>
                <c:pt idx="16">
                  <c:v>76399</c:v>
                </c:pt>
                <c:pt idx="17">
                  <c:v>88592</c:v>
                </c:pt>
                <c:pt idx="18">
                  <c:v>82075</c:v>
                </c:pt>
                <c:pt idx="19">
                  <c:v>81758</c:v>
                </c:pt>
                <c:pt idx="20">
                  <c:v>84982</c:v>
                </c:pt>
                <c:pt idx="21">
                  <c:v>78242</c:v>
                </c:pt>
                <c:pt idx="22">
                  <c:v>95633</c:v>
                </c:pt>
                <c:pt idx="23">
                  <c:v>98772</c:v>
                </c:pt>
                <c:pt idx="24">
                  <c:v>87224</c:v>
                </c:pt>
                <c:pt idx="25">
                  <c:v>83940</c:v>
                </c:pt>
                <c:pt idx="26">
                  <c:v>77500</c:v>
                </c:pt>
                <c:pt idx="27">
                  <c:v>77036</c:v>
                </c:pt>
                <c:pt idx="28">
                  <c:v>68899</c:v>
                </c:pt>
                <c:pt idx="29">
                  <c:v>73325</c:v>
                </c:pt>
                <c:pt idx="30">
                  <c:v>70397</c:v>
                </c:pt>
                <c:pt idx="31">
                  <c:v>69127</c:v>
                </c:pt>
                <c:pt idx="32">
                  <c:v>77759</c:v>
                </c:pt>
                <c:pt idx="33">
                  <c:v>72492</c:v>
                </c:pt>
                <c:pt idx="34">
                  <c:v>68645</c:v>
                </c:pt>
                <c:pt idx="35">
                  <c:v>72768</c:v>
                </c:pt>
                <c:pt idx="36">
                  <c:v>73913</c:v>
                </c:pt>
                <c:pt idx="37">
                  <c:v>54443</c:v>
                </c:pt>
                <c:pt idx="38">
                  <c:v>53301</c:v>
                </c:pt>
                <c:pt idx="39">
                  <c:v>37537</c:v>
                </c:pt>
                <c:pt idx="40">
                  <c:v>35710</c:v>
                </c:pt>
                <c:pt idx="41">
                  <c:v>38126</c:v>
                </c:pt>
                <c:pt idx="42">
                  <c:v>64526</c:v>
                </c:pt>
                <c:pt idx="43">
                  <c:v>75213</c:v>
                </c:pt>
                <c:pt idx="44">
                  <c:v>79866</c:v>
                </c:pt>
                <c:pt idx="45">
                  <c:v>88059</c:v>
                </c:pt>
                <c:pt idx="46">
                  <c:v>76929</c:v>
                </c:pt>
                <c:pt idx="47">
                  <c:v>80667</c:v>
                </c:pt>
                <c:pt idx="48">
                  <c:v>66806</c:v>
                </c:pt>
                <c:pt idx="49">
                  <c:v>81620</c:v>
                </c:pt>
                <c:pt idx="50">
                  <c:v>88257</c:v>
                </c:pt>
                <c:pt idx="51">
                  <c:v>85783</c:v>
                </c:pt>
                <c:pt idx="52">
                  <c:v>84818</c:v>
                </c:pt>
                <c:pt idx="53">
                  <c:v>66006</c:v>
                </c:pt>
                <c:pt idx="54">
                  <c:v>63165</c:v>
                </c:pt>
                <c:pt idx="55">
                  <c:v>67202</c:v>
                </c:pt>
                <c:pt idx="56">
                  <c:v>73555</c:v>
                </c:pt>
                <c:pt idx="57">
                  <c:v>76113</c:v>
                </c:pt>
                <c:pt idx="58">
                  <c:v>71069</c:v>
                </c:pt>
                <c:pt idx="59">
                  <c:v>69944</c:v>
                </c:pt>
                <c:pt idx="60">
                  <c:v>68462</c:v>
                </c:pt>
                <c:pt idx="61">
                  <c:v>75628</c:v>
                </c:pt>
                <c:pt idx="62">
                  <c:v>72803</c:v>
                </c:pt>
                <c:pt idx="63">
                  <c:v>80857</c:v>
                </c:pt>
                <c:pt idx="64">
                  <c:v>88548</c:v>
                </c:pt>
                <c:pt idx="65">
                  <c:v>67225</c:v>
                </c:pt>
                <c:pt idx="66">
                  <c:v>63850</c:v>
                </c:pt>
                <c:pt idx="67">
                  <c:v>72422</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69</c:f>
              <c:numCache>
                <c:formatCode>yyyy\-mm\-dd</c:formatCode>
                <c:ptCount val="6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109</c:v>
                </c:pt>
                <c:pt idx="21">
                  <c:v>45130</c:v>
                </c:pt>
                <c:pt idx="22">
                  <c:v>45172</c:v>
                </c:pt>
                <c:pt idx="23">
                  <c:v>45179</c:v>
                </c:pt>
                <c:pt idx="24">
                  <c:v>45186</c:v>
                </c:pt>
                <c:pt idx="25">
                  <c:v>45193</c:v>
                </c:pt>
                <c:pt idx="26">
                  <c:v>45200</c:v>
                </c:pt>
                <c:pt idx="27">
                  <c:v>45207</c:v>
                </c:pt>
                <c:pt idx="28">
                  <c:v>45214</c:v>
                </c:pt>
                <c:pt idx="29">
                  <c:v>45221</c:v>
                </c:pt>
                <c:pt idx="30">
                  <c:v>45228</c:v>
                </c:pt>
                <c:pt idx="31">
                  <c:v>45235</c:v>
                </c:pt>
                <c:pt idx="32">
                  <c:v>45242</c:v>
                </c:pt>
                <c:pt idx="33">
                  <c:v>45249</c:v>
                </c:pt>
                <c:pt idx="34">
                  <c:v>45256</c:v>
                </c:pt>
                <c:pt idx="35">
                  <c:v>45263</c:v>
                </c:pt>
                <c:pt idx="36">
                  <c:v>45270</c:v>
                </c:pt>
                <c:pt idx="37">
                  <c:v>45277</c:v>
                </c:pt>
                <c:pt idx="38">
                  <c:v>45284</c:v>
                </c:pt>
                <c:pt idx="39">
                  <c:v>45291</c:v>
                </c:pt>
                <c:pt idx="40">
                  <c:v>45298</c:v>
                </c:pt>
                <c:pt idx="41">
                  <c:v>45305</c:v>
                </c:pt>
                <c:pt idx="42">
                  <c:v>45312</c:v>
                </c:pt>
                <c:pt idx="43">
                  <c:v>45319</c:v>
                </c:pt>
                <c:pt idx="44">
                  <c:v>45326</c:v>
                </c:pt>
                <c:pt idx="45">
                  <c:v>45333</c:v>
                </c:pt>
                <c:pt idx="46">
                  <c:v>45340</c:v>
                </c:pt>
                <c:pt idx="47">
                  <c:v>45354</c:v>
                </c:pt>
                <c:pt idx="48">
                  <c:v>45396</c:v>
                </c:pt>
                <c:pt idx="49">
                  <c:v>45438</c:v>
                </c:pt>
                <c:pt idx="50">
                  <c:v>45445</c:v>
                </c:pt>
                <c:pt idx="51">
                  <c:v>45515</c:v>
                </c:pt>
                <c:pt idx="52">
                  <c:v>45543</c:v>
                </c:pt>
                <c:pt idx="53">
                  <c:v>45578</c:v>
                </c:pt>
                <c:pt idx="54">
                  <c:v>45585</c:v>
                </c:pt>
                <c:pt idx="55">
                  <c:v>45592</c:v>
                </c:pt>
                <c:pt idx="56">
                  <c:v>45599</c:v>
                </c:pt>
                <c:pt idx="57">
                  <c:v>45606</c:v>
                </c:pt>
                <c:pt idx="58">
                  <c:v>45613</c:v>
                </c:pt>
                <c:pt idx="59">
                  <c:v>45620</c:v>
                </c:pt>
                <c:pt idx="60">
                  <c:v>45627</c:v>
                </c:pt>
                <c:pt idx="61">
                  <c:v>45634</c:v>
                </c:pt>
                <c:pt idx="62">
                  <c:v>45641</c:v>
                </c:pt>
                <c:pt idx="63">
                  <c:v>45648</c:v>
                </c:pt>
                <c:pt idx="64">
                  <c:v>45655</c:v>
                </c:pt>
                <c:pt idx="65">
                  <c:v>45662</c:v>
                </c:pt>
                <c:pt idx="66">
                  <c:v>45669</c:v>
                </c:pt>
                <c:pt idx="67">
                  <c:v>45676</c:v>
                </c:pt>
              </c:numCache>
            </c:numRef>
          </c:cat>
          <c:val>
            <c:numRef>
              <c:f>Sheet1!$D$2:$D$69</c:f>
              <c:numCache>
                <c:formatCode>General</c:formatCode>
                <c:ptCount val="68"/>
                <c:pt idx="0">
                  <c:v>108860</c:v>
                </c:pt>
                <c:pt idx="1">
                  <c:v>88870</c:v>
                </c:pt>
                <c:pt idx="2">
                  <c:v>89993</c:v>
                </c:pt>
                <c:pt idx="3">
                  <c:v>82549</c:v>
                </c:pt>
                <c:pt idx="4">
                  <c:v>80172</c:v>
                </c:pt>
                <c:pt idx="5">
                  <c:v>84528</c:v>
                </c:pt>
                <c:pt idx="6">
                  <c:v>81439</c:v>
                </c:pt>
                <c:pt idx="7">
                  <c:v>99767</c:v>
                </c:pt>
                <c:pt idx="8">
                  <c:v>92704</c:v>
                </c:pt>
                <c:pt idx="9">
                  <c:v>84138</c:v>
                </c:pt>
                <c:pt idx="10">
                  <c:v>101011</c:v>
                </c:pt>
                <c:pt idx="11">
                  <c:v>91674</c:v>
                </c:pt>
                <c:pt idx="12">
                  <c:v>86420</c:v>
                </c:pt>
                <c:pt idx="13">
                  <c:v>95317</c:v>
                </c:pt>
                <c:pt idx="14">
                  <c:v>85817</c:v>
                </c:pt>
                <c:pt idx="15">
                  <c:v>107312</c:v>
                </c:pt>
                <c:pt idx="16">
                  <c:v>89618</c:v>
                </c:pt>
                <c:pt idx="17">
                  <c:v>90595</c:v>
                </c:pt>
                <c:pt idx="18">
                  <c:v>85110</c:v>
                </c:pt>
                <c:pt idx="19">
                  <c:v>84526</c:v>
                </c:pt>
                <c:pt idx="20">
                  <c:v>85653</c:v>
                </c:pt>
                <c:pt idx="21">
                  <c:v>101410</c:v>
                </c:pt>
                <c:pt idx="22">
                  <c:v>101932</c:v>
                </c:pt>
                <c:pt idx="23">
                  <c:v>101100</c:v>
                </c:pt>
                <c:pt idx="24">
                  <c:v>88715</c:v>
                </c:pt>
                <c:pt idx="25">
                  <c:v>84946</c:v>
                </c:pt>
                <c:pt idx="26">
                  <c:v>81321</c:v>
                </c:pt>
                <c:pt idx="27">
                  <c:v>84338</c:v>
                </c:pt>
                <c:pt idx="28">
                  <c:v>110385</c:v>
                </c:pt>
                <c:pt idx="29">
                  <c:v>121385</c:v>
                </c:pt>
                <c:pt idx="30">
                  <c:v>123155</c:v>
                </c:pt>
                <c:pt idx="31">
                  <c:v>129821</c:v>
                </c:pt>
                <c:pt idx="32">
                  <c:v>141134</c:v>
                </c:pt>
                <c:pt idx="33">
                  <c:v>147998</c:v>
                </c:pt>
                <c:pt idx="34">
                  <c:v>195313</c:v>
                </c:pt>
                <c:pt idx="35">
                  <c:v>196915</c:v>
                </c:pt>
                <c:pt idx="36">
                  <c:v>243343</c:v>
                </c:pt>
                <c:pt idx="37">
                  <c:v>314514</c:v>
                </c:pt>
                <c:pt idx="38">
                  <c:v>569010</c:v>
                </c:pt>
                <c:pt idx="39">
                  <c:v>769244</c:v>
                </c:pt>
                <c:pt idx="40">
                  <c:v>103465</c:v>
                </c:pt>
                <c:pt idx="41">
                  <c:v>54051</c:v>
                </c:pt>
                <c:pt idx="42">
                  <c:v>70576</c:v>
                </c:pt>
                <c:pt idx="43">
                  <c:v>78445</c:v>
                </c:pt>
                <c:pt idx="44">
                  <c:v>81740</c:v>
                </c:pt>
                <c:pt idx="45">
                  <c:v>89765</c:v>
                </c:pt>
                <c:pt idx="46">
                  <c:v>88390</c:v>
                </c:pt>
                <c:pt idx="47">
                  <c:v>100734</c:v>
                </c:pt>
                <c:pt idx="48">
                  <c:v>86181</c:v>
                </c:pt>
                <c:pt idx="49">
                  <c:v>101302</c:v>
                </c:pt>
                <c:pt idx="50">
                  <c:v>88355</c:v>
                </c:pt>
                <c:pt idx="51">
                  <c:v>89882</c:v>
                </c:pt>
                <c:pt idx="52">
                  <c:v>85530</c:v>
                </c:pt>
                <c:pt idx="53">
                  <c:v>85919</c:v>
                </c:pt>
                <c:pt idx="54">
                  <c:v>101387</c:v>
                </c:pt>
                <c:pt idx="55">
                  <c:v>104747</c:v>
                </c:pt>
                <c:pt idx="56">
                  <c:v>108516</c:v>
                </c:pt>
                <c:pt idx="57">
                  <c:v>120432</c:v>
                </c:pt>
                <c:pt idx="58">
                  <c:v>124607</c:v>
                </c:pt>
                <c:pt idx="59">
                  <c:v>136437</c:v>
                </c:pt>
                <c:pt idx="60">
                  <c:v>175657</c:v>
                </c:pt>
                <c:pt idx="61">
                  <c:v>193429</c:v>
                </c:pt>
                <c:pt idx="62">
                  <c:v>235585</c:v>
                </c:pt>
                <c:pt idx="63">
                  <c:v>335964</c:v>
                </c:pt>
                <c:pt idx="64">
                  <c:v>546122</c:v>
                </c:pt>
                <c:pt idx="65">
                  <c:v>76016</c:v>
                </c:pt>
                <c:pt idx="66">
                  <c:v>65916</c:v>
                </c:pt>
                <c:pt idx="67">
                  <c:v>73551</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69</c:f>
              <c:numCache>
                <c:formatCode>yyyy\-mm\-dd</c:formatCode>
                <c:ptCount val="6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109</c:v>
                </c:pt>
                <c:pt idx="21">
                  <c:v>45130</c:v>
                </c:pt>
                <c:pt idx="22">
                  <c:v>45172</c:v>
                </c:pt>
                <c:pt idx="23">
                  <c:v>45179</c:v>
                </c:pt>
                <c:pt idx="24">
                  <c:v>45186</c:v>
                </c:pt>
                <c:pt idx="25">
                  <c:v>45193</c:v>
                </c:pt>
                <c:pt idx="26">
                  <c:v>45200</c:v>
                </c:pt>
                <c:pt idx="27">
                  <c:v>45207</c:v>
                </c:pt>
                <c:pt idx="28">
                  <c:v>45214</c:v>
                </c:pt>
                <c:pt idx="29">
                  <c:v>45221</c:v>
                </c:pt>
                <c:pt idx="30">
                  <c:v>45228</c:v>
                </c:pt>
                <c:pt idx="31">
                  <c:v>45235</c:v>
                </c:pt>
                <c:pt idx="32">
                  <c:v>45242</c:v>
                </c:pt>
                <c:pt idx="33">
                  <c:v>45249</c:v>
                </c:pt>
                <c:pt idx="34">
                  <c:v>45256</c:v>
                </c:pt>
                <c:pt idx="35">
                  <c:v>45263</c:v>
                </c:pt>
                <c:pt idx="36">
                  <c:v>45270</c:v>
                </c:pt>
                <c:pt idx="37">
                  <c:v>45277</c:v>
                </c:pt>
                <c:pt idx="38">
                  <c:v>45284</c:v>
                </c:pt>
                <c:pt idx="39">
                  <c:v>45291</c:v>
                </c:pt>
                <c:pt idx="40">
                  <c:v>45298</c:v>
                </c:pt>
                <c:pt idx="41">
                  <c:v>45305</c:v>
                </c:pt>
                <c:pt idx="42">
                  <c:v>45312</c:v>
                </c:pt>
                <c:pt idx="43">
                  <c:v>45319</c:v>
                </c:pt>
                <c:pt idx="44">
                  <c:v>45326</c:v>
                </c:pt>
                <c:pt idx="45">
                  <c:v>45333</c:v>
                </c:pt>
                <c:pt idx="46">
                  <c:v>45340</c:v>
                </c:pt>
                <c:pt idx="47">
                  <c:v>45354</c:v>
                </c:pt>
                <c:pt idx="48">
                  <c:v>45396</c:v>
                </c:pt>
                <c:pt idx="49">
                  <c:v>45438</c:v>
                </c:pt>
                <c:pt idx="50">
                  <c:v>45445</c:v>
                </c:pt>
                <c:pt idx="51">
                  <c:v>45515</c:v>
                </c:pt>
                <c:pt idx="52">
                  <c:v>45543</c:v>
                </c:pt>
                <c:pt idx="53">
                  <c:v>45578</c:v>
                </c:pt>
                <c:pt idx="54">
                  <c:v>45585</c:v>
                </c:pt>
                <c:pt idx="55">
                  <c:v>45592</c:v>
                </c:pt>
                <c:pt idx="56">
                  <c:v>45599</c:v>
                </c:pt>
                <c:pt idx="57">
                  <c:v>45606</c:v>
                </c:pt>
                <c:pt idx="58">
                  <c:v>45613</c:v>
                </c:pt>
                <c:pt idx="59">
                  <c:v>45620</c:v>
                </c:pt>
                <c:pt idx="60">
                  <c:v>45627</c:v>
                </c:pt>
                <c:pt idx="61">
                  <c:v>45634</c:v>
                </c:pt>
                <c:pt idx="62">
                  <c:v>45641</c:v>
                </c:pt>
                <c:pt idx="63">
                  <c:v>45648</c:v>
                </c:pt>
                <c:pt idx="64">
                  <c:v>45655</c:v>
                </c:pt>
                <c:pt idx="65">
                  <c:v>45662</c:v>
                </c:pt>
                <c:pt idx="66">
                  <c:v>45669</c:v>
                </c:pt>
                <c:pt idx="67">
                  <c:v>45676</c:v>
                </c:pt>
              </c:numCache>
            </c:numRef>
          </c:cat>
          <c:val>
            <c:numRef>
              <c:f>Sheet1!$E$2:$E$69</c:f>
              <c:numCache>
                <c:formatCode>General</c:formatCode>
                <c:ptCount val="68"/>
                <c:pt idx="0">
                  <c:v>73169</c:v>
                </c:pt>
                <c:pt idx="1">
                  <c:v>73943</c:v>
                </c:pt>
                <c:pt idx="2">
                  <c:v>75107</c:v>
                </c:pt>
                <c:pt idx="3">
                  <c:v>76059</c:v>
                </c:pt>
                <c:pt idx="4">
                  <c:v>78172</c:v>
                </c:pt>
                <c:pt idx="5">
                  <c:v>81031</c:v>
                </c:pt>
                <c:pt idx="6">
                  <c:v>82829</c:v>
                </c:pt>
                <c:pt idx="7">
                  <c:v>85707</c:v>
                </c:pt>
                <c:pt idx="8">
                  <c:v>87730</c:v>
                </c:pt>
                <c:pt idx="9">
                  <c:v>89193</c:v>
                </c:pt>
                <c:pt idx="10">
                  <c:v>88494</c:v>
                </c:pt>
                <c:pt idx="11">
                  <c:v>89245</c:v>
                </c:pt>
                <c:pt idx="12">
                  <c:v>90383</c:v>
                </c:pt>
                <c:pt idx="13">
                  <c:v>90050</c:v>
                </c:pt>
                <c:pt idx="14">
                  <c:v>92308</c:v>
                </c:pt>
                <c:pt idx="15">
                  <c:v>90830</c:v>
                </c:pt>
                <c:pt idx="16">
                  <c:v>89736</c:v>
                </c:pt>
                <c:pt idx="17">
                  <c:v>90933</c:v>
                </c:pt>
                <c:pt idx="18">
                  <c:v>90238</c:v>
                </c:pt>
                <c:pt idx="19">
                  <c:v>90116</c:v>
                </c:pt>
                <c:pt idx="20">
                  <c:v>89302</c:v>
                </c:pt>
                <c:pt idx="21">
                  <c:v>91080</c:v>
                </c:pt>
                <c:pt idx="22">
                  <c:v>92951</c:v>
                </c:pt>
                <c:pt idx="23">
                  <c:v>91326</c:v>
                </c:pt>
                <c:pt idx="24">
                  <c:v>90834</c:v>
                </c:pt>
                <c:pt idx="25">
                  <c:v>90292</c:v>
                </c:pt>
                <c:pt idx="26">
                  <c:v>88872</c:v>
                </c:pt>
                <c:pt idx="27">
                  <c:v>85852</c:v>
                </c:pt>
                <c:pt idx="28">
                  <c:v>106593</c:v>
                </c:pt>
                <c:pt idx="29">
                  <c:v>122339</c:v>
                </c:pt>
                <c:pt idx="30">
                  <c:v>124227</c:v>
                </c:pt>
                <c:pt idx="31">
                  <c:v>129053</c:v>
                </c:pt>
                <c:pt idx="32">
                  <c:v>132854</c:v>
                </c:pt>
                <c:pt idx="33">
                  <c:v>134954</c:v>
                </c:pt>
                <c:pt idx="34">
                  <c:v>144132</c:v>
                </c:pt>
                <c:pt idx="35">
                  <c:v>145114</c:v>
                </c:pt>
                <c:pt idx="36">
                  <c:v>145982</c:v>
                </c:pt>
                <c:pt idx="37">
                  <c:v>141414</c:v>
                </c:pt>
                <c:pt idx="38">
                  <c:v>138671</c:v>
                </c:pt>
                <c:pt idx="39">
                  <c:v>153405</c:v>
                </c:pt>
                <c:pt idx="40">
                  <c:v>123654</c:v>
                </c:pt>
                <c:pt idx="41">
                  <c:v>88674</c:v>
                </c:pt>
                <c:pt idx="42">
                  <c:v>69889</c:v>
                </c:pt>
                <c:pt idx="43">
                  <c:v>66710</c:v>
                </c:pt>
                <c:pt idx="44">
                  <c:v>73711</c:v>
                </c:pt>
                <c:pt idx="45">
                  <c:v>83836</c:v>
                </c:pt>
                <c:pt idx="46">
                  <c:v>88602</c:v>
                </c:pt>
                <c:pt idx="47">
                  <c:v>94025</c:v>
                </c:pt>
                <c:pt idx="48">
                  <c:v>92437</c:v>
                </c:pt>
                <c:pt idx="49">
                  <c:v>90880</c:v>
                </c:pt>
                <c:pt idx="50">
                  <c:v>91458</c:v>
                </c:pt>
                <c:pt idx="51">
                  <c:v>90891</c:v>
                </c:pt>
                <c:pt idx="52">
                  <c:v>84403</c:v>
                </c:pt>
                <c:pt idx="53">
                  <c:v>89842</c:v>
                </c:pt>
                <c:pt idx="54">
                  <c:v>92649</c:v>
                </c:pt>
                <c:pt idx="55">
                  <c:v>95191</c:v>
                </c:pt>
                <c:pt idx="56">
                  <c:v>99206</c:v>
                </c:pt>
                <c:pt idx="57">
                  <c:v>99677</c:v>
                </c:pt>
                <c:pt idx="58">
                  <c:v>104361</c:v>
                </c:pt>
                <c:pt idx="59">
                  <c:v>106570</c:v>
                </c:pt>
                <c:pt idx="60">
                  <c:v>109133</c:v>
                </c:pt>
                <c:pt idx="61">
                  <c:v>109338</c:v>
                </c:pt>
                <c:pt idx="62">
                  <c:v>88019</c:v>
                </c:pt>
                <c:pt idx="63">
                  <c:v>78874</c:v>
                </c:pt>
                <c:pt idx="64">
                  <c:v>77256</c:v>
                </c:pt>
                <c:pt idx="65">
                  <c:v>82510</c:v>
                </c:pt>
                <c:pt idx="66">
                  <c:v>77733</c:v>
                </c:pt>
                <c:pt idx="67">
                  <c:v>75849</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69</c:f>
              <c:numCache>
                <c:formatCode>yyyy\-mm\-dd</c:formatCode>
                <c:ptCount val="68"/>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109</c:v>
                </c:pt>
                <c:pt idx="21">
                  <c:v>45130</c:v>
                </c:pt>
                <c:pt idx="22">
                  <c:v>45172</c:v>
                </c:pt>
                <c:pt idx="23">
                  <c:v>45179</c:v>
                </c:pt>
                <c:pt idx="24">
                  <c:v>45186</c:v>
                </c:pt>
                <c:pt idx="25">
                  <c:v>45193</c:v>
                </c:pt>
                <c:pt idx="26">
                  <c:v>45200</c:v>
                </c:pt>
                <c:pt idx="27">
                  <c:v>45207</c:v>
                </c:pt>
                <c:pt idx="28">
                  <c:v>45214</c:v>
                </c:pt>
                <c:pt idx="29">
                  <c:v>45221</c:v>
                </c:pt>
                <c:pt idx="30">
                  <c:v>45228</c:v>
                </c:pt>
                <c:pt idx="31">
                  <c:v>45235</c:v>
                </c:pt>
                <c:pt idx="32">
                  <c:v>45242</c:v>
                </c:pt>
                <c:pt idx="33">
                  <c:v>45249</c:v>
                </c:pt>
                <c:pt idx="34">
                  <c:v>45256</c:v>
                </c:pt>
                <c:pt idx="35">
                  <c:v>45263</c:v>
                </c:pt>
                <c:pt idx="36">
                  <c:v>45270</c:v>
                </c:pt>
                <c:pt idx="37">
                  <c:v>45277</c:v>
                </c:pt>
                <c:pt idx="38">
                  <c:v>45284</c:v>
                </c:pt>
                <c:pt idx="39">
                  <c:v>45291</c:v>
                </c:pt>
                <c:pt idx="40">
                  <c:v>45298</c:v>
                </c:pt>
                <c:pt idx="41">
                  <c:v>45305</c:v>
                </c:pt>
                <c:pt idx="42">
                  <c:v>45312</c:v>
                </c:pt>
                <c:pt idx="43">
                  <c:v>45319</c:v>
                </c:pt>
                <c:pt idx="44">
                  <c:v>45326</c:v>
                </c:pt>
                <c:pt idx="45">
                  <c:v>45333</c:v>
                </c:pt>
                <c:pt idx="46">
                  <c:v>45340</c:v>
                </c:pt>
                <c:pt idx="47">
                  <c:v>45354</c:v>
                </c:pt>
                <c:pt idx="48">
                  <c:v>45396</c:v>
                </c:pt>
                <c:pt idx="49">
                  <c:v>45438</c:v>
                </c:pt>
                <c:pt idx="50">
                  <c:v>45445</c:v>
                </c:pt>
                <c:pt idx="51">
                  <c:v>45515</c:v>
                </c:pt>
                <c:pt idx="52">
                  <c:v>45543</c:v>
                </c:pt>
                <c:pt idx="53">
                  <c:v>45578</c:v>
                </c:pt>
                <c:pt idx="54">
                  <c:v>45585</c:v>
                </c:pt>
                <c:pt idx="55">
                  <c:v>45592</c:v>
                </c:pt>
                <c:pt idx="56">
                  <c:v>45599</c:v>
                </c:pt>
                <c:pt idx="57">
                  <c:v>45606</c:v>
                </c:pt>
                <c:pt idx="58">
                  <c:v>45613</c:v>
                </c:pt>
                <c:pt idx="59">
                  <c:v>45620</c:v>
                </c:pt>
                <c:pt idx="60">
                  <c:v>45627</c:v>
                </c:pt>
                <c:pt idx="61">
                  <c:v>45634</c:v>
                </c:pt>
                <c:pt idx="62">
                  <c:v>45641</c:v>
                </c:pt>
                <c:pt idx="63">
                  <c:v>45648</c:v>
                </c:pt>
                <c:pt idx="64">
                  <c:v>45655</c:v>
                </c:pt>
                <c:pt idx="65">
                  <c:v>45662</c:v>
                </c:pt>
                <c:pt idx="66">
                  <c:v>45669</c:v>
                </c:pt>
                <c:pt idx="67">
                  <c:v>45676</c:v>
                </c:pt>
              </c:numCache>
            </c:numRef>
          </c:cat>
          <c:val>
            <c:numRef>
              <c:f>Sheet1!$F$2:$F$69</c:f>
              <c:numCache>
                <c:formatCode>General</c:formatCode>
                <c:ptCount val="68"/>
                <c:pt idx="0">
                  <c:v>0.64</c:v>
                </c:pt>
                <c:pt idx="1">
                  <c:v>0.44</c:v>
                </c:pt>
                <c:pt idx="2">
                  <c:v>0.43</c:v>
                </c:pt>
                <c:pt idx="3">
                  <c:v>0.34</c:v>
                </c:pt>
                <c:pt idx="4">
                  <c:v>0.25</c:v>
                </c:pt>
                <c:pt idx="5">
                  <c:v>0.2</c:v>
                </c:pt>
                <c:pt idx="6">
                  <c:v>0.21</c:v>
                </c:pt>
                <c:pt idx="7">
                  <c:v>0.36</c:v>
                </c:pt>
                <c:pt idx="8">
                  <c:v>0.16</c:v>
                </c:pt>
                <c:pt idx="9">
                  <c:v>0.18</c:v>
                </c:pt>
                <c:pt idx="10">
                  <c:v>0.31</c:v>
                </c:pt>
                <c:pt idx="11">
                  <c:v>0.21</c:v>
                </c:pt>
                <c:pt idx="12">
                  <c:v>0.13</c:v>
                </c:pt>
                <c:pt idx="13">
                  <c:v>0.11</c:v>
                </c:pt>
                <c:pt idx="14">
                  <c:v>0.18</c:v>
                </c:pt>
                <c:pt idx="15">
                  <c:v>0.36</c:v>
                </c:pt>
                <c:pt idx="16">
                  <c:v>0.18</c:v>
                </c:pt>
                <c:pt idx="17">
                  <c:v>0.04</c:v>
                </c:pt>
                <c:pt idx="18">
                  <c:v>0.06</c:v>
                </c:pt>
                <c:pt idx="19">
                  <c:v>0.05</c:v>
                </c:pt>
                <c:pt idx="20">
                  <c:v>0.01</c:v>
                </c:pt>
                <c:pt idx="21">
                  <c:v>0.26</c:v>
                </c:pt>
                <c:pt idx="22">
                  <c:v>0.08</c:v>
                </c:pt>
                <c:pt idx="23">
                  <c:v>0.02</c:v>
                </c:pt>
                <c:pt idx="24">
                  <c:v>0.02</c:v>
                </c:pt>
                <c:pt idx="25">
                  <c:v>0.01</c:v>
                </c:pt>
                <c:pt idx="26">
                  <c:v>0.05</c:v>
                </c:pt>
                <c:pt idx="27">
                  <c:v>0.09</c:v>
                </c:pt>
                <c:pt idx="28">
                  <c:v>0.43</c:v>
                </c:pt>
                <c:pt idx="29">
                  <c:v>0.46</c:v>
                </c:pt>
                <c:pt idx="30">
                  <c:v>0.49</c:v>
                </c:pt>
                <c:pt idx="31">
                  <c:v>0.53</c:v>
                </c:pt>
                <c:pt idx="32">
                  <c:v>0.51</c:v>
                </c:pt>
                <c:pt idx="33">
                  <c:v>0.56999999999999995</c:v>
                </c:pt>
                <c:pt idx="34">
                  <c:v>0.7</c:v>
                </c:pt>
                <c:pt idx="35">
                  <c:v>0.68</c:v>
                </c:pt>
                <c:pt idx="36">
                  <c:v>0.73</c:v>
                </c:pt>
                <c:pt idx="37">
                  <c:v>0.86</c:v>
                </c:pt>
                <c:pt idx="38">
                  <c:v>0.91</c:v>
                </c:pt>
                <c:pt idx="39">
                  <c:v>0.97</c:v>
                </c:pt>
                <c:pt idx="40">
                  <c:v>0.77</c:v>
                </c:pt>
                <c:pt idx="41">
                  <c:v>0.39</c:v>
                </c:pt>
                <c:pt idx="42">
                  <c:v>0.14000000000000001</c:v>
                </c:pt>
                <c:pt idx="43">
                  <c:v>0.08</c:v>
                </c:pt>
                <c:pt idx="44">
                  <c:v>0.04</c:v>
                </c:pt>
                <c:pt idx="45">
                  <c:v>0.03</c:v>
                </c:pt>
                <c:pt idx="46">
                  <c:v>0.15</c:v>
                </c:pt>
                <c:pt idx="47">
                  <c:v>0.23</c:v>
                </c:pt>
                <c:pt idx="48">
                  <c:v>0.25</c:v>
                </c:pt>
                <c:pt idx="49">
                  <c:v>0.23</c:v>
                </c:pt>
                <c:pt idx="50">
                  <c:v>0</c:v>
                </c:pt>
                <c:pt idx="51">
                  <c:v>0.05</c:v>
                </c:pt>
                <c:pt idx="52">
                  <c:v>0.01</c:v>
                </c:pt>
                <c:pt idx="53">
                  <c:v>0.25</c:v>
                </c:pt>
                <c:pt idx="54">
                  <c:v>0.4</c:v>
                </c:pt>
                <c:pt idx="55">
                  <c:v>0.37</c:v>
                </c:pt>
                <c:pt idx="56">
                  <c:v>0.32</c:v>
                </c:pt>
                <c:pt idx="57">
                  <c:v>0.36</c:v>
                </c:pt>
                <c:pt idx="58">
                  <c:v>0.43</c:v>
                </c:pt>
                <c:pt idx="59">
                  <c:v>0.48</c:v>
                </c:pt>
                <c:pt idx="60">
                  <c:v>0.61</c:v>
                </c:pt>
                <c:pt idx="61">
                  <c:v>0.61</c:v>
                </c:pt>
                <c:pt idx="62">
                  <c:v>0.69</c:v>
                </c:pt>
                <c:pt idx="63">
                  <c:v>0.76</c:v>
                </c:pt>
                <c:pt idx="64">
                  <c:v>0.89</c:v>
                </c:pt>
                <c:pt idx="65">
                  <c:v>0.24</c:v>
                </c:pt>
                <c:pt idx="66">
                  <c:v>7.0000000000000007E-2</c:v>
                </c:pt>
                <c:pt idx="67">
                  <c:v>0.04</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70</c:f>
              <c:numCache>
                <c:formatCode>yyyy\-mm\-dd</c:formatCode>
                <c:ptCount val="69"/>
                <c:pt idx="0">
                  <c:v>44934</c:v>
                </c:pt>
                <c:pt idx="1">
                  <c:v>44941</c:v>
                </c:pt>
                <c:pt idx="2">
                  <c:v>44948</c:v>
                </c:pt>
                <c:pt idx="3">
                  <c:v>44955</c:v>
                </c:pt>
                <c:pt idx="4">
                  <c:v>44962</c:v>
                </c:pt>
                <c:pt idx="5">
                  <c:v>44969</c:v>
                </c:pt>
                <c:pt idx="6">
                  <c:v>44976</c:v>
                </c:pt>
                <c:pt idx="7">
                  <c:v>44983</c:v>
                </c:pt>
                <c:pt idx="8">
                  <c:v>44990</c:v>
                </c:pt>
                <c:pt idx="9">
                  <c:v>44997</c:v>
                </c:pt>
                <c:pt idx="10">
                  <c:v>45011</c:v>
                </c:pt>
                <c:pt idx="11">
                  <c:v>45130</c:v>
                </c:pt>
                <c:pt idx="12">
                  <c:v>45277</c:v>
                </c:pt>
                <c:pt idx="13">
                  <c:v>45284</c:v>
                </c:pt>
                <c:pt idx="14">
                  <c:v>45291</c:v>
                </c:pt>
                <c:pt idx="15">
                  <c:v>45298</c:v>
                </c:pt>
                <c:pt idx="16">
                  <c:v>45305</c:v>
                </c:pt>
                <c:pt idx="17">
                  <c:v>45312</c:v>
                </c:pt>
                <c:pt idx="18">
                  <c:v>45319</c:v>
                </c:pt>
                <c:pt idx="19">
                  <c:v>45326</c:v>
                </c:pt>
                <c:pt idx="20">
                  <c:v>45333</c:v>
                </c:pt>
                <c:pt idx="21">
                  <c:v>45340</c:v>
                </c:pt>
                <c:pt idx="22">
                  <c:v>45347</c:v>
                </c:pt>
                <c:pt idx="23">
                  <c:v>45354</c:v>
                </c:pt>
                <c:pt idx="24">
                  <c:v>45361</c:v>
                </c:pt>
                <c:pt idx="25">
                  <c:v>45368</c:v>
                </c:pt>
                <c:pt idx="26">
                  <c:v>45375</c:v>
                </c:pt>
                <c:pt idx="27">
                  <c:v>45382</c:v>
                </c:pt>
                <c:pt idx="28">
                  <c:v>45389</c:v>
                </c:pt>
                <c:pt idx="29">
                  <c:v>45396</c:v>
                </c:pt>
                <c:pt idx="30">
                  <c:v>45403</c:v>
                </c:pt>
                <c:pt idx="31">
                  <c:v>45410</c:v>
                </c:pt>
                <c:pt idx="32">
                  <c:v>45417</c:v>
                </c:pt>
                <c:pt idx="33">
                  <c:v>45424</c:v>
                </c:pt>
                <c:pt idx="34">
                  <c:v>45431</c:v>
                </c:pt>
                <c:pt idx="35">
                  <c:v>45438</c:v>
                </c:pt>
                <c:pt idx="36">
                  <c:v>45445</c:v>
                </c:pt>
                <c:pt idx="37">
                  <c:v>45452</c:v>
                </c:pt>
                <c:pt idx="38">
                  <c:v>45459</c:v>
                </c:pt>
                <c:pt idx="39">
                  <c:v>45466</c:v>
                </c:pt>
                <c:pt idx="40">
                  <c:v>45473</c:v>
                </c:pt>
                <c:pt idx="41">
                  <c:v>45480</c:v>
                </c:pt>
                <c:pt idx="42">
                  <c:v>45487</c:v>
                </c:pt>
                <c:pt idx="43">
                  <c:v>45494</c:v>
                </c:pt>
                <c:pt idx="44">
                  <c:v>45501</c:v>
                </c:pt>
                <c:pt idx="45">
                  <c:v>45508</c:v>
                </c:pt>
                <c:pt idx="46">
                  <c:v>45515</c:v>
                </c:pt>
                <c:pt idx="47">
                  <c:v>45522</c:v>
                </c:pt>
                <c:pt idx="48">
                  <c:v>45529</c:v>
                </c:pt>
                <c:pt idx="49">
                  <c:v>45536</c:v>
                </c:pt>
                <c:pt idx="50">
                  <c:v>45550</c:v>
                </c:pt>
                <c:pt idx="51">
                  <c:v>45564</c:v>
                </c:pt>
                <c:pt idx="52">
                  <c:v>45571</c:v>
                </c:pt>
                <c:pt idx="53">
                  <c:v>45578</c:v>
                </c:pt>
                <c:pt idx="54">
                  <c:v>45585</c:v>
                </c:pt>
                <c:pt idx="55">
                  <c:v>45592</c:v>
                </c:pt>
                <c:pt idx="56">
                  <c:v>45599</c:v>
                </c:pt>
                <c:pt idx="57">
                  <c:v>45606</c:v>
                </c:pt>
                <c:pt idx="58">
                  <c:v>45613</c:v>
                </c:pt>
                <c:pt idx="59">
                  <c:v>45620</c:v>
                </c:pt>
                <c:pt idx="60">
                  <c:v>45627</c:v>
                </c:pt>
                <c:pt idx="61">
                  <c:v>45634</c:v>
                </c:pt>
                <c:pt idx="62">
                  <c:v>45641</c:v>
                </c:pt>
                <c:pt idx="63">
                  <c:v>45648</c:v>
                </c:pt>
                <c:pt idx="64">
                  <c:v>45655</c:v>
                </c:pt>
                <c:pt idx="65">
                  <c:v>45662</c:v>
                </c:pt>
                <c:pt idx="66">
                  <c:v>45669</c:v>
                </c:pt>
                <c:pt idx="67">
                  <c:v>45676</c:v>
                </c:pt>
                <c:pt idx="68">
                  <c:v>45683</c:v>
                </c:pt>
              </c:numCache>
            </c:numRef>
          </c:cat>
          <c:val>
            <c:numRef>
              <c:f>Sheet1!$B$2:$B$70</c:f>
              <c:numCache>
                <c:formatCode>General</c:formatCode>
                <c:ptCount val="69"/>
                <c:pt idx="0">
                  <c:v>28684</c:v>
                </c:pt>
                <c:pt idx="1">
                  <c:v>12860</c:v>
                </c:pt>
                <c:pt idx="2">
                  <c:v>8507</c:v>
                </c:pt>
                <c:pt idx="3">
                  <c:v>4909</c:v>
                </c:pt>
                <c:pt idx="4">
                  <c:v>2850</c:v>
                </c:pt>
                <c:pt idx="5">
                  <c:v>18860</c:v>
                </c:pt>
                <c:pt idx="6">
                  <c:v>25667</c:v>
                </c:pt>
                <c:pt idx="7">
                  <c:v>29408</c:v>
                </c:pt>
                <c:pt idx="8">
                  <c:v>22129</c:v>
                </c:pt>
                <c:pt idx="9">
                  <c:v>22866</c:v>
                </c:pt>
                <c:pt idx="10">
                  <c:v>23703</c:v>
                </c:pt>
                <c:pt idx="11">
                  <c:v>35408</c:v>
                </c:pt>
                <c:pt idx="12">
                  <c:v>17948</c:v>
                </c:pt>
                <c:pt idx="13">
                  <c:v>20980</c:v>
                </c:pt>
                <c:pt idx="14">
                  <c:v>12217</c:v>
                </c:pt>
                <c:pt idx="15">
                  <c:v>9795</c:v>
                </c:pt>
                <c:pt idx="16">
                  <c:v>27154</c:v>
                </c:pt>
                <c:pt idx="17">
                  <c:v>17207</c:v>
                </c:pt>
                <c:pt idx="18">
                  <c:v>9991</c:v>
                </c:pt>
                <c:pt idx="19">
                  <c:v>39016</c:v>
                </c:pt>
                <c:pt idx="20">
                  <c:v>71252</c:v>
                </c:pt>
                <c:pt idx="21">
                  <c:v>75208</c:v>
                </c:pt>
                <c:pt idx="22">
                  <c:v>109719</c:v>
                </c:pt>
                <c:pt idx="23">
                  <c:v>104355</c:v>
                </c:pt>
                <c:pt idx="24">
                  <c:v>96987</c:v>
                </c:pt>
                <c:pt idx="25">
                  <c:v>73503</c:v>
                </c:pt>
                <c:pt idx="26">
                  <c:v>42734</c:v>
                </c:pt>
                <c:pt idx="27">
                  <c:v>41256</c:v>
                </c:pt>
                <c:pt idx="28">
                  <c:v>42551</c:v>
                </c:pt>
                <c:pt idx="29">
                  <c:v>39194</c:v>
                </c:pt>
                <c:pt idx="30">
                  <c:v>35968</c:v>
                </c:pt>
                <c:pt idx="31">
                  <c:v>32936</c:v>
                </c:pt>
                <c:pt idx="32">
                  <c:v>35267</c:v>
                </c:pt>
                <c:pt idx="33">
                  <c:v>34150</c:v>
                </c:pt>
                <c:pt idx="34">
                  <c:v>30481</c:v>
                </c:pt>
                <c:pt idx="35">
                  <c:v>15534</c:v>
                </c:pt>
                <c:pt idx="36">
                  <c:v>419</c:v>
                </c:pt>
                <c:pt idx="37">
                  <c:v>269</c:v>
                </c:pt>
                <c:pt idx="38">
                  <c:v>403</c:v>
                </c:pt>
                <c:pt idx="39">
                  <c:v>1364</c:v>
                </c:pt>
                <c:pt idx="40">
                  <c:v>324</c:v>
                </c:pt>
                <c:pt idx="41">
                  <c:v>478</c:v>
                </c:pt>
                <c:pt idx="42">
                  <c:v>18970</c:v>
                </c:pt>
                <c:pt idx="43">
                  <c:v>35509</c:v>
                </c:pt>
                <c:pt idx="44">
                  <c:v>35614</c:v>
                </c:pt>
                <c:pt idx="45">
                  <c:v>34523</c:v>
                </c:pt>
                <c:pt idx="46">
                  <c:v>10296</c:v>
                </c:pt>
                <c:pt idx="47">
                  <c:v>8547</c:v>
                </c:pt>
                <c:pt idx="48">
                  <c:v>172</c:v>
                </c:pt>
                <c:pt idx="49">
                  <c:v>5721</c:v>
                </c:pt>
                <c:pt idx="50">
                  <c:v>396</c:v>
                </c:pt>
                <c:pt idx="51">
                  <c:v>10001</c:v>
                </c:pt>
                <c:pt idx="52">
                  <c:v>21579</c:v>
                </c:pt>
                <c:pt idx="53">
                  <c:v>34615</c:v>
                </c:pt>
                <c:pt idx="54">
                  <c:v>44086</c:v>
                </c:pt>
                <c:pt idx="55">
                  <c:v>20848</c:v>
                </c:pt>
                <c:pt idx="56">
                  <c:v>260</c:v>
                </c:pt>
                <c:pt idx="57">
                  <c:v>401</c:v>
                </c:pt>
                <c:pt idx="58">
                  <c:v>50325</c:v>
                </c:pt>
                <c:pt idx="59">
                  <c:v>158964</c:v>
                </c:pt>
                <c:pt idx="60">
                  <c:v>153082</c:v>
                </c:pt>
                <c:pt idx="61">
                  <c:v>168880</c:v>
                </c:pt>
                <c:pt idx="62">
                  <c:v>171964</c:v>
                </c:pt>
                <c:pt idx="63">
                  <c:v>187098</c:v>
                </c:pt>
                <c:pt idx="64">
                  <c:v>158434</c:v>
                </c:pt>
                <c:pt idx="65">
                  <c:v>164477</c:v>
                </c:pt>
                <c:pt idx="66">
                  <c:v>150502</c:v>
                </c:pt>
                <c:pt idx="67">
                  <c:v>150082</c:v>
                </c:pt>
                <c:pt idx="68">
                  <c:v>135088</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70</c:f>
              <c:numCache>
                <c:formatCode>yyyy\-mm\-dd</c:formatCode>
                <c:ptCount val="69"/>
                <c:pt idx="0">
                  <c:v>44934</c:v>
                </c:pt>
                <c:pt idx="1">
                  <c:v>44941</c:v>
                </c:pt>
                <c:pt idx="2">
                  <c:v>44948</c:v>
                </c:pt>
                <c:pt idx="3">
                  <c:v>44955</c:v>
                </c:pt>
                <c:pt idx="4">
                  <c:v>44962</c:v>
                </c:pt>
                <c:pt idx="5">
                  <c:v>44969</c:v>
                </c:pt>
                <c:pt idx="6">
                  <c:v>44976</c:v>
                </c:pt>
                <c:pt idx="7">
                  <c:v>44983</c:v>
                </c:pt>
                <c:pt idx="8">
                  <c:v>44990</c:v>
                </c:pt>
                <c:pt idx="9">
                  <c:v>44997</c:v>
                </c:pt>
                <c:pt idx="10">
                  <c:v>45011</c:v>
                </c:pt>
                <c:pt idx="11">
                  <c:v>45130</c:v>
                </c:pt>
                <c:pt idx="12">
                  <c:v>45277</c:v>
                </c:pt>
                <c:pt idx="13">
                  <c:v>45284</c:v>
                </c:pt>
                <c:pt idx="14">
                  <c:v>45291</c:v>
                </c:pt>
                <c:pt idx="15">
                  <c:v>45298</c:v>
                </c:pt>
                <c:pt idx="16">
                  <c:v>45305</c:v>
                </c:pt>
                <c:pt idx="17">
                  <c:v>45312</c:v>
                </c:pt>
                <c:pt idx="18">
                  <c:v>45319</c:v>
                </c:pt>
                <c:pt idx="19">
                  <c:v>45326</c:v>
                </c:pt>
                <c:pt idx="20">
                  <c:v>45333</c:v>
                </c:pt>
                <c:pt idx="21">
                  <c:v>45340</c:v>
                </c:pt>
                <c:pt idx="22">
                  <c:v>45347</c:v>
                </c:pt>
                <c:pt idx="23">
                  <c:v>45354</c:v>
                </c:pt>
                <c:pt idx="24">
                  <c:v>45361</c:v>
                </c:pt>
                <c:pt idx="25">
                  <c:v>45368</c:v>
                </c:pt>
                <c:pt idx="26">
                  <c:v>45375</c:v>
                </c:pt>
                <c:pt idx="27">
                  <c:v>45382</c:v>
                </c:pt>
                <c:pt idx="28">
                  <c:v>45389</c:v>
                </c:pt>
                <c:pt idx="29">
                  <c:v>45396</c:v>
                </c:pt>
                <c:pt idx="30">
                  <c:v>45403</c:v>
                </c:pt>
                <c:pt idx="31">
                  <c:v>45410</c:v>
                </c:pt>
                <c:pt idx="32">
                  <c:v>45417</c:v>
                </c:pt>
                <c:pt idx="33">
                  <c:v>45424</c:v>
                </c:pt>
                <c:pt idx="34">
                  <c:v>45431</c:v>
                </c:pt>
                <c:pt idx="35">
                  <c:v>45438</c:v>
                </c:pt>
                <c:pt idx="36">
                  <c:v>45445</c:v>
                </c:pt>
                <c:pt idx="37">
                  <c:v>45452</c:v>
                </c:pt>
                <c:pt idx="38">
                  <c:v>45459</c:v>
                </c:pt>
                <c:pt idx="39">
                  <c:v>45466</c:v>
                </c:pt>
                <c:pt idx="40">
                  <c:v>45473</c:v>
                </c:pt>
                <c:pt idx="41">
                  <c:v>45480</c:v>
                </c:pt>
                <c:pt idx="42">
                  <c:v>45487</c:v>
                </c:pt>
                <c:pt idx="43">
                  <c:v>45494</c:v>
                </c:pt>
                <c:pt idx="44">
                  <c:v>45501</c:v>
                </c:pt>
                <c:pt idx="45">
                  <c:v>45508</c:v>
                </c:pt>
                <c:pt idx="46">
                  <c:v>45515</c:v>
                </c:pt>
                <c:pt idx="47">
                  <c:v>45522</c:v>
                </c:pt>
                <c:pt idx="48">
                  <c:v>45529</c:v>
                </c:pt>
                <c:pt idx="49">
                  <c:v>45536</c:v>
                </c:pt>
                <c:pt idx="50">
                  <c:v>45550</c:v>
                </c:pt>
                <c:pt idx="51">
                  <c:v>45564</c:v>
                </c:pt>
                <c:pt idx="52">
                  <c:v>45571</c:v>
                </c:pt>
                <c:pt idx="53">
                  <c:v>45578</c:v>
                </c:pt>
                <c:pt idx="54">
                  <c:v>45585</c:v>
                </c:pt>
                <c:pt idx="55">
                  <c:v>45592</c:v>
                </c:pt>
                <c:pt idx="56">
                  <c:v>45599</c:v>
                </c:pt>
                <c:pt idx="57">
                  <c:v>45606</c:v>
                </c:pt>
                <c:pt idx="58">
                  <c:v>45613</c:v>
                </c:pt>
                <c:pt idx="59">
                  <c:v>45620</c:v>
                </c:pt>
                <c:pt idx="60">
                  <c:v>45627</c:v>
                </c:pt>
                <c:pt idx="61">
                  <c:v>45634</c:v>
                </c:pt>
                <c:pt idx="62">
                  <c:v>45641</c:v>
                </c:pt>
                <c:pt idx="63">
                  <c:v>45648</c:v>
                </c:pt>
                <c:pt idx="64">
                  <c:v>45655</c:v>
                </c:pt>
                <c:pt idx="65">
                  <c:v>45662</c:v>
                </c:pt>
                <c:pt idx="66">
                  <c:v>45669</c:v>
                </c:pt>
                <c:pt idx="67">
                  <c:v>45676</c:v>
                </c:pt>
                <c:pt idx="68">
                  <c:v>45683</c:v>
                </c:pt>
              </c:numCache>
            </c:numRef>
          </c:cat>
          <c:val>
            <c:numRef>
              <c:f>Sheet1!$C$2:$C$70</c:f>
              <c:numCache>
                <c:formatCode>General</c:formatCode>
                <c:ptCount val="69"/>
                <c:pt idx="0">
                  <c:v>198324</c:v>
                </c:pt>
                <c:pt idx="1">
                  <c:v>206980</c:v>
                </c:pt>
                <c:pt idx="2">
                  <c:v>210870</c:v>
                </c:pt>
                <c:pt idx="3">
                  <c:v>208312</c:v>
                </c:pt>
                <c:pt idx="4">
                  <c:v>217913</c:v>
                </c:pt>
                <c:pt idx="5">
                  <c:v>208398</c:v>
                </c:pt>
                <c:pt idx="6">
                  <c:v>198649</c:v>
                </c:pt>
                <c:pt idx="7">
                  <c:v>212172</c:v>
                </c:pt>
                <c:pt idx="8">
                  <c:v>224857</c:v>
                </c:pt>
                <c:pt idx="9">
                  <c:v>208601</c:v>
                </c:pt>
                <c:pt idx="10">
                  <c:v>207118</c:v>
                </c:pt>
                <c:pt idx="11">
                  <c:v>215634</c:v>
                </c:pt>
                <c:pt idx="12">
                  <c:v>201875</c:v>
                </c:pt>
                <c:pt idx="13">
                  <c:v>210035</c:v>
                </c:pt>
                <c:pt idx="14">
                  <c:v>145809</c:v>
                </c:pt>
                <c:pt idx="15">
                  <c:v>164266</c:v>
                </c:pt>
                <c:pt idx="16">
                  <c:v>152439</c:v>
                </c:pt>
                <c:pt idx="17">
                  <c:v>165187</c:v>
                </c:pt>
                <c:pt idx="18">
                  <c:v>181576</c:v>
                </c:pt>
                <c:pt idx="19">
                  <c:v>159485</c:v>
                </c:pt>
                <c:pt idx="20">
                  <c:v>128490</c:v>
                </c:pt>
                <c:pt idx="21">
                  <c:v>111646</c:v>
                </c:pt>
                <c:pt idx="22">
                  <c:v>104764</c:v>
                </c:pt>
                <c:pt idx="23">
                  <c:v>101216</c:v>
                </c:pt>
                <c:pt idx="24">
                  <c:v>102847</c:v>
                </c:pt>
                <c:pt idx="25">
                  <c:v>116494</c:v>
                </c:pt>
                <c:pt idx="26">
                  <c:v>141978</c:v>
                </c:pt>
                <c:pt idx="27">
                  <c:v>141522</c:v>
                </c:pt>
                <c:pt idx="28">
                  <c:v>143706</c:v>
                </c:pt>
                <c:pt idx="29">
                  <c:v>140213</c:v>
                </c:pt>
                <c:pt idx="30">
                  <c:v>136391</c:v>
                </c:pt>
                <c:pt idx="31">
                  <c:v>137362</c:v>
                </c:pt>
                <c:pt idx="32">
                  <c:v>143832</c:v>
                </c:pt>
                <c:pt idx="33">
                  <c:v>141620</c:v>
                </c:pt>
                <c:pt idx="34">
                  <c:v>136668</c:v>
                </c:pt>
                <c:pt idx="35">
                  <c:v>161515</c:v>
                </c:pt>
                <c:pt idx="36">
                  <c:v>170330</c:v>
                </c:pt>
                <c:pt idx="37">
                  <c:v>180887</c:v>
                </c:pt>
                <c:pt idx="38">
                  <c:v>172424</c:v>
                </c:pt>
                <c:pt idx="39">
                  <c:v>168385</c:v>
                </c:pt>
                <c:pt idx="40">
                  <c:v>169170</c:v>
                </c:pt>
                <c:pt idx="41">
                  <c:v>186720</c:v>
                </c:pt>
                <c:pt idx="42">
                  <c:v>153894</c:v>
                </c:pt>
                <c:pt idx="43">
                  <c:v>145098</c:v>
                </c:pt>
                <c:pt idx="44">
                  <c:v>138655</c:v>
                </c:pt>
                <c:pt idx="45">
                  <c:v>147708</c:v>
                </c:pt>
                <c:pt idx="46">
                  <c:v>166654</c:v>
                </c:pt>
                <c:pt idx="47">
                  <c:v>164718</c:v>
                </c:pt>
                <c:pt idx="48">
                  <c:v>170853</c:v>
                </c:pt>
                <c:pt idx="49">
                  <c:v>163985</c:v>
                </c:pt>
                <c:pt idx="50">
                  <c:v>161729</c:v>
                </c:pt>
                <c:pt idx="51">
                  <c:v>152044</c:v>
                </c:pt>
                <c:pt idx="52">
                  <c:v>168393</c:v>
                </c:pt>
                <c:pt idx="53">
                  <c:v>138092</c:v>
                </c:pt>
                <c:pt idx="54">
                  <c:v>131591</c:v>
                </c:pt>
                <c:pt idx="55">
                  <c:v>146217</c:v>
                </c:pt>
                <c:pt idx="56">
                  <c:v>163238</c:v>
                </c:pt>
                <c:pt idx="57">
                  <c:v>173658</c:v>
                </c:pt>
                <c:pt idx="58">
                  <c:v>118275</c:v>
                </c:pt>
                <c:pt idx="59">
                  <c:v>3789</c:v>
                </c:pt>
                <c:pt idx="60">
                  <c:v>2660</c:v>
                </c:pt>
                <c:pt idx="61">
                  <c:v>3275</c:v>
                </c:pt>
                <c:pt idx="62">
                  <c:v>2026</c:v>
                </c:pt>
                <c:pt idx="63">
                  <c:v>1351</c:v>
                </c:pt>
                <c:pt idx="64">
                  <c:v>1427</c:v>
                </c:pt>
                <c:pt idx="65">
                  <c:v>2291</c:v>
                </c:pt>
                <c:pt idx="66">
                  <c:v>4092</c:v>
                </c:pt>
                <c:pt idx="67">
                  <c:v>8143</c:v>
                </c:pt>
                <c:pt idx="68">
                  <c:v>11331</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70</c:f>
              <c:numCache>
                <c:formatCode>yyyy\-mm\-dd</c:formatCode>
                <c:ptCount val="69"/>
                <c:pt idx="0">
                  <c:v>44934</c:v>
                </c:pt>
                <c:pt idx="1">
                  <c:v>44941</c:v>
                </c:pt>
                <c:pt idx="2">
                  <c:v>44948</c:v>
                </c:pt>
                <c:pt idx="3">
                  <c:v>44955</c:v>
                </c:pt>
                <c:pt idx="4">
                  <c:v>44962</c:v>
                </c:pt>
                <c:pt idx="5">
                  <c:v>44969</c:v>
                </c:pt>
                <c:pt idx="6">
                  <c:v>44976</c:v>
                </c:pt>
                <c:pt idx="7">
                  <c:v>44983</c:v>
                </c:pt>
                <c:pt idx="8">
                  <c:v>44990</c:v>
                </c:pt>
                <c:pt idx="9">
                  <c:v>44997</c:v>
                </c:pt>
                <c:pt idx="10">
                  <c:v>45011</c:v>
                </c:pt>
                <c:pt idx="11">
                  <c:v>45130</c:v>
                </c:pt>
                <c:pt idx="12">
                  <c:v>45277</c:v>
                </c:pt>
                <c:pt idx="13">
                  <c:v>45284</c:v>
                </c:pt>
                <c:pt idx="14">
                  <c:v>45291</c:v>
                </c:pt>
                <c:pt idx="15">
                  <c:v>45298</c:v>
                </c:pt>
                <c:pt idx="16">
                  <c:v>45305</c:v>
                </c:pt>
                <c:pt idx="17">
                  <c:v>45312</c:v>
                </c:pt>
                <c:pt idx="18">
                  <c:v>45319</c:v>
                </c:pt>
                <c:pt idx="19">
                  <c:v>45326</c:v>
                </c:pt>
                <c:pt idx="20">
                  <c:v>45333</c:v>
                </c:pt>
                <c:pt idx="21">
                  <c:v>45340</c:v>
                </c:pt>
                <c:pt idx="22">
                  <c:v>45347</c:v>
                </c:pt>
                <c:pt idx="23">
                  <c:v>45354</c:v>
                </c:pt>
                <c:pt idx="24">
                  <c:v>45361</c:v>
                </c:pt>
                <c:pt idx="25">
                  <c:v>45368</c:v>
                </c:pt>
                <c:pt idx="26">
                  <c:v>45375</c:v>
                </c:pt>
                <c:pt idx="27">
                  <c:v>45382</c:v>
                </c:pt>
                <c:pt idx="28">
                  <c:v>45389</c:v>
                </c:pt>
                <c:pt idx="29">
                  <c:v>45396</c:v>
                </c:pt>
                <c:pt idx="30">
                  <c:v>45403</c:v>
                </c:pt>
                <c:pt idx="31">
                  <c:v>45410</c:v>
                </c:pt>
                <c:pt idx="32">
                  <c:v>45417</c:v>
                </c:pt>
                <c:pt idx="33">
                  <c:v>45424</c:v>
                </c:pt>
                <c:pt idx="34">
                  <c:v>45431</c:v>
                </c:pt>
                <c:pt idx="35">
                  <c:v>45438</c:v>
                </c:pt>
                <c:pt idx="36">
                  <c:v>45445</c:v>
                </c:pt>
                <c:pt idx="37">
                  <c:v>45452</c:v>
                </c:pt>
                <c:pt idx="38">
                  <c:v>45459</c:v>
                </c:pt>
                <c:pt idx="39">
                  <c:v>45466</c:v>
                </c:pt>
                <c:pt idx="40">
                  <c:v>45473</c:v>
                </c:pt>
                <c:pt idx="41">
                  <c:v>45480</c:v>
                </c:pt>
                <c:pt idx="42">
                  <c:v>45487</c:v>
                </c:pt>
                <c:pt idx="43">
                  <c:v>45494</c:v>
                </c:pt>
                <c:pt idx="44">
                  <c:v>45501</c:v>
                </c:pt>
                <c:pt idx="45">
                  <c:v>45508</c:v>
                </c:pt>
                <c:pt idx="46">
                  <c:v>45515</c:v>
                </c:pt>
                <c:pt idx="47">
                  <c:v>45522</c:v>
                </c:pt>
                <c:pt idx="48">
                  <c:v>45529</c:v>
                </c:pt>
                <c:pt idx="49">
                  <c:v>45536</c:v>
                </c:pt>
                <c:pt idx="50">
                  <c:v>45550</c:v>
                </c:pt>
                <c:pt idx="51">
                  <c:v>45564</c:v>
                </c:pt>
                <c:pt idx="52">
                  <c:v>45571</c:v>
                </c:pt>
                <c:pt idx="53">
                  <c:v>45578</c:v>
                </c:pt>
                <c:pt idx="54">
                  <c:v>45585</c:v>
                </c:pt>
                <c:pt idx="55">
                  <c:v>45592</c:v>
                </c:pt>
                <c:pt idx="56">
                  <c:v>45599</c:v>
                </c:pt>
                <c:pt idx="57">
                  <c:v>45606</c:v>
                </c:pt>
                <c:pt idx="58">
                  <c:v>45613</c:v>
                </c:pt>
                <c:pt idx="59">
                  <c:v>45620</c:v>
                </c:pt>
                <c:pt idx="60">
                  <c:v>45627</c:v>
                </c:pt>
                <c:pt idx="61">
                  <c:v>45634</c:v>
                </c:pt>
                <c:pt idx="62">
                  <c:v>45641</c:v>
                </c:pt>
                <c:pt idx="63">
                  <c:v>45648</c:v>
                </c:pt>
                <c:pt idx="64">
                  <c:v>45655</c:v>
                </c:pt>
                <c:pt idx="65">
                  <c:v>45662</c:v>
                </c:pt>
                <c:pt idx="66">
                  <c:v>45669</c:v>
                </c:pt>
                <c:pt idx="67">
                  <c:v>45676</c:v>
                </c:pt>
                <c:pt idx="68">
                  <c:v>45683</c:v>
                </c:pt>
              </c:numCache>
            </c:numRef>
          </c:cat>
          <c:val>
            <c:numRef>
              <c:f>Sheet1!$D$2:$D$70</c:f>
              <c:numCache>
                <c:formatCode>General</c:formatCode>
                <c:ptCount val="69"/>
                <c:pt idx="0">
                  <c:v>227008</c:v>
                </c:pt>
                <c:pt idx="1">
                  <c:v>219840</c:v>
                </c:pt>
                <c:pt idx="2">
                  <c:v>219377</c:v>
                </c:pt>
                <c:pt idx="3">
                  <c:v>213221</c:v>
                </c:pt>
                <c:pt idx="4">
                  <c:v>220763</c:v>
                </c:pt>
                <c:pt idx="5">
                  <c:v>227258</c:v>
                </c:pt>
                <c:pt idx="6">
                  <c:v>224316</c:v>
                </c:pt>
                <c:pt idx="7">
                  <c:v>241580</c:v>
                </c:pt>
                <c:pt idx="8">
                  <c:v>246986</c:v>
                </c:pt>
                <c:pt idx="9">
                  <c:v>231467</c:v>
                </c:pt>
                <c:pt idx="10">
                  <c:v>230821</c:v>
                </c:pt>
                <c:pt idx="11">
                  <c:v>251042</c:v>
                </c:pt>
                <c:pt idx="12">
                  <c:v>219823</c:v>
                </c:pt>
                <c:pt idx="13">
                  <c:v>231015</c:v>
                </c:pt>
                <c:pt idx="14">
                  <c:v>158026</c:v>
                </c:pt>
                <c:pt idx="15">
                  <c:v>174061</c:v>
                </c:pt>
                <c:pt idx="16">
                  <c:v>179593</c:v>
                </c:pt>
                <c:pt idx="17">
                  <c:v>182394</c:v>
                </c:pt>
                <c:pt idx="18">
                  <c:v>191567</c:v>
                </c:pt>
                <c:pt idx="19">
                  <c:v>198501</c:v>
                </c:pt>
                <c:pt idx="20">
                  <c:v>199742</c:v>
                </c:pt>
                <c:pt idx="21">
                  <c:v>186854</c:v>
                </c:pt>
                <c:pt idx="22">
                  <c:v>214483</c:v>
                </c:pt>
                <c:pt idx="23">
                  <c:v>205571</c:v>
                </c:pt>
                <c:pt idx="24">
                  <c:v>199834</c:v>
                </c:pt>
                <c:pt idx="25">
                  <c:v>189997</c:v>
                </c:pt>
                <c:pt idx="26">
                  <c:v>184712</c:v>
                </c:pt>
                <c:pt idx="27">
                  <c:v>182778</c:v>
                </c:pt>
                <c:pt idx="28">
                  <c:v>186257</c:v>
                </c:pt>
                <c:pt idx="29">
                  <c:v>179407</c:v>
                </c:pt>
                <c:pt idx="30">
                  <c:v>172359</c:v>
                </c:pt>
                <c:pt idx="31">
                  <c:v>170298</c:v>
                </c:pt>
                <c:pt idx="32">
                  <c:v>179099</c:v>
                </c:pt>
                <c:pt idx="33">
                  <c:v>175770</c:v>
                </c:pt>
                <c:pt idx="34">
                  <c:v>167149</c:v>
                </c:pt>
                <c:pt idx="35">
                  <c:v>177049</c:v>
                </c:pt>
                <c:pt idx="36">
                  <c:v>170749</c:v>
                </c:pt>
                <c:pt idx="37">
                  <c:v>181156</c:v>
                </c:pt>
                <c:pt idx="38">
                  <c:v>172827</c:v>
                </c:pt>
                <c:pt idx="39">
                  <c:v>169749</c:v>
                </c:pt>
                <c:pt idx="40">
                  <c:v>169494</c:v>
                </c:pt>
                <c:pt idx="41">
                  <c:v>187198</c:v>
                </c:pt>
                <c:pt idx="42">
                  <c:v>172864</c:v>
                </c:pt>
                <c:pt idx="43">
                  <c:v>180607</c:v>
                </c:pt>
                <c:pt idx="44">
                  <c:v>174269</c:v>
                </c:pt>
                <c:pt idx="45">
                  <c:v>182231</c:v>
                </c:pt>
                <c:pt idx="46">
                  <c:v>176950</c:v>
                </c:pt>
                <c:pt idx="47">
                  <c:v>173265</c:v>
                </c:pt>
                <c:pt idx="48">
                  <c:v>171025</c:v>
                </c:pt>
                <c:pt idx="49">
                  <c:v>169706</c:v>
                </c:pt>
                <c:pt idx="50">
                  <c:v>162125</c:v>
                </c:pt>
                <c:pt idx="51">
                  <c:v>162045</c:v>
                </c:pt>
                <c:pt idx="52">
                  <c:v>189972</c:v>
                </c:pt>
                <c:pt idx="53">
                  <c:v>172707</c:v>
                </c:pt>
                <c:pt idx="54">
                  <c:v>175677</c:v>
                </c:pt>
                <c:pt idx="55">
                  <c:v>167065</c:v>
                </c:pt>
                <c:pt idx="56">
                  <c:v>163498</c:v>
                </c:pt>
                <c:pt idx="57">
                  <c:v>174059</c:v>
                </c:pt>
                <c:pt idx="58">
                  <c:v>168600</c:v>
                </c:pt>
                <c:pt idx="59">
                  <c:v>162753</c:v>
                </c:pt>
                <c:pt idx="60">
                  <c:v>155742</c:v>
                </c:pt>
                <c:pt idx="61">
                  <c:v>172155</c:v>
                </c:pt>
                <c:pt idx="62">
                  <c:v>173990</c:v>
                </c:pt>
                <c:pt idx="63">
                  <c:v>188449</c:v>
                </c:pt>
                <c:pt idx="64">
                  <c:v>159861</c:v>
                </c:pt>
                <c:pt idx="65">
                  <c:v>166768</c:v>
                </c:pt>
                <c:pt idx="66">
                  <c:v>154594</c:v>
                </c:pt>
                <c:pt idx="67">
                  <c:v>158225</c:v>
                </c:pt>
                <c:pt idx="68">
                  <c:v>146419</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70</c:f>
              <c:numCache>
                <c:formatCode>yyyy\-mm\-dd</c:formatCode>
                <c:ptCount val="69"/>
                <c:pt idx="0">
                  <c:v>44934</c:v>
                </c:pt>
                <c:pt idx="1">
                  <c:v>44941</c:v>
                </c:pt>
                <c:pt idx="2">
                  <c:v>44948</c:v>
                </c:pt>
                <c:pt idx="3">
                  <c:v>44955</c:v>
                </c:pt>
                <c:pt idx="4">
                  <c:v>44962</c:v>
                </c:pt>
                <c:pt idx="5">
                  <c:v>44969</c:v>
                </c:pt>
                <c:pt idx="6">
                  <c:v>44976</c:v>
                </c:pt>
                <c:pt idx="7">
                  <c:v>44983</c:v>
                </c:pt>
                <c:pt idx="8">
                  <c:v>44990</c:v>
                </c:pt>
                <c:pt idx="9">
                  <c:v>44997</c:v>
                </c:pt>
                <c:pt idx="10">
                  <c:v>45011</c:v>
                </c:pt>
                <c:pt idx="11">
                  <c:v>45130</c:v>
                </c:pt>
                <c:pt idx="12">
                  <c:v>45277</c:v>
                </c:pt>
                <c:pt idx="13">
                  <c:v>45284</c:v>
                </c:pt>
                <c:pt idx="14">
                  <c:v>45291</c:v>
                </c:pt>
                <c:pt idx="15">
                  <c:v>45298</c:v>
                </c:pt>
                <c:pt idx="16">
                  <c:v>45305</c:v>
                </c:pt>
                <c:pt idx="17">
                  <c:v>45312</c:v>
                </c:pt>
                <c:pt idx="18">
                  <c:v>45319</c:v>
                </c:pt>
                <c:pt idx="19">
                  <c:v>45326</c:v>
                </c:pt>
                <c:pt idx="20">
                  <c:v>45333</c:v>
                </c:pt>
                <c:pt idx="21">
                  <c:v>45340</c:v>
                </c:pt>
                <c:pt idx="22">
                  <c:v>45347</c:v>
                </c:pt>
                <c:pt idx="23">
                  <c:v>45354</c:v>
                </c:pt>
                <c:pt idx="24">
                  <c:v>45361</c:v>
                </c:pt>
                <c:pt idx="25">
                  <c:v>45368</c:v>
                </c:pt>
                <c:pt idx="26">
                  <c:v>45375</c:v>
                </c:pt>
                <c:pt idx="27">
                  <c:v>45382</c:v>
                </c:pt>
                <c:pt idx="28">
                  <c:v>45389</c:v>
                </c:pt>
                <c:pt idx="29">
                  <c:v>45396</c:v>
                </c:pt>
                <c:pt idx="30">
                  <c:v>45403</c:v>
                </c:pt>
                <c:pt idx="31">
                  <c:v>45410</c:v>
                </c:pt>
                <c:pt idx="32">
                  <c:v>45417</c:v>
                </c:pt>
                <c:pt idx="33">
                  <c:v>45424</c:v>
                </c:pt>
                <c:pt idx="34">
                  <c:v>45431</c:v>
                </c:pt>
                <c:pt idx="35">
                  <c:v>45438</c:v>
                </c:pt>
                <c:pt idx="36">
                  <c:v>45445</c:v>
                </c:pt>
                <c:pt idx="37">
                  <c:v>45452</c:v>
                </c:pt>
                <c:pt idx="38">
                  <c:v>45459</c:v>
                </c:pt>
                <c:pt idx="39">
                  <c:v>45466</c:v>
                </c:pt>
                <c:pt idx="40">
                  <c:v>45473</c:v>
                </c:pt>
                <c:pt idx="41">
                  <c:v>45480</c:v>
                </c:pt>
                <c:pt idx="42">
                  <c:v>45487</c:v>
                </c:pt>
                <c:pt idx="43">
                  <c:v>45494</c:v>
                </c:pt>
                <c:pt idx="44">
                  <c:v>45501</c:v>
                </c:pt>
                <c:pt idx="45">
                  <c:v>45508</c:v>
                </c:pt>
                <c:pt idx="46">
                  <c:v>45515</c:v>
                </c:pt>
                <c:pt idx="47">
                  <c:v>45522</c:v>
                </c:pt>
                <c:pt idx="48">
                  <c:v>45529</c:v>
                </c:pt>
                <c:pt idx="49">
                  <c:v>45536</c:v>
                </c:pt>
                <c:pt idx="50">
                  <c:v>45550</c:v>
                </c:pt>
                <c:pt idx="51">
                  <c:v>45564</c:v>
                </c:pt>
                <c:pt idx="52">
                  <c:v>45571</c:v>
                </c:pt>
                <c:pt idx="53">
                  <c:v>45578</c:v>
                </c:pt>
                <c:pt idx="54">
                  <c:v>45585</c:v>
                </c:pt>
                <c:pt idx="55">
                  <c:v>45592</c:v>
                </c:pt>
                <c:pt idx="56">
                  <c:v>45599</c:v>
                </c:pt>
                <c:pt idx="57">
                  <c:v>45606</c:v>
                </c:pt>
                <c:pt idx="58">
                  <c:v>45613</c:v>
                </c:pt>
                <c:pt idx="59">
                  <c:v>45620</c:v>
                </c:pt>
                <c:pt idx="60">
                  <c:v>45627</c:v>
                </c:pt>
                <c:pt idx="61">
                  <c:v>45634</c:v>
                </c:pt>
                <c:pt idx="62">
                  <c:v>45641</c:v>
                </c:pt>
                <c:pt idx="63">
                  <c:v>45648</c:v>
                </c:pt>
                <c:pt idx="64">
                  <c:v>45655</c:v>
                </c:pt>
                <c:pt idx="65">
                  <c:v>45662</c:v>
                </c:pt>
                <c:pt idx="66">
                  <c:v>45669</c:v>
                </c:pt>
                <c:pt idx="67">
                  <c:v>45676</c:v>
                </c:pt>
                <c:pt idx="68">
                  <c:v>45683</c:v>
                </c:pt>
              </c:numCache>
            </c:numRef>
          </c:cat>
          <c:val>
            <c:numRef>
              <c:f>Sheet1!$E$2:$E$70</c:f>
              <c:numCache>
                <c:formatCode>General</c:formatCode>
                <c:ptCount val="69"/>
                <c:pt idx="0">
                  <c:v>209804</c:v>
                </c:pt>
                <c:pt idx="1">
                  <c:v>211884</c:v>
                </c:pt>
                <c:pt idx="2">
                  <c:v>214548</c:v>
                </c:pt>
                <c:pt idx="3">
                  <c:v>215115</c:v>
                </c:pt>
                <c:pt idx="4">
                  <c:v>216496</c:v>
                </c:pt>
                <c:pt idx="5">
                  <c:v>219742</c:v>
                </c:pt>
                <c:pt idx="6">
                  <c:v>225739</c:v>
                </c:pt>
                <c:pt idx="7">
                  <c:v>235530</c:v>
                </c:pt>
                <c:pt idx="8">
                  <c:v>236895</c:v>
                </c:pt>
                <c:pt idx="9">
                  <c:v>235686</c:v>
                </c:pt>
                <c:pt idx="10">
                  <c:v>232507</c:v>
                </c:pt>
                <c:pt idx="11">
                  <c:v>238220</c:v>
                </c:pt>
                <c:pt idx="12">
                  <c:v>201145</c:v>
                </c:pt>
                <c:pt idx="13">
                  <c:v>195359</c:v>
                </c:pt>
                <c:pt idx="14">
                  <c:v>223489</c:v>
                </c:pt>
                <c:pt idx="15">
                  <c:v>223156</c:v>
                </c:pt>
                <c:pt idx="16">
                  <c:v>212513</c:v>
                </c:pt>
                <c:pt idx="17">
                  <c:v>196797</c:v>
                </c:pt>
                <c:pt idx="18">
                  <c:v>182915</c:v>
                </c:pt>
                <c:pt idx="19">
                  <c:v>186383</c:v>
                </c:pt>
                <c:pt idx="20">
                  <c:v>199496</c:v>
                </c:pt>
                <c:pt idx="21">
                  <c:v>196819</c:v>
                </c:pt>
                <c:pt idx="22">
                  <c:v>198368</c:v>
                </c:pt>
                <c:pt idx="23">
                  <c:v>201917</c:v>
                </c:pt>
                <c:pt idx="24">
                  <c:v>198693</c:v>
                </c:pt>
                <c:pt idx="25">
                  <c:v>197147</c:v>
                </c:pt>
                <c:pt idx="26">
                  <c:v>194625</c:v>
                </c:pt>
                <c:pt idx="27">
                  <c:v>191140</c:v>
                </c:pt>
                <c:pt idx="28">
                  <c:v>188771</c:v>
                </c:pt>
                <c:pt idx="29">
                  <c:v>187328</c:v>
                </c:pt>
                <c:pt idx="30">
                  <c:v>181422</c:v>
                </c:pt>
                <c:pt idx="31">
                  <c:v>175788</c:v>
                </c:pt>
                <c:pt idx="32">
                  <c:v>175875</c:v>
                </c:pt>
                <c:pt idx="33">
                  <c:v>173790</c:v>
                </c:pt>
                <c:pt idx="34">
                  <c:v>173270</c:v>
                </c:pt>
                <c:pt idx="35">
                  <c:v>174270</c:v>
                </c:pt>
                <c:pt idx="36">
                  <c:v>174103</c:v>
                </c:pt>
                <c:pt idx="37">
                  <c:v>172895</c:v>
                </c:pt>
                <c:pt idx="38">
                  <c:v>174443</c:v>
                </c:pt>
                <c:pt idx="39">
                  <c:v>175071</c:v>
                </c:pt>
                <c:pt idx="40">
                  <c:v>175707</c:v>
                </c:pt>
                <c:pt idx="41">
                  <c:v>176098</c:v>
                </c:pt>
                <c:pt idx="42">
                  <c:v>175696</c:v>
                </c:pt>
                <c:pt idx="43">
                  <c:v>176391</c:v>
                </c:pt>
                <c:pt idx="44">
                  <c:v>176810</c:v>
                </c:pt>
                <c:pt idx="45">
                  <c:v>177844</c:v>
                </c:pt>
                <c:pt idx="46">
                  <c:v>175097</c:v>
                </c:pt>
                <c:pt idx="47">
                  <c:v>175121</c:v>
                </c:pt>
                <c:pt idx="48">
                  <c:v>173081</c:v>
                </c:pt>
                <c:pt idx="49">
                  <c:v>171706</c:v>
                </c:pt>
                <c:pt idx="50">
                  <c:v>170753</c:v>
                </c:pt>
                <c:pt idx="51">
                  <c:v>170862</c:v>
                </c:pt>
                <c:pt idx="52">
                  <c:v>170735</c:v>
                </c:pt>
                <c:pt idx="53">
                  <c:v>169030</c:v>
                </c:pt>
                <c:pt idx="54">
                  <c:v>170840</c:v>
                </c:pt>
                <c:pt idx="55">
                  <c:v>171513</c:v>
                </c:pt>
                <c:pt idx="56">
                  <c:v>172720</c:v>
                </c:pt>
                <c:pt idx="57">
                  <c:v>170150</c:v>
                </c:pt>
                <c:pt idx="58">
                  <c:v>170039</c:v>
                </c:pt>
                <c:pt idx="59">
                  <c:v>168974</c:v>
                </c:pt>
                <c:pt idx="60">
                  <c:v>168297</c:v>
                </c:pt>
                <c:pt idx="61">
                  <c:v>174711</c:v>
                </c:pt>
                <c:pt idx="62">
                  <c:v>175027</c:v>
                </c:pt>
                <c:pt idx="63">
                  <c:v>175496</c:v>
                </c:pt>
                <c:pt idx="64">
                  <c:v>172819</c:v>
                </c:pt>
                <c:pt idx="65">
                  <c:v>176367</c:v>
                </c:pt>
                <c:pt idx="66">
                  <c:v>168912</c:v>
                </c:pt>
                <c:pt idx="67">
                  <c:v>176892</c:v>
                </c:pt>
                <c:pt idx="68">
                  <c:v>162820</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70</c:f>
              <c:numCache>
                <c:formatCode>yyyy\-mm\-dd</c:formatCode>
                <c:ptCount val="69"/>
                <c:pt idx="0">
                  <c:v>44934</c:v>
                </c:pt>
                <c:pt idx="1">
                  <c:v>44941</c:v>
                </c:pt>
                <c:pt idx="2">
                  <c:v>44948</c:v>
                </c:pt>
                <c:pt idx="3">
                  <c:v>44955</c:v>
                </c:pt>
                <c:pt idx="4">
                  <c:v>44962</c:v>
                </c:pt>
                <c:pt idx="5">
                  <c:v>44969</c:v>
                </c:pt>
                <c:pt idx="6">
                  <c:v>44976</c:v>
                </c:pt>
                <c:pt idx="7">
                  <c:v>44983</c:v>
                </c:pt>
                <c:pt idx="8">
                  <c:v>44990</c:v>
                </c:pt>
                <c:pt idx="9">
                  <c:v>44997</c:v>
                </c:pt>
                <c:pt idx="10">
                  <c:v>45011</c:v>
                </c:pt>
                <c:pt idx="11">
                  <c:v>45130</c:v>
                </c:pt>
                <c:pt idx="12">
                  <c:v>45277</c:v>
                </c:pt>
                <c:pt idx="13">
                  <c:v>45284</c:v>
                </c:pt>
                <c:pt idx="14">
                  <c:v>45291</c:v>
                </c:pt>
                <c:pt idx="15">
                  <c:v>45298</c:v>
                </c:pt>
                <c:pt idx="16">
                  <c:v>45305</c:v>
                </c:pt>
                <c:pt idx="17">
                  <c:v>45312</c:v>
                </c:pt>
                <c:pt idx="18">
                  <c:v>45319</c:v>
                </c:pt>
                <c:pt idx="19">
                  <c:v>45326</c:v>
                </c:pt>
                <c:pt idx="20">
                  <c:v>45333</c:v>
                </c:pt>
                <c:pt idx="21">
                  <c:v>45340</c:v>
                </c:pt>
                <c:pt idx="22">
                  <c:v>45347</c:v>
                </c:pt>
                <c:pt idx="23">
                  <c:v>45354</c:v>
                </c:pt>
                <c:pt idx="24">
                  <c:v>45361</c:v>
                </c:pt>
                <c:pt idx="25">
                  <c:v>45368</c:v>
                </c:pt>
                <c:pt idx="26">
                  <c:v>45375</c:v>
                </c:pt>
                <c:pt idx="27">
                  <c:v>45382</c:v>
                </c:pt>
                <c:pt idx="28">
                  <c:v>45389</c:v>
                </c:pt>
                <c:pt idx="29">
                  <c:v>45396</c:v>
                </c:pt>
                <c:pt idx="30">
                  <c:v>45403</c:v>
                </c:pt>
                <c:pt idx="31">
                  <c:v>45410</c:v>
                </c:pt>
                <c:pt idx="32">
                  <c:v>45417</c:v>
                </c:pt>
                <c:pt idx="33">
                  <c:v>45424</c:v>
                </c:pt>
                <c:pt idx="34">
                  <c:v>45431</c:v>
                </c:pt>
                <c:pt idx="35">
                  <c:v>45438</c:v>
                </c:pt>
                <c:pt idx="36">
                  <c:v>45445</c:v>
                </c:pt>
                <c:pt idx="37">
                  <c:v>45452</c:v>
                </c:pt>
                <c:pt idx="38">
                  <c:v>45459</c:v>
                </c:pt>
                <c:pt idx="39">
                  <c:v>45466</c:v>
                </c:pt>
                <c:pt idx="40">
                  <c:v>45473</c:v>
                </c:pt>
                <c:pt idx="41">
                  <c:v>45480</c:v>
                </c:pt>
                <c:pt idx="42">
                  <c:v>45487</c:v>
                </c:pt>
                <c:pt idx="43">
                  <c:v>45494</c:v>
                </c:pt>
                <c:pt idx="44">
                  <c:v>45501</c:v>
                </c:pt>
                <c:pt idx="45">
                  <c:v>45508</c:v>
                </c:pt>
                <c:pt idx="46">
                  <c:v>45515</c:v>
                </c:pt>
                <c:pt idx="47">
                  <c:v>45522</c:v>
                </c:pt>
                <c:pt idx="48">
                  <c:v>45529</c:v>
                </c:pt>
                <c:pt idx="49">
                  <c:v>45536</c:v>
                </c:pt>
                <c:pt idx="50">
                  <c:v>45550</c:v>
                </c:pt>
                <c:pt idx="51">
                  <c:v>45564</c:v>
                </c:pt>
                <c:pt idx="52">
                  <c:v>45571</c:v>
                </c:pt>
                <c:pt idx="53">
                  <c:v>45578</c:v>
                </c:pt>
                <c:pt idx="54">
                  <c:v>45585</c:v>
                </c:pt>
                <c:pt idx="55">
                  <c:v>45592</c:v>
                </c:pt>
                <c:pt idx="56">
                  <c:v>45599</c:v>
                </c:pt>
                <c:pt idx="57">
                  <c:v>45606</c:v>
                </c:pt>
                <c:pt idx="58">
                  <c:v>45613</c:v>
                </c:pt>
                <c:pt idx="59">
                  <c:v>45620</c:v>
                </c:pt>
                <c:pt idx="60">
                  <c:v>45627</c:v>
                </c:pt>
                <c:pt idx="61">
                  <c:v>45634</c:v>
                </c:pt>
                <c:pt idx="62">
                  <c:v>45641</c:v>
                </c:pt>
                <c:pt idx="63">
                  <c:v>45648</c:v>
                </c:pt>
                <c:pt idx="64">
                  <c:v>45655</c:v>
                </c:pt>
                <c:pt idx="65">
                  <c:v>45662</c:v>
                </c:pt>
                <c:pt idx="66">
                  <c:v>45669</c:v>
                </c:pt>
                <c:pt idx="67">
                  <c:v>45676</c:v>
                </c:pt>
                <c:pt idx="68">
                  <c:v>45683</c:v>
                </c:pt>
              </c:numCache>
            </c:numRef>
          </c:cat>
          <c:val>
            <c:numRef>
              <c:f>Sheet1!$F$2:$F$70</c:f>
              <c:numCache>
                <c:formatCode>General</c:formatCode>
                <c:ptCount val="69"/>
                <c:pt idx="0">
                  <c:v>0.17</c:v>
                </c:pt>
                <c:pt idx="1">
                  <c:v>0.09</c:v>
                </c:pt>
                <c:pt idx="2">
                  <c:v>0.06</c:v>
                </c:pt>
                <c:pt idx="3">
                  <c:v>0.04</c:v>
                </c:pt>
                <c:pt idx="4">
                  <c:v>0.02</c:v>
                </c:pt>
                <c:pt idx="5">
                  <c:v>0.12</c:v>
                </c:pt>
                <c:pt idx="6">
                  <c:v>0.15</c:v>
                </c:pt>
                <c:pt idx="7">
                  <c:v>0.16</c:v>
                </c:pt>
                <c:pt idx="8">
                  <c:v>0.12</c:v>
                </c:pt>
                <c:pt idx="9">
                  <c:v>0.12</c:v>
                </c:pt>
                <c:pt idx="10">
                  <c:v>0.12</c:v>
                </c:pt>
                <c:pt idx="11">
                  <c:v>0.16</c:v>
                </c:pt>
                <c:pt idx="12">
                  <c:v>0.13</c:v>
                </c:pt>
                <c:pt idx="13">
                  <c:v>0.15</c:v>
                </c:pt>
                <c:pt idx="14">
                  <c:v>0.12</c:v>
                </c:pt>
                <c:pt idx="15">
                  <c:v>0.08</c:v>
                </c:pt>
                <c:pt idx="16">
                  <c:v>0.24</c:v>
                </c:pt>
                <c:pt idx="17">
                  <c:v>0.19</c:v>
                </c:pt>
                <c:pt idx="18">
                  <c:v>0.11</c:v>
                </c:pt>
                <c:pt idx="19">
                  <c:v>0.23</c:v>
                </c:pt>
                <c:pt idx="20">
                  <c:v>0.39</c:v>
                </c:pt>
                <c:pt idx="21">
                  <c:v>0.43</c:v>
                </c:pt>
                <c:pt idx="22">
                  <c:v>0.53</c:v>
                </c:pt>
                <c:pt idx="23">
                  <c:v>0.53</c:v>
                </c:pt>
                <c:pt idx="24">
                  <c:v>0.5</c:v>
                </c:pt>
                <c:pt idx="25">
                  <c:v>0.4</c:v>
                </c:pt>
                <c:pt idx="26">
                  <c:v>0.23</c:v>
                </c:pt>
                <c:pt idx="27">
                  <c:v>0.23</c:v>
                </c:pt>
                <c:pt idx="28">
                  <c:v>0.23</c:v>
                </c:pt>
                <c:pt idx="29">
                  <c:v>0.22</c:v>
                </c:pt>
                <c:pt idx="30">
                  <c:v>0.21</c:v>
                </c:pt>
                <c:pt idx="31">
                  <c:v>0.19</c:v>
                </c:pt>
                <c:pt idx="32">
                  <c:v>0.2</c:v>
                </c:pt>
                <c:pt idx="33">
                  <c:v>0.2</c:v>
                </c:pt>
                <c:pt idx="34">
                  <c:v>0.19</c:v>
                </c:pt>
                <c:pt idx="35">
                  <c:v>0.09</c:v>
                </c:pt>
                <c:pt idx="36">
                  <c:v>0</c:v>
                </c:pt>
                <c:pt idx="37">
                  <c:v>0</c:v>
                </c:pt>
                <c:pt idx="38">
                  <c:v>0</c:v>
                </c:pt>
                <c:pt idx="39">
                  <c:v>0.01</c:v>
                </c:pt>
                <c:pt idx="40">
                  <c:v>0</c:v>
                </c:pt>
                <c:pt idx="41">
                  <c:v>0</c:v>
                </c:pt>
                <c:pt idx="42">
                  <c:v>0.12</c:v>
                </c:pt>
                <c:pt idx="43">
                  <c:v>0.21</c:v>
                </c:pt>
                <c:pt idx="44">
                  <c:v>0.22</c:v>
                </c:pt>
                <c:pt idx="45">
                  <c:v>0.19</c:v>
                </c:pt>
                <c:pt idx="46">
                  <c:v>0.06</c:v>
                </c:pt>
                <c:pt idx="47">
                  <c:v>0.05</c:v>
                </c:pt>
                <c:pt idx="48">
                  <c:v>0</c:v>
                </c:pt>
                <c:pt idx="49">
                  <c:v>0.03</c:v>
                </c:pt>
                <c:pt idx="50">
                  <c:v>0</c:v>
                </c:pt>
                <c:pt idx="51">
                  <c:v>7.0000000000000007E-2</c:v>
                </c:pt>
                <c:pt idx="52">
                  <c:v>0.12</c:v>
                </c:pt>
                <c:pt idx="53">
                  <c:v>0.23</c:v>
                </c:pt>
                <c:pt idx="54">
                  <c:v>0.26</c:v>
                </c:pt>
                <c:pt idx="55">
                  <c:v>0.13</c:v>
                </c:pt>
                <c:pt idx="56">
                  <c:v>0</c:v>
                </c:pt>
                <c:pt idx="57">
                  <c:v>0</c:v>
                </c:pt>
                <c:pt idx="58">
                  <c:v>0.32</c:v>
                </c:pt>
                <c:pt idx="59">
                  <c:v>0.97</c:v>
                </c:pt>
                <c:pt idx="60">
                  <c:v>0.98</c:v>
                </c:pt>
                <c:pt idx="61">
                  <c:v>0.98</c:v>
                </c:pt>
                <c:pt idx="62">
                  <c:v>0.99</c:v>
                </c:pt>
                <c:pt idx="63">
                  <c:v>0.99</c:v>
                </c:pt>
                <c:pt idx="64">
                  <c:v>0.99</c:v>
                </c:pt>
                <c:pt idx="65">
                  <c:v>0.99</c:v>
                </c:pt>
                <c:pt idx="66">
                  <c:v>0.97</c:v>
                </c:pt>
                <c:pt idx="67">
                  <c:v>0.95</c:v>
                </c:pt>
                <c:pt idx="68">
                  <c:v>0.93</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85</c:f>
              <c:numCache>
                <c:formatCode>yyyy\-mm\-dd</c:formatCode>
                <c:ptCount val="84"/>
                <c:pt idx="0">
                  <c:v>44934</c:v>
                </c:pt>
                <c:pt idx="1">
                  <c:v>44941</c:v>
                </c:pt>
                <c:pt idx="2">
                  <c:v>44948</c:v>
                </c:pt>
                <c:pt idx="3">
                  <c:v>44955</c:v>
                </c:pt>
                <c:pt idx="4">
                  <c:v>44997</c:v>
                </c:pt>
                <c:pt idx="5">
                  <c:v>45004</c:v>
                </c:pt>
                <c:pt idx="6">
                  <c:v>45011</c:v>
                </c:pt>
                <c:pt idx="7">
                  <c:v>45018</c:v>
                </c:pt>
                <c:pt idx="8">
                  <c:v>45025</c:v>
                </c:pt>
                <c:pt idx="9">
                  <c:v>45032</c:v>
                </c:pt>
                <c:pt idx="10">
                  <c:v>45039</c:v>
                </c:pt>
                <c:pt idx="11">
                  <c:v>45046</c:v>
                </c:pt>
                <c:pt idx="12">
                  <c:v>45067</c:v>
                </c:pt>
                <c:pt idx="13">
                  <c:v>45074</c:v>
                </c:pt>
                <c:pt idx="14">
                  <c:v>45081</c:v>
                </c:pt>
                <c:pt idx="15">
                  <c:v>45088</c:v>
                </c:pt>
                <c:pt idx="16">
                  <c:v>45095</c:v>
                </c:pt>
                <c:pt idx="17">
                  <c:v>45102</c:v>
                </c:pt>
                <c:pt idx="18">
                  <c:v>45109</c:v>
                </c:pt>
                <c:pt idx="19">
                  <c:v>45116</c:v>
                </c:pt>
                <c:pt idx="20">
                  <c:v>45123</c:v>
                </c:pt>
                <c:pt idx="21">
                  <c:v>45165</c:v>
                </c:pt>
                <c:pt idx="22">
                  <c:v>45172</c:v>
                </c:pt>
                <c:pt idx="23">
                  <c:v>45179</c:v>
                </c:pt>
                <c:pt idx="24">
                  <c:v>45186</c:v>
                </c:pt>
                <c:pt idx="25">
                  <c:v>45221</c:v>
                </c:pt>
                <c:pt idx="26">
                  <c:v>45228</c:v>
                </c:pt>
                <c:pt idx="27">
                  <c:v>45235</c:v>
                </c:pt>
                <c:pt idx="28">
                  <c:v>45242</c:v>
                </c:pt>
                <c:pt idx="29">
                  <c:v>45249</c:v>
                </c:pt>
                <c:pt idx="30">
                  <c:v>45256</c:v>
                </c:pt>
                <c:pt idx="31">
                  <c:v>45263</c:v>
                </c:pt>
                <c:pt idx="32">
                  <c:v>45270</c:v>
                </c:pt>
                <c:pt idx="33">
                  <c:v>45277</c:v>
                </c:pt>
                <c:pt idx="34">
                  <c:v>45284</c:v>
                </c:pt>
                <c:pt idx="35">
                  <c:v>45291</c:v>
                </c:pt>
                <c:pt idx="36">
                  <c:v>45298</c:v>
                </c:pt>
                <c:pt idx="37">
                  <c:v>45305</c:v>
                </c:pt>
                <c:pt idx="38">
                  <c:v>45312</c:v>
                </c:pt>
                <c:pt idx="39">
                  <c:v>45319</c:v>
                </c:pt>
                <c:pt idx="40">
                  <c:v>45354</c:v>
                </c:pt>
                <c:pt idx="41">
                  <c:v>45361</c:v>
                </c:pt>
                <c:pt idx="42">
                  <c:v>45368</c:v>
                </c:pt>
                <c:pt idx="43">
                  <c:v>45375</c:v>
                </c:pt>
                <c:pt idx="44">
                  <c:v>45389</c:v>
                </c:pt>
                <c:pt idx="45">
                  <c:v>45396</c:v>
                </c:pt>
                <c:pt idx="46">
                  <c:v>45403</c:v>
                </c:pt>
                <c:pt idx="47">
                  <c:v>45410</c:v>
                </c:pt>
                <c:pt idx="48">
                  <c:v>45417</c:v>
                </c:pt>
                <c:pt idx="49">
                  <c:v>45424</c:v>
                </c:pt>
                <c:pt idx="50">
                  <c:v>45431</c:v>
                </c:pt>
                <c:pt idx="51">
                  <c:v>45438</c:v>
                </c:pt>
                <c:pt idx="52">
                  <c:v>45445</c:v>
                </c:pt>
                <c:pt idx="53">
                  <c:v>45452</c:v>
                </c:pt>
                <c:pt idx="54">
                  <c:v>45459</c:v>
                </c:pt>
                <c:pt idx="55">
                  <c:v>45466</c:v>
                </c:pt>
                <c:pt idx="56">
                  <c:v>45473</c:v>
                </c:pt>
                <c:pt idx="57">
                  <c:v>45480</c:v>
                </c:pt>
                <c:pt idx="58">
                  <c:v>45487</c:v>
                </c:pt>
                <c:pt idx="59">
                  <c:v>45508</c:v>
                </c:pt>
                <c:pt idx="60">
                  <c:v>45515</c:v>
                </c:pt>
                <c:pt idx="61">
                  <c:v>45522</c:v>
                </c:pt>
                <c:pt idx="62">
                  <c:v>45529</c:v>
                </c:pt>
                <c:pt idx="63">
                  <c:v>45536</c:v>
                </c:pt>
                <c:pt idx="64">
                  <c:v>45543</c:v>
                </c:pt>
                <c:pt idx="65">
                  <c:v>45550</c:v>
                </c:pt>
                <c:pt idx="66">
                  <c:v>45557</c:v>
                </c:pt>
                <c:pt idx="67">
                  <c:v>45564</c:v>
                </c:pt>
                <c:pt idx="68">
                  <c:v>45578</c:v>
                </c:pt>
                <c:pt idx="69">
                  <c:v>45585</c:v>
                </c:pt>
                <c:pt idx="70">
                  <c:v>45592</c:v>
                </c:pt>
                <c:pt idx="71">
                  <c:v>45599</c:v>
                </c:pt>
                <c:pt idx="72">
                  <c:v>45606</c:v>
                </c:pt>
                <c:pt idx="73">
                  <c:v>45613</c:v>
                </c:pt>
                <c:pt idx="74">
                  <c:v>45620</c:v>
                </c:pt>
                <c:pt idx="75">
                  <c:v>45627</c:v>
                </c:pt>
                <c:pt idx="76">
                  <c:v>45634</c:v>
                </c:pt>
                <c:pt idx="77">
                  <c:v>45641</c:v>
                </c:pt>
                <c:pt idx="78">
                  <c:v>45648</c:v>
                </c:pt>
                <c:pt idx="79">
                  <c:v>45655</c:v>
                </c:pt>
                <c:pt idx="80">
                  <c:v>45662</c:v>
                </c:pt>
                <c:pt idx="81">
                  <c:v>45669</c:v>
                </c:pt>
                <c:pt idx="82">
                  <c:v>45676</c:v>
                </c:pt>
                <c:pt idx="83">
                  <c:v>45683</c:v>
                </c:pt>
              </c:numCache>
            </c:numRef>
          </c:cat>
          <c:val>
            <c:numRef>
              <c:f>Sheet1!$B$2:$B$85</c:f>
              <c:numCache>
                <c:formatCode>General</c:formatCode>
                <c:ptCount val="84"/>
                <c:pt idx="0">
                  <c:v>73775</c:v>
                </c:pt>
                <c:pt idx="1">
                  <c:v>31097</c:v>
                </c:pt>
                <c:pt idx="2">
                  <c:v>27142</c:v>
                </c:pt>
                <c:pt idx="3">
                  <c:v>70632</c:v>
                </c:pt>
                <c:pt idx="4">
                  <c:v>79241</c:v>
                </c:pt>
                <c:pt idx="5">
                  <c:v>113982</c:v>
                </c:pt>
                <c:pt idx="6">
                  <c:v>89719</c:v>
                </c:pt>
                <c:pt idx="7">
                  <c:v>87998</c:v>
                </c:pt>
                <c:pt idx="8">
                  <c:v>77629</c:v>
                </c:pt>
                <c:pt idx="9">
                  <c:v>83787</c:v>
                </c:pt>
                <c:pt idx="10">
                  <c:v>99665</c:v>
                </c:pt>
                <c:pt idx="11">
                  <c:v>2798</c:v>
                </c:pt>
                <c:pt idx="12">
                  <c:v>70056</c:v>
                </c:pt>
                <c:pt idx="13">
                  <c:v>80589</c:v>
                </c:pt>
                <c:pt idx="14">
                  <c:v>282388</c:v>
                </c:pt>
                <c:pt idx="15">
                  <c:v>338683</c:v>
                </c:pt>
                <c:pt idx="16">
                  <c:v>341952</c:v>
                </c:pt>
                <c:pt idx="17">
                  <c:v>339879</c:v>
                </c:pt>
                <c:pt idx="18">
                  <c:v>340173</c:v>
                </c:pt>
                <c:pt idx="19">
                  <c:v>77321</c:v>
                </c:pt>
                <c:pt idx="20">
                  <c:v>65370</c:v>
                </c:pt>
                <c:pt idx="21">
                  <c:v>97781</c:v>
                </c:pt>
                <c:pt idx="22">
                  <c:v>73785</c:v>
                </c:pt>
                <c:pt idx="23">
                  <c:v>96929</c:v>
                </c:pt>
                <c:pt idx="24">
                  <c:v>63263</c:v>
                </c:pt>
                <c:pt idx="25">
                  <c:v>87075</c:v>
                </c:pt>
                <c:pt idx="26">
                  <c:v>98473</c:v>
                </c:pt>
                <c:pt idx="27">
                  <c:v>79184</c:v>
                </c:pt>
                <c:pt idx="28">
                  <c:v>347453</c:v>
                </c:pt>
                <c:pt idx="29">
                  <c:v>324416</c:v>
                </c:pt>
                <c:pt idx="30">
                  <c:v>288148</c:v>
                </c:pt>
                <c:pt idx="31">
                  <c:v>87121</c:v>
                </c:pt>
                <c:pt idx="32">
                  <c:v>67580</c:v>
                </c:pt>
                <c:pt idx="33">
                  <c:v>66161</c:v>
                </c:pt>
                <c:pt idx="34">
                  <c:v>99697</c:v>
                </c:pt>
                <c:pt idx="35">
                  <c:v>251809</c:v>
                </c:pt>
                <c:pt idx="36">
                  <c:v>322017</c:v>
                </c:pt>
                <c:pt idx="37">
                  <c:v>336233</c:v>
                </c:pt>
                <c:pt idx="38">
                  <c:v>310381</c:v>
                </c:pt>
                <c:pt idx="39">
                  <c:v>293721</c:v>
                </c:pt>
                <c:pt idx="40">
                  <c:v>77042</c:v>
                </c:pt>
                <c:pt idx="41">
                  <c:v>99260</c:v>
                </c:pt>
                <c:pt idx="42">
                  <c:v>71859</c:v>
                </c:pt>
                <c:pt idx="43">
                  <c:v>24823</c:v>
                </c:pt>
                <c:pt idx="44">
                  <c:v>84114</c:v>
                </c:pt>
                <c:pt idx="45">
                  <c:v>183068</c:v>
                </c:pt>
                <c:pt idx="46">
                  <c:v>171571</c:v>
                </c:pt>
                <c:pt idx="47">
                  <c:v>103565</c:v>
                </c:pt>
                <c:pt idx="48">
                  <c:v>53963</c:v>
                </c:pt>
                <c:pt idx="49">
                  <c:v>36041</c:v>
                </c:pt>
                <c:pt idx="50">
                  <c:v>61765</c:v>
                </c:pt>
                <c:pt idx="51">
                  <c:v>51951</c:v>
                </c:pt>
                <c:pt idx="52">
                  <c:v>193824</c:v>
                </c:pt>
                <c:pt idx="53">
                  <c:v>238147</c:v>
                </c:pt>
                <c:pt idx="54">
                  <c:v>236587</c:v>
                </c:pt>
                <c:pt idx="55">
                  <c:v>230302</c:v>
                </c:pt>
                <c:pt idx="56">
                  <c:v>228001</c:v>
                </c:pt>
                <c:pt idx="57">
                  <c:v>227491</c:v>
                </c:pt>
                <c:pt idx="58">
                  <c:v>26235</c:v>
                </c:pt>
                <c:pt idx="59">
                  <c:v>49312</c:v>
                </c:pt>
                <c:pt idx="60">
                  <c:v>56189</c:v>
                </c:pt>
                <c:pt idx="61">
                  <c:v>61690</c:v>
                </c:pt>
                <c:pt idx="62">
                  <c:v>54826</c:v>
                </c:pt>
                <c:pt idx="63">
                  <c:v>13618</c:v>
                </c:pt>
                <c:pt idx="64">
                  <c:v>14642</c:v>
                </c:pt>
                <c:pt idx="65">
                  <c:v>13438</c:v>
                </c:pt>
                <c:pt idx="66">
                  <c:v>14607</c:v>
                </c:pt>
                <c:pt idx="67">
                  <c:v>15617</c:v>
                </c:pt>
                <c:pt idx="68">
                  <c:v>910</c:v>
                </c:pt>
                <c:pt idx="69">
                  <c:v>46520</c:v>
                </c:pt>
                <c:pt idx="70">
                  <c:v>54916</c:v>
                </c:pt>
                <c:pt idx="71">
                  <c:v>247717</c:v>
                </c:pt>
                <c:pt idx="72">
                  <c:v>259457</c:v>
                </c:pt>
                <c:pt idx="73">
                  <c:v>248536</c:v>
                </c:pt>
                <c:pt idx="74">
                  <c:v>241752</c:v>
                </c:pt>
                <c:pt idx="75">
                  <c:v>221995</c:v>
                </c:pt>
                <c:pt idx="76">
                  <c:v>189946</c:v>
                </c:pt>
                <c:pt idx="77">
                  <c:v>56512</c:v>
                </c:pt>
                <c:pt idx="78">
                  <c:v>76181</c:v>
                </c:pt>
                <c:pt idx="79">
                  <c:v>65321</c:v>
                </c:pt>
                <c:pt idx="80">
                  <c:v>201725</c:v>
                </c:pt>
                <c:pt idx="81">
                  <c:v>281643</c:v>
                </c:pt>
                <c:pt idx="82">
                  <c:v>297071</c:v>
                </c:pt>
                <c:pt idx="83">
                  <c:v>269481</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85</c:f>
              <c:numCache>
                <c:formatCode>yyyy\-mm\-dd</c:formatCode>
                <c:ptCount val="84"/>
                <c:pt idx="0">
                  <c:v>44934</c:v>
                </c:pt>
                <c:pt idx="1">
                  <c:v>44941</c:v>
                </c:pt>
                <c:pt idx="2">
                  <c:v>44948</c:v>
                </c:pt>
                <c:pt idx="3">
                  <c:v>44955</c:v>
                </c:pt>
                <c:pt idx="4">
                  <c:v>44997</c:v>
                </c:pt>
                <c:pt idx="5">
                  <c:v>45004</c:v>
                </c:pt>
                <c:pt idx="6">
                  <c:v>45011</c:v>
                </c:pt>
                <c:pt idx="7">
                  <c:v>45018</c:v>
                </c:pt>
                <c:pt idx="8">
                  <c:v>45025</c:v>
                </c:pt>
                <c:pt idx="9">
                  <c:v>45032</c:v>
                </c:pt>
                <c:pt idx="10">
                  <c:v>45039</c:v>
                </c:pt>
                <c:pt idx="11">
                  <c:v>45046</c:v>
                </c:pt>
                <c:pt idx="12">
                  <c:v>45067</c:v>
                </c:pt>
                <c:pt idx="13">
                  <c:v>45074</c:v>
                </c:pt>
                <c:pt idx="14">
                  <c:v>45081</c:v>
                </c:pt>
                <c:pt idx="15">
                  <c:v>45088</c:v>
                </c:pt>
                <c:pt idx="16">
                  <c:v>45095</c:v>
                </c:pt>
                <c:pt idx="17">
                  <c:v>45102</c:v>
                </c:pt>
                <c:pt idx="18">
                  <c:v>45109</c:v>
                </c:pt>
                <c:pt idx="19">
                  <c:v>45116</c:v>
                </c:pt>
                <c:pt idx="20">
                  <c:v>45123</c:v>
                </c:pt>
                <c:pt idx="21">
                  <c:v>45165</c:v>
                </c:pt>
                <c:pt idx="22">
                  <c:v>45172</c:v>
                </c:pt>
                <c:pt idx="23">
                  <c:v>45179</c:v>
                </c:pt>
                <c:pt idx="24">
                  <c:v>45186</c:v>
                </c:pt>
                <c:pt idx="25">
                  <c:v>45221</c:v>
                </c:pt>
                <c:pt idx="26">
                  <c:v>45228</c:v>
                </c:pt>
                <c:pt idx="27">
                  <c:v>45235</c:v>
                </c:pt>
                <c:pt idx="28">
                  <c:v>45242</c:v>
                </c:pt>
                <c:pt idx="29">
                  <c:v>45249</c:v>
                </c:pt>
                <c:pt idx="30">
                  <c:v>45256</c:v>
                </c:pt>
                <c:pt idx="31">
                  <c:v>45263</c:v>
                </c:pt>
                <c:pt idx="32">
                  <c:v>45270</c:v>
                </c:pt>
                <c:pt idx="33">
                  <c:v>45277</c:v>
                </c:pt>
                <c:pt idx="34">
                  <c:v>45284</c:v>
                </c:pt>
                <c:pt idx="35">
                  <c:v>45291</c:v>
                </c:pt>
                <c:pt idx="36">
                  <c:v>45298</c:v>
                </c:pt>
                <c:pt idx="37">
                  <c:v>45305</c:v>
                </c:pt>
                <c:pt idx="38">
                  <c:v>45312</c:v>
                </c:pt>
                <c:pt idx="39">
                  <c:v>45319</c:v>
                </c:pt>
                <c:pt idx="40">
                  <c:v>45354</c:v>
                </c:pt>
                <c:pt idx="41">
                  <c:v>45361</c:v>
                </c:pt>
                <c:pt idx="42">
                  <c:v>45368</c:v>
                </c:pt>
                <c:pt idx="43">
                  <c:v>45375</c:v>
                </c:pt>
                <c:pt idx="44">
                  <c:v>45389</c:v>
                </c:pt>
                <c:pt idx="45">
                  <c:v>45396</c:v>
                </c:pt>
                <c:pt idx="46">
                  <c:v>45403</c:v>
                </c:pt>
                <c:pt idx="47">
                  <c:v>45410</c:v>
                </c:pt>
                <c:pt idx="48">
                  <c:v>45417</c:v>
                </c:pt>
                <c:pt idx="49">
                  <c:v>45424</c:v>
                </c:pt>
                <c:pt idx="50">
                  <c:v>45431</c:v>
                </c:pt>
                <c:pt idx="51">
                  <c:v>45438</c:v>
                </c:pt>
                <c:pt idx="52">
                  <c:v>45445</c:v>
                </c:pt>
                <c:pt idx="53">
                  <c:v>45452</c:v>
                </c:pt>
                <c:pt idx="54">
                  <c:v>45459</c:v>
                </c:pt>
                <c:pt idx="55">
                  <c:v>45466</c:v>
                </c:pt>
                <c:pt idx="56">
                  <c:v>45473</c:v>
                </c:pt>
                <c:pt idx="57">
                  <c:v>45480</c:v>
                </c:pt>
                <c:pt idx="58">
                  <c:v>45487</c:v>
                </c:pt>
                <c:pt idx="59">
                  <c:v>45508</c:v>
                </c:pt>
                <c:pt idx="60">
                  <c:v>45515</c:v>
                </c:pt>
                <c:pt idx="61">
                  <c:v>45522</c:v>
                </c:pt>
                <c:pt idx="62">
                  <c:v>45529</c:v>
                </c:pt>
                <c:pt idx="63">
                  <c:v>45536</c:v>
                </c:pt>
                <c:pt idx="64">
                  <c:v>45543</c:v>
                </c:pt>
                <c:pt idx="65">
                  <c:v>45550</c:v>
                </c:pt>
                <c:pt idx="66">
                  <c:v>45557</c:v>
                </c:pt>
                <c:pt idx="67">
                  <c:v>45564</c:v>
                </c:pt>
                <c:pt idx="68">
                  <c:v>45578</c:v>
                </c:pt>
                <c:pt idx="69">
                  <c:v>45585</c:v>
                </c:pt>
                <c:pt idx="70">
                  <c:v>45592</c:v>
                </c:pt>
                <c:pt idx="71">
                  <c:v>45599</c:v>
                </c:pt>
                <c:pt idx="72">
                  <c:v>45606</c:v>
                </c:pt>
                <c:pt idx="73">
                  <c:v>45613</c:v>
                </c:pt>
                <c:pt idx="74">
                  <c:v>45620</c:v>
                </c:pt>
                <c:pt idx="75">
                  <c:v>45627</c:v>
                </c:pt>
                <c:pt idx="76">
                  <c:v>45634</c:v>
                </c:pt>
                <c:pt idx="77">
                  <c:v>45641</c:v>
                </c:pt>
                <c:pt idx="78">
                  <c:v>45648</c:v>
                </c:pt>
                <c:pt idx="79">
                  <c:v>45655</c:v>
                </c:pt>
                <c:pt idx="80">
                  <c:v>45662</c:v>
                </c:pt>
                <c:pt idx="81">
                  <c:v>45669</c:v>
                </c:pt>
                <c:pt idx="82">
                  <c:v>45676</c:v>
                </c:pt>
                <c:pt idx="83">
                  <c:v>45683</c:v>
                </c:pt>
              </c:numCache>
            </c:numRef>
          </c:cat>
          <c:val>
            <c:numRef>
              <c:f>Sheet1!$C$2:$C$85</c:f>
              <c:numCache>
                <c:formatCode>General</c:formatCode>
                <c:ptCount val="84"/>
                <c:pt idx="0">
                  <c:v>172166</c:v>
                </c:pt>
                <c:pt idx="1">
                  <c:v>253812</c:v>
                </c:pt>
                <c:pt idx="2">
                  <c:v>260415</c:v>
                </c:pt>
                <c:pt idx="3">
                  <c:v>207675</c:v>
                </c:pt>
                <c:pt idx="4">
                  <c:v>225339</c:v>
                </c:pt>
                <c:pt idx="5">
                  <c:v>210860</c:v>
                </c:pt>
                <c:pt idx="6">
                  <c:v>221454</c:v>
                </c:pt>
                <c:pt idx="7">
                  <c:v>193408</c:v>
                </c:pt>
                <c:pt idx="8">
                  <c:v>235665</c:v>
                </c:pt>
                <c:pt idx="9">
                  <c:v>191153</c:v>
                </c:pt>
                <c:pt idx="10">
                  <c:v>234055</c:v>
                </c:pt>
                <c:pt idx="11">
                  <c:v>291802</c:v>
                </c:pt>
                <c:pt idx="12">
                  <c:v>206654</c:v>
                </c:pt>
                <c:pt idx="13">
                  <c:v>211694</c:v>
                </c:pt>
                <c:pt idx="14">
                  <c:v>22119</c:v>
                </c:pt>
                <c:pt idx="15">
                  <c:v>13587</c:v>
                </c:pt>
                <c:pt idx="16">
                  <c:v>15619</c:v>
                </c:pt>
                <c:pt idx="17">
                  <c:v>9485</c:v>
                </c:pt>
                <c:pt idx="18">
                  <c:v>38000</c:v>
                </c:pt>
                <c:pt idx="19">
                  <c:v>225292</c:v>
                </c:pt>
                <c:pt idx="20">
                  <c:v>219789</c:v>
                </c:pt>
                <c:pt idx="21">
                  <c:v>220492</c:v>
                </c:pt>
                <c:pt idx="22">
                  <c:v>244728</c:v>
                </c:pt>
                <c:pt idx="23">
                  <c:v>215148</c:v>
                </c:pt>
                <c:pt idx="24">
                  <c:v>226940</c:v>
                </c:pt>
                <c:pt idx="25">
                  <c:v>205352</c:v>
                </c:pt>
                <c:pt idx="26">
                  <c:v>198815</c:v>
                </c:pt>
                <c:pt idx="27">
                  <c:v>260952</c:v>
                </c:pt>
                <c:pt idx="28">
                  <c:v>0</c:v>
                </c:pt>
                <c:pt idx="29">
                  <c:v>0</c:v>
                </c:pt>
                <c:pt idx="30">
                  <c:v>302</c:v>
                </c:pt>
                <c:pt idx="31">
                  <c:v>183301</c:v>
                </c:pt>
                <c:pt idx="32">
                  <c:v>225514</c:v>
                </c:pt>
                <c:pt idx="33">
                  <c:v>226025</c:v>
                </c:pt>
                <c:pt idx="34">
                  <c:v>226010</c:v>
                </c:pt>
                <c:pt idx="35">
                  <c:v>780</c:v>
                </c:pt>
                <c:pt idx="36">
                  <c:v>117</c:v>
                </c:pt>
                <c:pt idx="37">
                  <c:v>51</c:v>
                </c:pt>
                <c:pt idx="38">
                  <c:v>96</c:v>
                </c:pt>
                <c:pt idx="39">
                  <c:v>9508</c:v>
                </c:pt>
                <c:pt idx="40">
                  <c:v>220771</c:v>
                </c:pt>
                <c:pt idx="41">
                  <c:v>212398</c:v>
                </c:pt>
                <c:pt idx="42">
                  <c:v>230289</c:v>
                </c:pt>
                <c:pt idx="43">
                  <c:v>247648</c:v>
                </c:pt>
                <c:pt idx="44">
                  <c:v>169548</c:v>
                </c:pt>
                <c:pt idx="45">
                  <c:v>120659</c:v>
                </c:pt>
                <c:pt idx="46">
                  <c:v>131631</c:v>
                </c:pt>
                <c:pt idx="47">
                  <c:v>157361</c:v>
                </c:pt>
                <c:pt idx="48">
                  <c:v>174275</c:v>
                </c:pt>
                <c:pt idx="49">
                  <c:v>177673</c:v>
                </c:pt>
                <c:pt idx="50">
                  <c:v>137772</c:v>
                </c:pt>
                <c:pt idx="51">
                  <c:v>157896</c:v>
                </c:pt>
                <c:pt idx="52">
                  <c:v>15818</c:v>
                </c:pt>
                <c:pt idx="53">
                  <c:v>3145</c:v>
                </c:pt>
                <c:pt idx="54">
                  <c:v>2297</c:v>
                </c:pt>
                <c:pt idx="55">
                  <c:v>3762</c:v>
                </c:pt>
                <c:pt idx="56">
                  <c:v>13365</c:v>
                </c:pt>
                <c:pt idx="57">
                  <c:v>18083</c:v>
                </c:pt>
                <c:pt idx="58">
                  <c:v>161472</c:v>
                </c:pt>
                <c:pt idx="59">
                  <c:v>147962</c:v>
                </c:pt>
                <c:pt idx="60">
                  <c:v>156460</c:v>
                </c:pt>
                <c:pt idx="61">
                  <c:v>147124</c:v>
                </c:pt>
                <c:pt idx="62">
                  <c:v>158578</c:v>
                </c:pt>
                <c:pt idx="63">
                  <c:v>182286</c:v>
                </c:pt>
                <c:pt idx="64">
                  <c:v>171706</c:v>
                </c:pt>
                <c:pt idx="65">
                  <c:v>172103</c:v>
                </c:pt>
                <c:pt idx="66">
                  <c:v>166994</c:v>
                </c:pt>
                <c:pt idx="67">
                  <c:v>172463</c:v>
                </c:pt>
                <c:pt idx="68">
                  <c:v>186980</c:v>
                </c:pt>
                <c:pt idx="69">
                  <c:v>154429</c:v>
                </c:pt>
                <c:pt idx="70">
                  <c:v>166645</c:v>
                </c:pt>
                <c:pt idx="71">
                  <c:v>0</c:v>
                </c:pt>
                <c:pt idx="72">
                  <c:v>181</c:v>
                </c:pt>
                <c:pt idx="73">
                  <c:v>633</c:v>
                </c:pt>
                <c:pt idx="74">
                  <c:v>19</c:v>
                </c:pt>
                <c:pt idx="75">
                  <c:v>24</c:v>
                </c:pt>
                <c:pt idx="76">
                  <c:v>29229</c:v>
                </c:pt>
                <c:pt idx="77">
                  <c:v>169291</c:v>
                </c:pt>
                <c:pt idx="78">
                  <c:v>162908</c:v>
                </c:pt>
                <c:pt idx="79">
                  <c:v>137342</c:v>
                </c:pt>
                <c:pt idx="80">
                  <c:v>17266</c:v>
                </c:pt>
                <c:pt idx="81">
                  <c:v>0</c:v>
                </c:pt>
                <c:pt idx="82">
                  <c:v>115</c:v>
                </c:pt>
                <c:pt idx="83">
                  <c:v>147</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85</c:f>
              <c:numCache>
                <c:formatCode>yyyy\-mm\-dd</c:formatCode>
                <c:ptCount val="84"/>
                <c:pt idx="0">
                  <c:v>44934</c:v>
                </c:pt>
                <c:pt idx="1">
                  <c:v>44941</c:v>
                </c:pt>
                <c:pt idx="2">
                  <c:v>44948</c:v>
                </c:pt>
                <c:pt idx="3">
                  <c:v>44955</c:v>
                </c:pt>
                <c:pt idx="4">
                  <c:v>44997</c:v>
                </c:pt>
                <c:pt idx="5">
                  <c:v>45004</c:v>
                </c:pt>
                <c:pt idx="6">
                  <c:v>45011</c:v>
                </c:pt>
                <c:pt idx="7">
                  <c:v>45018</c:v>
                </c:pt>
                <c:pt idx="8">
                  <c:v>45025</c:v>
                </c:pt>
                <c:pt idx="9">
                  <c:v>45032</c:v>
                </c:pt>
                <c:pt idx="10">
                  <c:v>45039</c:v>
                </c:pt>
                <c:pt idx="11">
                  <c:v>45046</c:v>
                </c:pt>
                <c:pt idx="12">
                  <c:v>45067</c:v>
                </c:pt>
                <c:pt idx="13">
                  <c:v>45074</c:v>
                </c:pt>
                <c:pt idx="14">
                  <c:v>45081</c:v>
                </c:pt>
                <c:pt idx="15">
                  <c:v>45088</c:v>
                </c:pt>
                <c:pt idx="16">
                  <c:v>45095</c:v>
                </c:pt>
                <c:pt idx="17">
                  <c:v>45102</c:v>
                </c:pt>
                <c:pt idx="18">
                  <c:v>45109</c:v>
                </c:pt>
                <c:pt idx="19">
                  <c:v>45116</c:v>
                </c:pt>
                <c:pt idx="20">
                  <c:v>45123</c:v>
                </c:pt>
                <c:pt idx="21">
                  <c:v>45165</c:v>
                </c:pt>
                <c:pt idx="22">
                  <c:v>45172</c:v>
                </c:pt>
                <c:pt idx="23">
                  <c:v>45179</c:v>
                </c:pt>
                <c:pt idx="24">
                  <c:v>45186</c:v>
                </c:pt>
                <c:pt idx="25">
                  <c:v>45221</c:v>
                </c:pt>
                <c:pt idx="26">
                  <c:v>45228</c:v>
                </c:pt>
                <c:pt idx="27">
                  <c:v>45235</c:v>
                </c:pt>
                <c:pt idx="28">
                  <c:v>45242</c:v>
                </c:pt>
                <c:pt idx="29">
                  <c:v>45249</c:v>
                </c:pt>
                <c:pt idx="30">
                  <c:v>45256</c:v>
                </c:pt>
                <c:pt idx="31">
                  <c:v>45263</c:v>
                </c:pt>
                <c:pt idx="32">
                  <c:v>45270</c:v>
                </c:pt>
                <c:pt idx="33">
                  <c:v>45277</c:v>
                </c:pt>
                <c:pt idx="34">
                  <c:v>45284</c:v>
                </c:pt>
                <c:pt idx="35">
                  <c:v>45291</c:v>
                </c:pt>
                <c:pt idx="36">
                  <c:v>45298</c:v>
                </c:pt>
                <c:pt idx="37">
                  <c:v>45305</c:v>
                </c:pt>
                <c:pt idx="38">
                  <c:v>45312</c:v>
                </c:pt>
                <c:pt idx="39">
                  <c:v>45319</c:v>
                </c:pt>
                <c:pt idx="40">
                  <c:v>45354</c:v>
                </c:pt>
                <c:pt idx="41">
                  <c:v>45361</c:v>
                </c:pt>
                <c:pt idx="42">
                  <c:v>45368</c:v>
                </c:pt>
                <c:pt idx="43">
                  <c:v>45375</c:v>
                </c:pt>
                <c:pt idx="44">
                  <c:v>45389</c:v>
                </c:pt>
                <c:pt idx="45">
                  <c:v>45396</c:v>
                </c:pt>
                <c:pt idx="46">
                  <c:v>45403</c:v>
                </c:pt>
                <c:pt idx="47">
                  <c:v>45410</c:v>
                </c:pt>
                <c:pt idx="48">
                  <c:v>45417</c:v>
                </c:pt>
                <c:pt idx="49">
                  <c:v>45424</c:v>
                </c:pt>
                <c:pt idx="50">
                  <c:v>45431</c:v>
                </c:pt>
                <c:pt idx="51">
                  <c:v>45438</c:v>
                </c:pt>
                <c:pt idx="52">
                  <c:v>45445</c:v>
                </c:pt>
                <c:pt idx="53">
                  <c:v>45452</c:v>
                </c:pt>
                <c:pt idx="54">
                  <c:v>45459</c:v>
                </c:pt>
                <c:pt idx="55">
                  <c:v>45466</c:v>
                </c:pt>
                <c:pt idx="56">
                  <c:v>45473</c:v>
                </c:pt>
                <c:pt idx="57">
                  <c:v>45480</c:v>
                </c:pt>
                <c:pt idx="58">
                  <c:v>45487</c:v>
                </c:pt>
                <c:pt idx="59">
                  <c:v>45508</c:v>
                </c:pt>
                <c:pt idx="60">
                  <c:v>45515</c:v>
                </c:pt>
                <c:pt idx="61">
                  <c:v>45522</c:v>
                </c:pt>
                <c:pt idx="62">
                  <c:v>45529</c:v>
                </c:pt>
                <c:pt idx="63">
                  <c:v>45536</c:v>
                </c:pt>
                <c:pt idx="64">
                  <c:v>45543</c:v>
                </c:pt>
                <c:pt idx="65">
                  <c:v>45550</c:v>
                </c:pt>
                <c:pt idx="66">
                  <c:v>45557</c:v>
                </c:pt>
                <c:pt idx="67">
                  <c:v>45564</c:v>
                </c:pt>
                <c:pt idx="68">
                  <c:v>45578</c:v>
                </c:pt>
                <c:pt idx="69">
                  <c:v>45585</c:v>
                </c:pt>
                <c:pt idx="70">
                  <c:v>45592</c:v>
                </c:pt>
                <c:pt idx="71">
                  <c:v>45599</c:v>
                </c:pt>
                <c:pt idx="72">
                  <c:v>45606</c:v>
                </c:pt>
                <c:pt idx="73">
                  <c:v>45613</c:v>
                </c:pt>
                <c:pt idx="74">
                  <c:v>45620</c:v>
                </c:pt>
                <c:pt idx="75">
                  <c:v>45627</c:v>
                </c:pt>
                <c:pt idx="76">
                  <c:v>45634</c:v>
                </c:pt>
                <c:pt idx="77">
                  <c:v>45641</c:v>
                </c:pt>
                <c:pt idx="78">
                  <c:v>45648</c:v>
                </c:pt>
                <c:pt idx="79">
                  <c:v>45655</c:v>
                </c:pt>
                <c:pt idx="80">
                  <c:v>45662</c:v>
                </c:pt>
                <c:pt idx="81">
                  <c:v>45669</c:v>
                </c:pt>
                <c:pt idx="82">
                  <c:v>45676</c:v>
                </c:pt>
                <c:pt idx="83">
                  <c:v>45683</c:v>
                </c:pt>
              </c:numCache>
            </c:numRef>
          </c:cat>
          <c:val>
            <c:numRef>
              <c:f>Sheet1!$D$2:$D$85</c:f>
              <c:numCache>
                <c:formatCode>General</c:formatCode>
                <c:ptCount val="84"/>
                <c:pt idx="0">
                  <c:v>245941</c:v>
                </c:pt>
                <c:pt idx="1">
                  <c:v>284909</c:v>
                </c:pt>
                <c:pt idx="2">
                  <c:v>287557</c:v>
                </c:pt>
                <c:pt idx="3">
                  <c:v>278307</c:v>
                </c:pt>
                <c:pt idx="4">
                  <c:v>304580</c:v>
                </c:pt>
                <c:pt idx="5">
                  <c:v>324842</c:v>
                </c:pt>
                <c:pt idx="6">
                  <c:v>311173</c:v>
                </c:pt>
                <c:pt idx="7">
                  <c:v>281406</c:v>
                </c:pt>
                <c:pt idx="8">
                  <c:v>313294</c:v>
                </c:pt>
                <c:pt idx="9">
                  <c:v>274940</c:v>
                </c:pt>
                <c:pt idx="10">
                  <c:v>333720</c:v>
                </c:pt>
                <c:pt idx="11">
                  <c:v>294600</c:v>
                </c:pt>
                <c:pt idx="12">
                  <c:v>276710</c:v>
                </c:pt>
                <c:pt idx="13">
                  <c:v>292283</c:v>
                </c:pt>
                <c:pt idx="14">
                  <c:v>304507</c:v>
                </c:pt>
                <c:pt idx="15">
                  <c:v>352270</c:v>
                </c:pt>
                <c:pt idx="16">
                  <c:v>357571</c:v>
                </c:pt>
                <c:pt idx="17">
                  <c:v>349364</c:v>
                </c:pt>
                <c:pt idx="18">
                  <c:v>378173</c:v>
                </c:pt>
                <c:pt idx="19">
                  <c:v>302613</c:v>
                </c:pt>
                <c:pt idx="20">
                  <c:v>285159</c:v>
                </c:pt>
                <c:pt idx="21">
                  <c:v>318273</c:v>
                </c:pt>
                <c:pt idx="22">
                  <c:v>318513</c:v>
                </c:pt>
                <c:pt idx="23">
                  <c:v>312077</c:v>
                </c:pt>
                <c:pt idx="24">
                  <c:v>290203</c:v>
                </c:pt>
                <c:pt idx="25">
                  <c:v>292427</c:v>
                </c:pt>
                <c:pt idx="26">
                  <c:v>297288</c:v>
                </c:pt>
                <c:pt idx="27">
                  <c:v>340136</c:v>
                </c:pt>
                <c:pt idx="28">
                  <c:v>347453</c:v>
                </c:pt>
                <c:pt idx="29">
                  <c:v>324416</c:v>
                </c:pt>
                <c:pt idx="30">
                  <c:v>288450</c:v>
                </c:pt>
                <c:pt idx="31">
                  <c:v>270422</c:v>
                </c:pt>
                <c:pt idx="32">
                  <c:v>293094</c:v>
                </c:pt>
                <c:pt idx="33">
                  <c:v>292186</c:v>
                </c:pt>
                <c:pt idx="34">
                  <c:v>325707</c:v>
                </c:pt>
                <c:pt idx="35">
                  <c:v>252589</c:v>
                </c:pt>
                <c:pt idx="36">
                  <c:v>322134</c:v>
                </c:pt>
                <c:pt idx="37">
                  <c:v>336284</c:v>
                </c:pt>
                <c:pt idx="38">
                  <c:v>310477</c:v>
                </c:pt>
                <c:pt idx="39">
                  <c:v>303229</c:v>
                </c:pt>
                <c:pt idx="40">
                  <c:v>297813</c:v>
                </c:pt>
                <c:pt idx="41">
                  <c:v>311658</c:v>
                </c:pt>
                <c:pt idx="42">
                  <c:v>302148</c:v>
                </c:pt>
                <c:pt idx="43">
                  <c:v>272471</c:v>
                </c:pt>
                <c:pt idx="44">
                  <c:v>253662</c:v>
                </c:pt>
                <c:pt idx="45">
                  <c:v>303727</c:v>
                </c:pt>
                <c:pt idx="46">
                  <c:v>303202</c:v>
                </c:pt>
                <c:pt idx="47">
                  <c:v>260926</c:v>
                </c:pt>
                <c:pt idx="48">
                  <c:v>228238</c:v>
                </c:pt>
                <c:pt idx="49">
                  <c:v>213714</c:v>
                </c:pt>
                <c:pt idx="50">
                  <c:v>199537</c:v>
                </c:pt>
                <c:pt idx="51">
                  <c:v>209847</c:v>
                </c:pt>
                <c:pt idx="52">
                  <c:v>209642</c:v>
                </c:pt>
                <c:pt idx="53">
                  <c:v>241292</c:v>
                </c:pt>
                <c:pt idx="54">
                  <c:v>238884</c:v>
                </c:pt>
                <c:pt idx="55">
                  <c:v>234064</c:v>
                </c:pt>
                <c:pt idx="56">
                  <c:v>241366</c:v>
                </c:pt>
                <c:pt idx="57">
                  <c:v>245574</c:v>
                </c:pt>
                <c:pt idx="58">
                  <c:v>187707</c:v>
                </c:pt>
                <c:pt idx="59">
                  <c:v>197274</c:v>
                </c:pt>
                <c:pt idx="60">
                  <c:v>212649</c:v>
                </c:pt>
                <c:pt idx="61">
                  <c:v>208814</c:v>
                </c:pt>
                <c:pt idx="62">
                  <c:v>213404</c:v>
                </c:pt>
                <c:pt idx="63">
                  <c:v>195904</c:v>
                </c:pt>
                <c:pt idx="64">
                  <c:v>186348</c:v>
                </c:pt>
                <c:pt idx="65">
                  <c:v>185541</c:v>
                </c:pt>
                <c:pt idx="66">
                  <c:v>181601</c:v>
                </c:pt>
                <c:pt idx="67">
                  <c:v>188080</c:v>
                </c:pt>
                <c:pt idx="68">
                  <c:v>187890</c:v>
                </c:pt>
                <c:pt idx="69">
                  <c:v>200949</c:v>
                </c:pt>
                <c:pt idx="70">
                  <c:v>221561</c:v>
                </c:pt>
                <c:pt idx="71">
                  <c:v>247717</c:v>
                </c:pt>
                <c:pt idx="72">
                  <c:v>259638</c:v>
                </c:pt>
                <c:pt idx="73">
                  <c:v>249169</c:v>
                </c:pt>
                <c:pt idx="74">
                  <c:v>241771</c:v>
                </c:pt>
                <c:pt idx="75">
                  <c:v>222019</c:v>
                </c:pt>
                <c:pt idx="76">
                  <c:v>219175</c:v>
                </c:pt>
                <c:pt idx="77">
                  <c:v>225803</c:v>
                </c:pt>
                <c:pt idx="78">
                  <c:v>239089</c:v>
                </c:pt>
                <c:pt idx="79">
                  <c:v>202663</c:v>
                </c:pt>
                <c:pt idx="80">
                  <c:v>218991</c:v>
                </c:pt>
                <c:pt idx="81">
                  <c:v>281643</c:v>
                </c:pt>
                <c:pt idx="82">
                  <c:v>297186</c:v>
                </c:pt>
                <c:pt idx="83">
                  <c:v>269628</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85</c:f>
              <c:numCache>
                <c:formatCode>yyyy\-mm\-dd</c:formatCode>
                <c:ptCount val="84"/>
                <c:pt idx="0">
                  <c:v>44934</c:v>
                </c:pt>
                <c:pt idx="1">
                  <c:v>44941</c:v>
                </c:pt>
                <c:pt idx="2">
                  <c:v>44948</c:v>
                </c:pt>
                <c:pt idx="3">
                  <c:v>44955</c:v>
                </c:pt>
                <c:pt idx="4">
                  <c:v>44997</c:v>
                </c:pt>
                <c:pt idx="5">
                  <c:v>45004</c:v>
                </c:pt>
                <c:pt idx="6">
                  <c:v>45011</c:v>
                </c:pt>
                <c:pt idx="7">
                  <c:v>45018</c:v>
                </c:pt>
                <c:pt idx="8">
                  <c:v>45025</c:v>
                </c:pt>
                <c:pt idx="9">
                  <c:v>45032</c:v>
                </c:pt>
                <c:pt idx="10">
                  <c:v>45039</c:v>
                </c:pt>
                <c:pt idx="11">
                  <c:v>45046</c:v>
                </c:pt>
                <c:pt idx="12">
                  <c:v>45067</c:v>
                </c:pt>
                <c:pt idx="13">
                  <c:v>45074</c:v>
                </c:pt>
                <c:pt idx="14">
                  <c:v>45081</c:v>
                </c:pt>
                <c:pt idx="15">
                  <c:v>45088</c:v>
                </c:pt>
                <c:pt idx="16">
                  <c:v>45095</c:v>
                </c:pt>
                <c:pt idx="17">
                  <c:v>45102</c:v>
                </c:pt>
                <c:pt idx="18">
                  <c:v>45109</c:v>
                </c:pt>
                <c:pt idx="19">
                  <c:v>45116</c:v>
                </c:pt>
                <c:pt idx="20">
                  <c:v>45123</c:v>
                </c:pt>
                <c:pt idx="21">
                  <c:v>45165</c:v>
                </c:pt>
                <c:pt idx="22">
                  <c:v>45172</c:v>
                </c:pt>
                <c:pt idx="23">
                  <c:v>45179</c:v>
                </c:pt>
                <c:pt idx="24">
                  <c:v>45186</c:v>
                </c:pt>
                <c:pt idx="25">
                  <c:v>45221</c:v>
                </c:pt>
                <c:pt idx="26">
                  <c:v>45228</c:v>
                </c:pt>
                <c:pt idx="27">
                  <c:v>45235</c:v>
                </c:pt>
                <c:pt idx="28">
                  <c:v>45242</c:v>
                </c:pt>
                <c:pt idx="29">
                  <c:v>45249</c:v>
                </c:pt>
                <c:pt idx="30">
                  <c:v>45256</c:v>
                </c:pt>
                <c:pt idx="31">
                  <c:v>45263</c:v>
                </c:pt>
                <c:pt idx="32">
                  <c:v>45270</c:v>
                </c:pt>
                <c:pt idx="33">
                  <c:v>45277</c:v>
                </c:pt>
                <c:pt idx="34">
                  <c:v>45284</c:v>
                </c:pt>
                <c:pt idx="35">
                  <c:v>45291</c:v>
                </c:pt>
                <c:pt idx="36">
                  <c:v>45298</c:v>
                </c:pt>
                <c:pt idx="37">
                  <c:v>45305</c:v>
                </c:pt>
                <c:pt idx="38">
                  <c:v>45312</c:v>
                </c:pt>
                <c:pt idx="39">
                  <c:v>45319</c:v>
                </c:pt>
                <c:pt idx="40">
                  <c:v>45354</c:v>
                </c:pt>
                <c:pt idx="41">
                  <c:v>45361</c:v>
                </c:pt>
                <c:pt idx="42">
                  <c:v>45368</c:v>
                </c:pt>
                <c:pt idx="43">
                  <c:v>45375</c:v>
                </c:pt>
                <c:pt idx="44">
                  <c:v>45389</c:v>
                </c:pt>
                <c:pt idx="45">
                  <c:v>45396</c:v>
                </c:pt>
                <c:pt idx="46">
                  <c:v>45403</c:v>
                </c:pt>
                <c:pt idx="47">
                  <c:v>45410</c:v>
                </c:pt>
                <c:pt idx="48">
                  <c:v>45417</c:v>
                </c:pt>
                <c:pt idx="49">
                  <c:v>45424</c:v>
                </c:pt>
                <c:pt idx="50">
                  <c:v>45431</c:v>
                </c:pt>
                <c:pt idx="51">
                  <c:v>45438</c:v>
                </c:pt>
                <c:pt idx="52">
                  <c:v>45445</c:v>
                </c:pt>
                <c:pt idx="53">
                  <c:v>45452</c:v>
                </c:pt>
                <c:pt idx="54">
                  <c:v>45459</c:v>
                </c:pt>
                <c:pt idx="55">
                  <c:v>45466</c:v>
                </c:pt>
                <c:pt idx="56">
                  <c:v>45473</c:v>
                </c:pt>
                <c:pt idx="57">
                  <c:v>45480</c:v>
                </c:pt>
                <c:pt idx="58">
                  <c:v>45487</c:v>
                </c:pt>
                <c:pt idx="59">
                  <c:v>45508</c:v>
                </c:pt>
                <c:pt idx="60">
                  <c:v>45515</c:v>
                </c:pt>
                <c:pt idx="61">
                  <c:v>45522</c:v>
                </c:pt>
                <c:pt idx="62">
                  <c:v>45529</c:v>
                </c:pt>
                <c:pt idx="63">
                  <c:v>45536</c:v>
                </c:pt>
                <c:pt idx="64">
                  <c:v>45543</c:v>
                </c:pt>
                <c:pt idx="65">
                  <c:v>45550</c:v>
                </c:pt>
                <c:pt idx="66">
                  <c:v>45557</c:v>
                </c:pt>
                <c:pt idx="67">
                  <c:v>45564</c:v>
                </c:pt>
                <c:pt idx="68">
                  <c:v>45578</c:v>
                </c:pt>
                <c:pt idx="69">
                  <c:v>45585</c:v>
                </c:pt>
                <c:pt idx="70">
                  <c:v>45592</c:v>
                </c:pt>
                <c:pt idx="71">
                  <c:v>45599</c:v>
                </c:pt>
                <c:pt idx="72">
                  <c:v>45606</c:v>
                </c:pt>
                <c:pt idx="73">
                  <c:v>45613</c:v>
                </c:pt>
                <c:pt idx="74">
                  <c:v>45620</c:v>
                </c:pt>
                <c:pt idx="75">
                  <c:v>45627</c:v>
                </c:pt>
                <c:pt idx="76">
                  <c:v>45634</c:v>
                </c:pt>
                <c:pt idx="77">
                  <c:v>45641</c:v>
                </c:pt>
                <c:pt idx="78">
                  <c:v>45648</c:v>
                </c:pt>
                <c:pt idx="79">
                  <c:v>45655</c:v>
                </c:pt>
                <c:pt idx="80">
                  <c:v>45662</c:v>
                </c:pt>
                <c:pt idx="81">
                  <c:v>45669</c:v>
                </c:pt>
                <c:pt idx="82">
                  <c:v>45676</c:v>
                </c:pt>
                <c:pt idx="83">
                  <c:v>45683</c:v>
                </c:pt>
              </c:numCache>
            </c:numRef>
          </c:cat>
          <c:val>
            <c:numRef>
              <c:f>Sheet1!$E$2:$E$85</c:f>
              <c:numCache>
                <c:formatCode>General</c:formatCode>
                <c:ptCount val="84"/>
                <c:pt idx="0">
                  <c:v>273061</c:v>
                </c:pt>
                <c:pt idx="1">
                  <c:v>272544</c:v>
                </c:pt>
                <c:pt idx="2">
                  <c:v>271452</c:v>
                </c:pt>
                <c:pt idx="3">
                  <c:v>267374</c:v>
                </c:pt>
                <c:pt idx="4">
                  <c:v>276001</c:v>
                </c:pt>
                <c:pt idx="5">
                  <c:v>277482</c:v>
                </c:pt>
                <c:pt idx="6">
                  <c:v>275479</c:v>
                </c:pt>
                <c:pt idx="7">
                  <c:v>273403</c:v>
                </c:pt>
                <c:pt idx="8">
                  <c:v>293781</c:v>
                </c:pt>
                <c:pt idx="9">
                  <c:v>286800</c:v>
                </c:pt>
                <c:pt idx="10">
                  <c:v>281856</c:v>
                </c:pt>
                <c:pt idx="11">
                  <c:v>279698</c:v>
                </c:pt>
                <c:pt idx="12">
                  <c:v>280268</c:v>
                </c:pt>
                <c:pt idx="13">
                  <c:v>278355</c:v>
                </c:pt>
                <c:pt idx="14">
                  <c:v>272674</c:v>
                </c:pt>
                <c:pt idx="15">
                  <c:v>267175</c:v>
                </c:pt>
                <c:pt idx="16">
                  <c:v>272538</c:v>
                </c:pt>
                <c:pt idx="17">
                  <c:v>269708</c:v>
                </c:pt>
                <c:pt idx="18">
                  <c:v>279142</c:v>
                </c:pt>
                <c:pt idx="19">
                  <c:v>275873</c:v>
                </c:pt>
                <c:pt idx="20">
                  <c:v>278644</c:v>
                </c:pt>
                <c:pt idx="21">
                  <c:v>280802</c:v>
                </c:pt>
                <c:pt idx="22">
                  <c:v>280992</c:v>
                </c:pt>
                <c:pt idx="23">
                  <c:v>279993</c:v>
                </c:pt>
                <c:pt idx="24">
                  <c:v>280225</c:v>
                </c:pt>
                <c:pt idx="25">
                  <c:v>284582</c:v>
                </c:pt>
                <c:pt idx="26">
                  <c:v>288263</c:v>
                </c:pt>
                <c:pt idx="27">
                  <c:v>289689</c:v>
                </c:pt>
                <c:pt idx="28">
                  <c:v>286103</c:v>
                </c:pt>
                <c:pt idx="29">
                  <c:v>286457</c:v>
                </c:pt>
                <c:pt idx="30">
                  <c:v>283815</c:v>
                </c:pt>
                <c:pt idx="31">
                  <c:v>287810</c:v>
                </c:pt>
                <c:pt idx="32">
                  <c:v>282205</c:v>
                </c:pt>
                <c:pt idx="33">
                  <c:v>282066</c:v>
                </c:pt>
                <c:pt idx="34">
                  <c:v>282917</c:v>
                </c:pt>
                <c:pt idx="35">
                  <c:v>276095</c:v>
                </c:pt>
                <c:pt idx="36">
                  <c:v>283033</c:v>
                </c:pt>
                <c:pt idx="37">
                  <c:v>289568</c:v>
                </c:pt>
                <c:pt idx="38">
                  <c:v>277803</c:v>
                </c:pt>
                <c:pt idx="39">
                  <c:v>255136</c:v>
                </c:pt>
                <c:pt idx="40">
                  <c:v>276367</c:v>
                </c:pt>
                <c:pt idx="41">
                  <c:v>271915</c:v>
                </c:pt>
                <c:pt idx="42">
                  <c:v>269094</c:v>
                </c:pt>
                <c:pt idx="43">
                  <c:v>271550</c:v>
                </c:pt>
                <c:pt idx="44">
                  <c:v>264076</c:v>
                </c:pt>
                <c:pt idx="45">
                  <c:v>255558</c:v>
                </c:pt>
                <c:pt idx="46">
                  <c:v>247035</c:v>
                </c:pt>
                <c:pt idx="47">
                  <c:v>239011</c:v>
                </c:pt>
                <c:pt idx="48">
                  <c:v>231578</c:v>
                </c:pt>
                <c:pt idx="49">
                  <c:v>227447</c:v>
                </c:pt>
                <c:pt idx="50">
                  <c:v>219789</c:v>
                </c:pt>
                <c:pt idx="51">
                  <c:v>214212</c:v>
                </c:pt>
                <c:pt idx="52">
                  <c:v>211206</c:v>
                </c:pt>
                <c:pt idx="53">
                  <c:v>205213</c:v>
                </c:pt>
                <c:pt idx="54">
                  <c:v>199412</c:v>
                </c:pt>
                <c:pt idx="55">
                  <c:v>196266</c:v>
                </c:pt>
                <c:pt idx="56">
                  <c:v>182240</c:v>
                </c:pt>
                <c:pt idx="57">
                  <c:v>183931</c:v>
                </c:pt>
                <c:pt idx="58">
                  <c:v>185071</c:v>
                </c:pt>
                <c:pt idx="59">
                  <c:v>187572</c:v>
                </c:pt>
                <c:pt idx="60">
                  <c:v>191872</c:v>
                </c:pt>
                <c:pt idx="61">
                  <c:v>191294</c:v>
                </c:pt>
                <c:pt idx="62">
                  <c:v>192601</c:v>
                </c:pt>
                <c:pt idx="63">
                  <c:v>190990</c:v>
                </c:pt>
                <c:pt idx="64">
                  <c:v>191698</c:v>
                </c:pt>
                <c:pt idx="65">
                  <c:v>197462</c:v>
                </c:pt>
                <c:pt idx="66">
                  <c:v>197582</c:v>
                </c:pt>
                <c:pt idx="67">
                  <c:v>196351</c:v>
                </c:pt>
                <c:pt idx="68">
                  <c:v>201608</c:v>
                </c:pt>
                <c:pt idx="69">
                  <c:v>202387</c:v>
                </c:pt>
                <c:pt idx="70">
                  <c:v>205115</c:v>
                </c:pt>
                <c:pt idx="71">
                  <c:v>210108</c:v>
                </c:pt>
                <c:pt idx="72">
                  <c:v>191349</c:v>
                </c:pt>
                <c:pt idx="73">
                  <c:v>192860</c:v>
                </c:pt>
                <c:pt idx="74">
                  <c:v>204034</c:v>
                </c:pt>
                <c:pt idx="75">
                  <c:v>212856</c:v>
                </c:pt>
                <c:pt idx="76">
                  <c:v>204172</c:v>
                </c:pt>
                <c:pt idx="77">
                  <c:v>203796</c:v>
                </c:pt>
                <c:pt idx="78">
                  <c:v>205121</c:v>
                </c:pt>
                <c:pt idx="79">
                  <c:v>204556</c:v>
                </c:pt>
                <c:pt idx="80">
                  <c:v>201373</c:v>
                </c:pt>
                <c:pt idx="81">
                  <c:v>201270</c:v>
                </c:pt>
                <c:pt idx="82">
                  <c:v>204364</c:v>
                </c:pt>
                <c:pt idx="83">
                  <c:v>18931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85</c:f>
              <c:numCache>
                <c:formatCode>yyyy\-mm\-dd</c:formatCode>
                <c:ptCount val="84"/>
                <c:pt idx="0">
                  <c:v>44934</c:v>
                </c:pt>
                <c:pt idx="1">
                  <c:v>44941</c:v>
                </c:pt>
                <c:pt idx="2">
                  <c:v>44948</c:v>
                </c:pt>
                <c:pt idx="3">
                  <c:v>44955</c:v>
                </c:pt>
                <c:pt idx="4">
                  <c:v>44997</c:v>
                </c:pt>
                <c:pt idx="5">
                  <c:v>45004</c:v>
                </c:pt>
                <c:pt idx="6">
                  <c:v>45011</c:v>
                </c:pt>
                <c:pt idx="7">
                  <c:v>45018</c:v>
                </c:pt>
                <c:pt idx="8">
                  <c:v>45025</c:v>
                </c:pt>
                <c:pt idx="9">
                  <c:v>45032</c:v>
                </c:pt>
                <c:pt idx="10">
                  <c:v>45039</c:v>
                </c:pt>
                <c:pt idx="11">
                  <c:v>45046</c:v>
                </c:pt>
                <c:pt idx="12">
                  <c:v>45067</c:v>
                </c:pt>
                <c:pt idx="13">
                  <c:v>45074</c:v>
                </c:pt>
                <c:pt idx="14">
                  <c:v>45081</c:v>
                </c:pt>
                <c:pt idx="15">
                  <c:v>45088</c:v>
                </c:pt>
                <c:pt idx="16">
                  <c:v>45095</c:v>
                </c:pt>
                <c:pt idx="17">
                  <c:v>45102</c:v>
                </c:pt>
                <c:pt idx="18">
                  <c:v>45109</c:v>
                </c:pt>
                <c:pt idx="19">
                  <c:v>45116</c:v>
                </c:pt>
                <c:pt idx="20">
                  <c:v>45123</c:v>
                </c:pt>
                <c:pt idx="21">
                  <c:v>45165</c:v>
                </c:pt>
                <c:pt idx="22">
                  <c:v>45172</c:v>
                </c:pt>
                <c:pt idx="23">
                  <c:v>45179</c:v>
                </c:pt>
                <c:pt idx="24">
                  <c:v>45186</c:v>
                </c:pt>
                <c:pt idx="25">
                  <c:v>45221</c:v>
                </c:pt>
                <c:pt idx="26">
                  <c:v>45228</c:v>
                </c:pt>
                <c:pt idx="27">
                  <c:v>45235</c:v>
                </c:pt>
                <c:pt idx="28">
                  <c:v>45242</c:v>
                </c:pt>
                <c:pt idx="29">
                  <c:v>45249</c:v>
                </c:pt>
                <c:pt idx="30">
                  <c:v>45256</c:v>
                </c:pt>
                <c:pt idx="31">
                  <c:v>45263</c:v>
                </c:pt>
                <c:pt idx="32">
                  <c:v>45270</c:v>
                </c:pt>
                <c:pt idx="33">
                  <c:v>45277</c:v>
                </c:pt>
                <c:pt idx="34">
                  <c:v>45284</c:v>
                </c:pt>
                <c:pt idx="35">
                  <c:v>45291</c:v>
                </c:pt>
                <c:pt idx="36">
                  <c:v>45298</c:v>
                </c:pt>
                <c:pt idx="37">
                  <c:v>45305</c:v>
                </c:pt>
                <c:pt idx="38">
                  <c:v>45312</c:v>
                </c:pt>
                <c:pt idx="39">
                  <c:v>45319</c:v>
                </c:pt>
                <c:pt idx="40">
                  <c:v>45354</c:v>
                </c:pt>
                <c:pt idx="41">
                  <c:v>45361</c:v>
                </c:pt>
                <c:pt idx="42">
                  <c:v>45368</c:v>
                </c:pt>
                <c:pt idx="43">
                  <c:v>45375</c:v>
                </c:pt>
                <c:pt idx="44">
                  <c:v>45389</c:v>
                </c:pt>
                <c:pt idx="45">
                  <c:v>45396</c:v>
                </c:pt>
                <c:pt idx="46">
                  <c:v>45403</c:v>
                </c:pt>
                <c:pt idx="47">
                  <c:v>45410</c:v>
                </c:pt>
                <c:pt idx="48">
                  <c:v>45417</c:v>
                </c:pt>
                <c:pt idx="49">
                  <c:v>45424</c:v>
                </c:pt>
                <c:pt idx="50">
                  <c:v>45431</c:v>
                </c:pt>
                <c:pt idx="51">
                  <c:v>45438</c:v>
                </c:pt>
                <c:pt idx="52">
                  <c:v>45445</c:v>
                </c:pt>
                <c:pt idx="53">
                  <c:v>45452</c:v>
                </c:pt>
                <c:pt idx="54">
                  <c:v>45459</c:v>
                </c:pt>
                <c:pt idx="55">
                  <c:v>45466</c:v>
                </c:pt>
                <c:pt idx="56">
                  <c:v>45473</c:v>
                </c:pt>
                <c:pt idx="57">
                  <c:v>45480</c:v>
                </c:pt>
                <c:pt idx="58">
                  <c:v>45487</c:v>
                </c:pt>
                <c:pt idx="59">
                  <c:v>45508</c:v>
                </c:pt>
                <c:pt idx="60">
                  <c:v>45515</c:v>
                </c:pt>
                <c:pt idx="61">
                  <c:v>45522</c:v>
                </c:pt>
                <c:pt idx="62">
                  <c:v>45529</c:v>
                </c:pt>
                <c:pt idx="63">
                  <c:v>45536</c:v>
                </c:pt>
                <c:pt idx="64">
                  <c:v>45543</c:v>
                </c:pt>
                <c:pt idx="65">
                  <c:v>45550</c:v>
                </c:pt>
                <c:pt idx="66">
                  <c:v>45557</c:v>
                </c:pt>
                <c:pt idx="67">
                  <c:v>45564</c:v>
                </c:pt>
                <c:pt idx="68">
                  <c:v>45578</c:v>
                </c:pt>
                <c:pt idx="69">
                  <c:v>45585</c:v>
                </c:pt>
                <c:pt idx="70">
                  <c:v>45592</c:v>
                </c:pt>
                <c:pt idx="71">
                  <c:v>45599</c:v>
                </c:pt>
                <c:pt idx="72">
                  <c:v>45606</c:v>
                </c:pt>
                <c:pt idx="73">
                  <c:v>45613</c:v>
                </c:pt>
                <c:pt idx="74">
                  <c:v>45620</c:v>
                </c:pt>
                <c:pt idx="75">
                  <c:v>45627</c:v>
                </c:pt>
                <c:pt idx="76">
                  <c:v>45634</c:v>
                </c:pt>
                <c:pt idx="77">
                  <c:v>45641</c:v>
                </c:pt>
                <c:pt idx="78">
                  <c:v>45648</c:v>
                </c:pt>
                <c:pt idx="79">
                  <c:v>45655</c:v>
                </c:pt>
                <c:pt idx="80">
                  <c:v>45662</c:v>
                </c:pt>
                <c:pt idx="81">
                  <c:v>45669</c:v>
                </c:pt>
                <c:pt idx="82">
                  <c:v>45676</c:v>
                </c:pt>
                <c:pt idx="83">
                  <c:v>45683</c:v>
                </c:pt>
              </c:numCache>
            </c:numRef>
          </c:cat>
          <c:val>
            <c:numRef>
              <c:f>Sheet1!$F$2:$F$85</c:f>
              <c:numCache>
                <c:formatCode>General</c:formatCode>
                <c:ptCount val="84"/>
                <c:pt idx="0">
                  <c:v>0.34</c:v>
                </c:pt>
                <c:pt idx="1">
                  <c:v>0.14000000000000001</c:v>
                </c:pt>
                <c:pt idx="2">
                  <c:v>0.12</c:v>
                </c:pt>
                <c:pt idx="3">
                  <c:v>0.3</c:v>
                </c:pt>
                <c:pt idx="4">
                  <c:v>0.28999999999999998</c:v>
                </c:pt>
                <c:pt idx="5">
                  <c:v>0.41</c:v>
                </c:pt>
                <c:pt idx="6">
                  <c:v>0.35</c:v>
                </c:pt>
                <c:pt idx="7">
                  <c:v>0.35</c:v>
                </c:pt>
                <c:pt idx="8">
                  <c:v>0.28000000000000003</c:v>
                </c:pt>
                <c:pt idx="9">
                  <c:v>0.34</c:v>
                </c:pt>
                <c:pt idx="10">
                  <c:v>0.34</c:v>
                </c:pt>
                <c:pt idx="11">
                  <c:v>0.01</c:v>
                </c:pt>
                <c:pt idx="12">
                  <c:v>0.3</c:v>
                </c:pt>
                <c:pt idx="13">
                  <c:v>0.33</c:v>
                </c:pt>
                <c:pt idx="14">
                  <c:v>0.93</c:v>
                </c:pt>
                <c:pt idx="15">
                  <c:v>0.97</c:v>
                </c:pt>
                <c:pt idx="16">
                  <c:v>0.96</c:v>
                </c:pt>
                <c:pt idx="17">
                  <c:v>0.98</c:v>
                </c:pt>
                <c:pt idx="18">
                  <c:v>0.9</c:v>
                </c:pt>
                <c:pt idx="19">
                  <c:v>0.27</c:v>
                </c:pt>
                <c:pt idx="20">
                  <c:v>0.23</c:v>
                </c:pt>
                <c:pt idx="21">
                  <c:v>0.32</c:v>
                </c:pt>
                <c:pt idx="22">
                  <c:v>0.24</c:v>
                </c:pt>
                <c:pt idx="23">
                  <c:v>0.32</c:v>
                </c:pt>
                <c:pt idx="24">
                  <c:v>0.23</c:v>
                </c:pt>
                <c:pt idx="25">
                  <c:v>0.3</c:v>
                </c:pt>
                <c:pt idx="26">
                  <c:v>0.36</c:v>
                </c:pt>
                <c:pt idx="27">
                  <c:v>0.25</c:v>
                </c:pt>
                <c:pt idx="28">
                  <c:v>1</c:v>
                </c:pt>
                <c:pt idx="29">
                  <c:v>1</c:v>
                </c:pt>
                <c:pt idx="30">
                  <c:v>1</c:v>
                </c:pt>
                <c:pt idx="31">
                  <c:v>0.34</c:v>
                </c:pt>
                <c:pt idx="32">
                  <c:v>0.25</c:v>
                </c:pt>
                <c:pt idx="33">
                  <c:v>0.24</c:v>
                </c:pt>
                <c:pt idx="34">
                  <c:v>0.32</c:v>
                </c:pt>
                <c:pt idx="35">
                  <c:v>1</c:v>
                </c:pt>
                <c:pt idx="36">
                  <c:v>1</c:v>
                </c:pt>
                <c:pt idx="37">
                  <c:v>1</c:v>
                </c:pt>
                <c:pt idx="38">
                  <c:v>1</c:v>
                </c:pt>
                <c:pt idx="39">
                  <c:v>0.97</c:v>
                </c:pt>
                <c:pt idx="40">
                  <c:v>0.26</c:v>
                </c:pt>
                <c:pt idx="41">
                  <c:v>0.31</c:v>
                </c:pt>
                <c:pt idx="42">
                  <c:v>0.23</c:v>
                </c:pt>
                <c:pt idx="43">
                  <c:v>0.1</c:v>
                </c:pt>
                <c:pt idx="44">
                  <c:v>0.34</c:v>
                </c:pt>
                <c:pt idx="45">
                  <c:v>0.62</c:v>
                </c:pt>
                <c:pt idx="46">
                  <c:v>0.59</c:v>
                </c:pt>
                <c:pt idx="47">
                  <c:v>0.4</c:v>
                </c:pt>
                <c:pt idx="48">
                  <c:v>0.24</c:v>
                </c:pt>
                <c:pt idx="49">
                  <c:v>0.18</c:v>
                </c:pt>
                <c:pt idx="50">
                  <c:v>0.32</c:v>
                </c:pt>
                <c:pt idx="51">
                  <c:v>0.26</c:v>
                </c:pt>
                <c:pt idx="52">
                  <c:v>0.93</c:v>
                </c:pt>
                <c:pt idx="53">
                  <c:v>0.99</c:v>
                </c:pt>
                <c:pt idx="54">
                  <c:v>0.99</c:v>
                </c:pt>
                <c:pt idx="55">
                  <c:v>0.99</c:v>
                </c:pt>
                <c:pt idx="56">
                  <c:v>0.95</c:v>
                </c:pt>
                <c:pt idx="57">
                  <c:v>0.93</c:v>
                </c:pt>
                <c:pt idx="58">
                  <c:v>0.14000000000000001</c:v>
                </c:pt>
                <c:pt idx="59">
                  <c:v>0.26</c:v>
                </c:pt>
                <c:pt idx="60">
                  <c:v>0.28000000000000003</c:v>
                </c:pt>
                <c:pt idx="61">
                  <c:v>0.34</c:v>
                </c:pt>
                <c:pt idx="62">
                  <c:v>0.28000000000000003</c:v>
                </c:pt>
                <c:pt idx="63">
                  <c:v>7.0000000000000007E-2</c:v>
                </c:pt>
                <c:pt idx="64">
                  <c:v>0.08</c:v>
                </c:pt>
                <c:pt idx="65">
                  <c:v>7.0000000000000007E-2</c:v>
                </c:pt>
                <c:pt idx="66">
                  <c:v>0.08</c:v>
                </c:pt>
                <c:pt idx="67">
                  <c:v>0.08</c:v>
                </c:pt>
                <c:pt idx="68">
                  <c:v>0</c:v>
                </c:pt>
                <c:pt idx="69">
                  <c:v>0.26</c:v>
                </c:pt>
                <c:pt idx="70">
                  <c:v>0.28999999999999998</c:v>
                </c:pt>
                <c:pt idx="71">
                  <c:v>1</c:v>
                </c:pt>
                <c:pt idx="72">
                  <c:v>1</c:v>
                </c:pt>
                <c:pt idx="73">
                  <c:v>1</c:v>
                </c:pt>
                <c:pt idx="74">
                  <c:v>1</c:v>
                </c:pt>
                <c:pt idx="75">
                  <c:v>1</c:v>
                </c:pt>
                <c:pt idx="76">
                  <c:v>0.87</c:v>
                </c:pt>
                <c:pt idx="77">
                  <c:v>0.26</c:v>
                </c:pt>
                <c:pt idx="78">
                  <c:v>0.34</c:v>
                </c:pt>
                <c:pt idx="79">
                  <c:v>0.36</c:v>
                </c:pt>
                <c:pt idx="80">
                  <c:v>0.93</c:v>
                </c:pt>
                <c:pt idx="81">
                  <c:v>1</c:v>
                </c:pt>
                <c:pt idx="82">
                  <c:v>1</c:v>
                </c:pt>
                <c:pt idx="83">
                  <c:v>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73</c:f>
              <c:numCache>
                <c:formatCode>yyyy\-mm\-dd</c:formatCode>
                <c:ptCount val="72"/>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51</c:v>
                </c:pt>
                <c:pt idx="27">
                  <c:v>45158</c:v>
                </c:pt>
                <c:pt idx="28">
                  <c:v>45165</c:v>
                </c:pt>
                <c:pt idx="29">
                  <c:v>45172</c:v>
                </c:pt>
                <c:pt idx="30">
                  <c:v>45179</c:v>
                </c:pt>
                <c:pt idx="31">
                  <c:v>45186</c:v>
                </c:pt>
                <c:pt idx="32">
                  <c:v>45193</c:v>
                </c:pt>
                <c:pt idx="33">
                  <c:v>45200</c:v>
                </c:pt>
                <c:pt idx="34">
                  <c:v>45207</c:v>
                </c:pt>
                <c:pt idx="35">
                  <c:v>45214</c:v>
                </c:pt>
                <c:pt idx="36">
                  <c:v>45221</c:v>
                </c:pt>
                <c:pt idx="37">
                  <c:v>45228</c:v>
                </c:pt>
                <c:pt idx="38">
                  <c:v>45235</c:v>
                </c:pt>
                <c:pt idx="39">
                  <c:v>45242</c:v>
                </c:pt>
                <c:pt idx="40">
                  <c:v>45249</c:v>
                </c:pt>
                <c:pt idx="41">
                  <c:v>45256</c:v>
                </c:pt>
                <c:pt idx="42">
                  <c:v>45263</c:v>
                </c:pt>
                <c:pt idx="43">
                  <c:v>45270</c:v>
                </c:pt>
                <c:pt idx="44">
                  <c:v>45277</c:v>
                </c:pt>
                <c:pt idx="45">
                  <c:v>45284</c:v>
                </c:pt>
                <c:pt idx="46">
                  <c:v>45291</c:v>
                </c:pt>
                <c:pt idx="47">
                  <c:v>45298</c:v>
                </c:pt>
                <c:pt idx="48">
                  <c:v>45305</c:v>
                </c:pt>
                <c:pt idx="49">
                  <c:v>45312</c:v>
                </c:pt>
                <c:pt idx="50">
                  <c:v>45319</c:v>
                </c:pt>
                <c:pt idx="51">
                  <c:v>45326</c:v>
                </c:pt>
                <c:pt idx="52">
                  <c:v>45340</c:v>
                </c:pt>
                <c:pt idx="53">
                  <c:v>45347</c:v>
                </c:pt>
                <c:pt idx="54">
                  <c:v>45354</c:v>
                </c:pt>
                <c:pt idx="55">
                  <c:v>45368</c:v>
                </c:pt>
                <c:pt idx="56">
                  <c:v>45375</c:v>
                </c:pt>
                <c:pt idx="57">
                  <c:v>45522</c:v>
                </c:pt>
                <c:pt idx="58">
                  <c:v>45578</c:v>
                </c:pt>
                <c:pt idx="59">
                  <c:v>45585</c:v>
                </c:pt>
                <c:pt idx="60">
                  <c:v>45592</c:v>
                </c:pt>
                <c:pt idx="61">
                  <c:v>45599</c:v>
                </c:pt>
                <c:pt idx="62">
                  <c:v>45606</c:v>
                </c:pt>
                <c:pt idx="63">
                  <c:v>45613</c:v>
                </c:pt>
                <c:pt idx="64">
                  <c:v>45620</c:v>
                </c:pt>
                <c:pt idx="65">
                  <c:v>45627</c:v>
                </c:pt>
                <c:pt idx="66">
                  <c:v>45634</c:v>
                </c:pt>
                <c:pt idx="67">
                  <c:v>45641</c:v>
                </c:pt>
                <c:pt idx="68">
                  <c:v>45648</c:v>
                </c:pt>
                <c:pt idx="69">
                  <c:v>45655</c:v>
                </c:pt>
                <c:pt idx="70">
                  <c:v>45662</c:v>
                </c:pt>
                <c:pt idx="71">
                  <c:v>45669</c:v>
                </c:pt>
              </c:numCache>
            </c:numRef>
          </c:cat>
          <c:val>
            <c:numRef>
              <c:f>Sheet1!$B$2:$B$73</c:f>
              <c:numCache>
                <c:formatCode>General</c:formatCode>
                <c:ptCount val="72"/>
                <c:pt idx="0">
                  <c:v>42628</c:v>
                </c:pt>
                <c:pt idx="1">
                  <c:v>32802</c:v>
                </c:pt>
                <c:pt idx="2">
                  <c:v>27256</c:v>
                </c:pt>
                <c:pt idx="3">
                  <c:v>20787</c:v>
                </c:pt>
                <c:pt idx="4">
                  <c:v>20825</c:v>
                </c:pt>
                <c:pt idx="5">
                  <c:v>26522</c:v>
                </c:pt>
                <c:pt idx="6">
                  <c:v>30015</c:v>
                </c:pt>
                <c:pt idx="7">
                  <c:v>67174</c:v>
                </c:pt>
                <c:pt idx="8">
                  <c:v>55893</c:v>
                </c:pt>
                <c:pt idx="9">
                  <c:v>55685</c:v>
                </c:pt>
                <c:pt idx="10">
                  <c:v>54379</c:v>
                </c:pt>
                <c:pt idx="11">
                  <c:v>73708</c:v>
                </c:pt>
                <c:pt idx="12">
                  <c:v>1975</c:v>
                </c:pt>
                <c:pt idx="13">
                  <c:v>38234</c:v>
                </c:pt>
                <c:pt idx="14">
                  <c:v>59833</c:v>
                </c:pt>
                <c:pt idx="15">
                  <c:v>61077</c:v>
                </c:pt>
                <c:pt idx="16">
                  <c:v>9754</c:v>
                </c:pt>
                <c:pt idx="17">
                  <c:v>2816</c:v>
                </c:pt>
                <c:pt idx="18">
                  <c:v>2775</c:v>
                </c:pt>
                <c:pt idx="19">
                  <c:v>1705</c:v>
                </c:pt>
                <c:pt idx="20">
                  <c:v>1369</c:v>
                </c:pt>
                <c:pt idx="21">
                  <c:v>2180</c:v>
                </c:pt>
                <c:pt idx="22">
                  <c:v>2125</c:v>
                </c:pt>
                <c:pt idx="23">
                  <c:v>803</c:v>
                </c:pt>
                <c:pt idx="24">
                  <c:v>2754</c:v>
                </c:pt>
                <c:pt idx="25">
                  <c:v>3679</c:v>
                </c:pt>
                <c:pt idx="26">
                  <c:v>159967</c:v>
                </c:pt>
                <c:pt idx="27">
                  <c:v>383878</c:v>
                </c:pt>
                <c:pt idx="28">
                  <c:v>385926</c:v>
                </c:pt>
                <c:pt idx="29">
                  <c:v>387201</c:v>
                </c:pt>
                <c:pt idx="30">
                  <c:v>387973</c:v>
                </c:pt>
                <c:pt idx="31">
                  <c:v>369603</c:v>
                </c:pt>
                <c:pt idx="32">
                  <c:v>362386</c:v>
                </c:pt>
                <c:pt idx="33">
                  <c:v>354421</c:v>
                </c:pt>
                <c:pt idx="34">
                  <c:v>376092</c:v>
                </c:pt>
                <c:pt idx="35">
                  <c:v>387460</c:v>
                </c:pt>
                <c:pt idx="36">
                  <c:v>379727</c:v>
                </c:pt>
                <c:pt idx="37">
                  <c:v>360804</c:v>
                </c:pt>
                <c:pt idx="38">
                  <c:v>36320</c:v>
                </c:pt>
                <c:pt idx="39">
                  <c:v>43639</c:v>
                </c:pt>
                <c:pt idx="40">
                  <c:v>55831</c:v>
                </c:pt>
                <c:pt idx="41">
                  <c:v>83752</c:v>
                </c:pt>
                <c:pt idx="42">
                  <c:v>101123</c:v>
                </c:pt>
                <c:pt idx="43">
                  <c:v>170843</c:v>
                </c:pt>
                <c:pt idx="44">
                  <c:v>161549</c:v>
                </c:pt>
                <c:pt idx="45">
                  <c:v>277060</c:v>
                </c:pt>
                <c:pt idx="46">
                  <c:v>318873</c:v>
                </c:pt>
                <c:pt idx="47">
                  <c:v>7941</c:v>
                </c:pt>
                <c:pt idx="48">
                  <c:v>13646</c:v>
                </c:pt>
                <c:pt idx="49">
                  <c:v>5922</c:v>
                </c:pt>
                <c:pt idx="50">
                  <c:v>2623</c:v>
                </c:pt>
                <c:pt idx="51">
                  <c:v>1878</c:v>
                </c:pt>
                <c:pt idx="52">
                  <c:v>37369</c:v>
                </c:pt>
                <c:pt idx="53">
                  <c:v>113790</c:v>
                </c:pt>
                <c:pt idx="54">
                  <c:v>41119</c:v>
                </c:pt>
                <c:pt idx="55">
                  <c:v>1091</c:v>
                </c:pt>
                <c:pt idx="56">
                  <c:v>114890</c:v>
                </c:pt>
                <c:pt idx="57">
                  <c:v>1969</c:v>
                </c:pt>
                <c:pt idx="58">
                  <c:v>78889</c:v>
                </c:pt>
                <c:pt idx="59">
                  <c:v>105227</c:v>
                </c:pt>
                <c:pt idx="60">
                  <c:v>73897</c:v>
                </c:pt>
                <c:pt idx="61">
                  <c:v>37830</c:v>
                </c:pt>
                <c:pt idx="62">
                  <c:v>48221</c:v>
                </c:pt>
                <c:pt idx="63">
                  <c:v>59032</c:v>
                </c:pt>
                <c:pt idx="64">
                  <c:v>68742</c:v>
                </c:pt>
                <c:pt idx="65">
                  <c:v>144667</c:v>
                </c:pt>
                <c:pt idx="66">
                  <c:v>199436</c:v>
                </c:pt>
                <c:pt idx="67">
                  <c:v>186682</c:v>
                </c:pt>
                <c:pt idx="68">
                  <c:v>200065</c:v>
                </c:pt>
                <c:pt idx="69">
                  <c:v>288027</c:v>
                </c:pt>
                <c:pt idx="70">
                  <c:v>3827</c:v>
                </c:pt>
                <c:pt idx="71">
                  <c:v>1214</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73</c:f>
              <c:numCache>
                <c:formatCode>yyyy\-mm\-dd</c:formatCode>
                <c:ptCount val="72"/>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51</c:v>
                </c:pt>
                <c:pt idx="27">
                  <c:v>45158</c:v>
                </c:pt>
                <c:pt idx="28">
                  <c:v>45165</c:v>
                </c:pt>
                <c:pt idx="29">
                  <c:v>45172</c:v>
                </c:pt>
                <c:pt idx="30">
                  <c:v>45179</c:v>
                </c:pt>
                <c:pt idx="31">
                  <c:v>45186</c:v>
                </c:pt>
                <c:pt idx="32">
                  <c:v>45193</c:v>
                </c:pt>
                <c:pt idx="33">
                  <c:v>45200</c:v>
                </c:pt>
                <c:pt idx="34">
                  <c:v>45207</c:v>
                </c:pt>
                <c:pt idx="35">
                  <c:v>45214</c:v>
                </c:pt>
                <c:pt idx="36">
                  <c:v>45221</c:v>
                </c:pt>
                <c:pt idx="37">
                  <c:v>45228</c:v>
                </c:pt>
                <c:pt idx="38">
                  <c:v>45235</c:v>
                </c:pt>
                <c:pt idx="39">
                  <c:v>45242</c:v>
                </c:pt>
                <c:pt idx="40">
                  <c:v>45249</c:v>
                </c:pt>
                <c:pt idx="41">
                  <c:v>45256</c:v>
                </c:pt>
                <c:pt idx="42">
                  <c:v>45263</c:v>
                </c:pt>
                <c:pt idx="43">
                  <c:v>45270</c:v>
                </c:pt>
                <c:pt idx="44">
                  <c:v>45277</c:v>
                </c:pt>
                <c:pt idx="45">
                  <c:v>45284</c:v>
                </c:pt>
                <c:pt idx="46">
                  <c:v>45291</c:v>
                </c:pt>
                <c:pt idx="47">
                  <c:v>45298</c:v>
                </c:pt>
                <c:pt idx="48">
                  <c:v>45305</c:v>
                </c:pt>
                <c:pt idx="49">
                  <c:v>45312</c:v>
                </c:pt>
                <c:pt idx="50">
                  <c:v>45319</c:v>
                </c:pt>
                <c:pt idx="51">
                  <c:v>45326</c:v>
                </c:pt>
                <c:pt idx="52">
                  <c:v>45340</c:v>
                </c:pt>
                <c:pt idx="53">
                  <c:v>45347</c:v>
                </c:pt>
                <c:pt idx="54">
                  <c:v>45354</c:v>
                </c:pt>
                <c:pt idx="55">
                  <c:v>45368</c:v>
                </c:pt>
                <c:pt idx="56">
                  <c:v>45375</c:v>
                </c:pt>
                <c:pt idx="57">
                  <c:v>45522</c:v>
                </c:pt>
                <c:pt idx="58">
                  <c:v>45578</c:v>
                </c:pt>
                <c:pt idx="59">
                  <c:v>45585</c:v>
                </c:pt>
                <c:pt idx="60">
                  <c:v>45592</c:v>
                </c:pt>
                <c:pt idx="61">
                  <c:v>45599</c:v>
                </c:pt>
                <c:pt idx="62">
                  <c:v>45606</c:v>
                </c:pt>
                <c:pt idx="63">
                  <c:v>45613</c:v>
                </c:pt>
                <c:pt idx="64">
                  <c:v>45620</c:v>
                </c:pt>
                <c:pt idx="65">
                  <c:v>45627</c:v>
                </c:pt>
                <c:pt idx="66">
                  <c:v>45634</c:v>
                </c:pt>
                <c:pt idx="67">
                  <c:v>45641</c:v>
                </c:pt>
                <c:pt idx="68">
                  <c:v>45648</c:v>
                </c:pt>
                <c:pt idx="69">
                  <c:v>45655</c:v>
                </c:pt>
                <c:pt idx="70">
                  <c:v>45662</c:v>
                </c:pt>
                <c:pt idx="71">
                  <c:v>45669</c:v>
                </c:pt>
              </c:numCache>
            </c:numRef>
          </c:cat>
          <c:val>
            <c:numRef>
              <c:f>Sheet1!$C$2:$C$73</c:f>
              <c:numCache>
                <c:formatCode>General</c:formatCode>
                <c:ptCount val="72"/>
                <c:pt idx="0">
                  <c:v>361339</c:v>
                </c:pt>
                <c:pt idx="1">
                  <c:v>348267</c:v>
                </c:pt>
                <c:pt idx="2">
                  <c:v>336976</c:v>
                </c:pt>
                <c:pt idx="3">
                  <c:v>320825</c:v>
                </c:pt>
                <c:pt idx="4">
                  <c:v>333488</c:v>
                </c:pt>
                <c:pt idx="5">
                  <c:v>345937</c:v>
                </c:pt>
                <c:pt idx="6">
                  <c:v>331027</c:v>
                </c:pt>
                <c:pt idx="7">
                  <c:v>335322</c:v>
                </c:pt>
                <c:pt idx="8">
                  <c:v>356179</c:v>
                </c:pt>
                <c:pt idx="9">
                  <c:v>331158</c:v>
                </c:pt>
                <c:pt idx="10">
                  <c:v>316885</c:v>
                </c:pt>
                <c:pt idx="11">
                  <c:v>325742</c:v>
                </c:pt>
                <c:pt idx="12">
                  <c:v>353910</c:v>
                </c:pt>
                <c:pt idx="13">
                  <c:v>356322</c:v>
                </c:pt>
                <c:pt idx="14">
                  <c:v>300251</c:v>
                </c:pt>
                <c:pt idx="15">
                  <c:v>349653</c:v>
                </c:pt>
                <c:pt idx="16">
                  <c:v>351457</c:v>
                </c:pt>
                <c:pt idx="17">
                  <c:v>382350</c:v>
                </c:pt>
                <c:pt idx="18">
                  <c:v>358516</c:v>
                </c:pt>
                <c:pt idx="19">
                  <c:v>358730</c:v>
                </c:pt>
                <c:pt idx="20">
                  <c:v>385008</c:v>
                </c:pt>
                <c:pt idx="21">
                  <c:v>401797</c:v>
                </c:pt>
                <c:pt idx="22">
                  <c:v>412553</c:v>
                </c:pt>
                <c:pt idx="23">
                  <c:v>397248</c:v>
                </c:pt>
                <c:pt idx="24">
                  <c:v>385536</c:v>
                </c:pt>
                <c:pt idx="25">
                  <c:v>397955</c:v>
                </c:pt>
                <c:pt idx="26">
                  <c:v>246338</c:v>
                </c:pt>
                <c:pt idx="27">
                  <c:v>33830</c:v>
                </c:pt>
                <c:pt idx="28">
                  <c:v>18910</c:v>
                </c:pt>
                <c:pt idx="29">
                  <c:v>16355</c:v>
                </c:pt>
                <c:pt idx="30">
                  <c:v>17154</c:v>
                </c:pt>
                <c:pt idx="31">
                  <c:v>15724</c:v>
                </c:pt>
                <c:pt idx="32">
                  <c:v>17402</c:v>
                </c:pt>
                <c:pt idx="33">
                  <c:v>25195</c:v>
                </c:pt>
                <c:pt idx="34">
                  <c:v>30281</c:v>
                </c:pt>
                <c:pt idx="35">
                  <c:v>34965</c:v>
                </c:pt>
                <c:pt idx="36">
                  <c:v>36921</c:v>
                </c:pt>
                <c:pt idx="37">
                  <c:v>40367</c:v>
                </c:pt>
                <c:pt idx="38">
                  <c:v>382499</c:v>
                </c:pt>
                <c:pt idx="39">
                  <c:v>386236</c:v>
                </c:pt>
                <c:pt idx="40">
                  <c:v>362534</c:v>
                </c:pt>
                <c:pt idx="41">
                  <c:v>334080</c:v>
                </c:pt>
                <c:pt idx="42">
                  <c:v>361103</c:v>
                </c:pt>
                <c:pt idx="43">
                  <c:v>361113</c:v>
                </c:pt>
                <c:pt idx="44">
                  <c:v>374213</c:v>
                </c:pt>
                <c:pt idx="45">
                  <c:v>415299</c:v>
                </c:pt>
                <c:pt idx="46">
                  <c:v>321245</c:v>
                </c:pt>
                <c:pt idx="47">
                  <c:v>355141</c:v>
                </c:pt>
                <c:pt idx="48">
                  <c:v>311361</c:v>
                </c:pt>
                <c:pt idx="49">
                  <c:v>304778</c:v>
                </c:pt>
                <c:pt idx="50">
                  <c:v>330437</c:v>
                </c:pt>
                <c:pt idx="51">
                  <c:v>348414</c:v>
                </c:pt>
                <c:pt idx="52">
                  <c:v>291943</c:v>
                </c:pt>
                <c:pt idx="53">
                  <c:v>283770</c:v>
                </c:pt>
                <c:pt idx="54">
                  <c:v>330325</c:v>
                </c:pt>
                <c:pt idx="55">
                  <c:v>336754</c:v>
                </c:pt>
                <c:pt idx="56">
                  <c:v>265432</c:v>
                </c:pt>
                <c:pt idx="57">
                  <c:v>354662</c:v>
                </c:pt>
                <c:pt idx="58">
                  <c:v>273373</c:v>
                </c:pt>
                <c:pt idx="59">
                  <c:v>270767</c:v>
                </c:pt>
                <c:pt idx="60">
                  <c:v>294533</c:v>
                </c:pt>
                <c:pt idx="61">
                  <c:v>335538</c:v>
                </c:pt>
                <c:pt idx="62">
                  <c:v>344462</c:v>
                </c:pt>
                <c:pt idx="63">
                  <c:v>326396</c:v>
                </c:pt>
                <c:pt idx="64">
                  <c:v>322897</c:v>
                </c:pt>
                <c:pt idx="65">
                  <c:v>259799</c:v>
                </c:pt>
                <c:pt idx="66">
                  <c:v>283362</c:v>
                </c:pt>
                <c:pt idx="67">
                  <c:v>316565</c:v>
                </c:pt>
                <c:pt idx="68">
                  <c:v>363959</c:v>
                </c:pt>
                <c:pt idx="69">
                  <c:v>321048</c:v>
                </c:pt>
                <c:pt idx="70">
                  <c:v>330818</c:v>
                </c:pt>
                <c:pt idx="71">
                  <c:v>306518</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73</c:f>
              <c:numCache>
                <c:formatCode>yyyy\-mm\-dd</c:formatCode>
                <c:ptCount val="72"/>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51</c:v>
                </c:pt>
                <c:pt idx="27">
                  <c:v>45158</c:v>
                </c:pt>
                <c:pt idx="28">
                  <c:v>45165</c:v>
                </c:pt>
                <c:pt idx="29">
                  <c:v>45172</c:v>
                </c:pt>
                <c:pt idx="30">
                  <c:v>45179</c:v>
                </c:pt>
                <c:pt idx="31">
                  <c:v>45186</c:v>
                </c:pt>
                <c:pt idx="32">
                  <c:v>45193</c:v>
                </c:pt>
                <c:pt idx="33">
                  <c:v>45200</c:v>
                </c:pt>
                <c:pt idx="34">
                  <c:v>45207</c:v>
                </c:pt>
                <c:pt idx="35">
                  <c:v>45214</c:v>
                </c:pt>
                <c:pt idx="36">
                  <c:v>45221</c:v>
                </c:pt>
                <c:pt idx="37">
                  <c:v>45228</c:v>
                </c:pt>
                <c:pt idx="38">
                  <c:v>45235</c:v>
                </c:pt>
                <c:pt idx="39">
                  <c:v>45242</c:v>
                </c:pt>
                <c:pt idx="40">
                  <c:v>45249</c:v>
                </c:pt>
                <c:pt idx="41">
                  <c:v>45256</c:v>
                </c:pt>
                <c:pt idx="42">
                  <c:v>45263</c:v>
                </c:pt>
                <c:pt idx="43">
                  <c:v>45270</c:v>
                </c:pt>
                <c:pt idx="44">
                  <c:v>45277</c:v>
                </c:pt>
                <c:pt idx="45">
                  <c:v>45284</c:v>
                </c:pt>
                <c:pt idx="46">
                  <c:v>45291</c:v>
                </c:pt>
                <c:pt idx="47">
                  <c:v>45298</c:v>
                </c:pt>
                <c:pt idx="48">
                  <c:v>45305</c:v>
                </c:pt>
                <c:pt idx="49">
                  <c:v>45312</c:v>
                </c:pt>
                <c:pt idx="50">
                  <c:v>45319</c:v>
                </c:pt>
                <c:pt idx="51">
                  <c:v>45326</c:v>
                </c:pt>
                <c:pt idx="52">
                  <c:v>45340</c:v>
                </c:pt>
                <c:pt idx="53">
                  <c:v>45347</c:v>
                </c:pt>
                <c:pt idx="54">
                  <c:v>45354</c:v>
                </c:pt>
                <c:pt idx="55">
                  <c:v>45368</c:v>
                </c:pt>
                <c:pt idx="56">
                  <c:v>45375</c:v>
                </c:pt>
                <c:pt idx="57">
                  <c:v>45522</c:v>
                </c:pt>
                <c:pt idx="58">
                  <c:v>45578</c:v>
                </c:pt>
                <c:pt idx="59">
                  <c:v>45585</c:v>
                </c:pt>
                <c:pt idx="60">
                  <c:v>45592</c:v>
                </c:pt>
                <c:pt idx="61">
                  <c:v>45599</c:v>
                </c:pt>
                <c:pt idx="62">
                  <c:v>45606</c:v>
                </c:pt>
                <c:pt idx="63">
                  <c:v>45613</c:v>
                </c:pt>
                <c:pt idx="64">
                  <c:v>45620</c:v>
                </c:pt>
                <c:pt idx="65">
                  <c:v>45627</c:v>
                </c:pt>
                <c:pt idx="66">
                  <c:v>45634</c:v>
                </c:pt>
                <c:pt idx="67">
                  <c:v>45641</c:v>
                </c:pt>
                <c:pt idx="68">
                  <c:v>45648</c:v>
                </c:pt>
                <c:pt idx="69">
                  <c:v>45655</c:v>
                </c:pt>
                <c:pt idx="70">
                  <c:v>45662</c:v>
                </c:pt>
                <c:pt idx="71">
                  <c:v>45669</c:v>
                </c:pt>
              </c:numCache>
            </c:numRef>
          </c:cat>
          <c:val>
            <c:numRef>
              <c:f>Sheet1!$D$2:$D$73</c:f>
              <c:numCache>
                <c:formatCode>General</c:formatCode>
                <c:ptCount val="72"/>
                <c:pt idx="0">
                  <c:v>403967</c:v>
                </c:pt>
                <c:pt idx="1">
                  <c:v>381069</c:v>
                </c:pt>
                <c:pt idx="2">
                  <c:v>364232</c:v>
                </c:pt>
                <c:pt idx="3">
                  <c:v>341612</c:v>
                </c:pt>
                <c:pt idx="4">
                  <c:v>354313</c:v>
                </c:pt>
                <c:pt idx="5">
                  <c:v>372459</c:v>
                </c:pt>
                <c:pt idx="6">
                  <c:v>361042</c:v>
                </c:pt>
                <c:pt idx="7">
                  <c:v>402496</c:v>
                </c:pt>
                <c:pt idx="8">
                  <c:v>412072</c:v>
                </c:pt>
                <c:pt idx="9">
                  <c:v>386843</c:v>
                </c:pt>
                <c:pt idx="10">
                  <c:v>371264</c:v>
                </c:pt>
                <c:pt idx="11">
                  <c:v>399450</c:v>
                </c:pt>
                <c:pt idx="12">
                  <c:v>355885</c:v>
                </c:pt>
                <c:pt idx="13">
                  <c:v>394556</c:v>
                </c:pt>
                <c:pt idx="14">
                  <c:v>360084</c:v>
                </c:pt>
                <c:pt idx="15">
                  <c:v>410730</c:v>
                </c:pt>
                <c:pt idx="16">
                  <c:v>361211</c:v>
                </c:pt>
                <c:pt idx="17">
                  <c:v>385166</c:v>
                </c:pt>
                <c:pt idx="18">
                  <c:v>361291</c:v>
                </c:pt>
                <c:pt idx="19">
                  <c:v>360435</c:v>
                </c:pt>
                <c:pt idx="20">
                  <c:v>386377</c:v>
                </c:pt>
                <c:pt idx="21">
                  <c:v>403977</c:v>
                </c:pt>
                <c:pt idx="22">
                  <c:v>414678</c:v>
                </c:pt>
                <c:pt idx="23">
                  <c:v>398051</c:v>
                </c:pt>
                <c:pt idx="24">
                  <c:v>388290</c:v>
                </c:pt>
                <c:pt idx="25">
                  <c:v>401634</c:v>
                </c:pt>
                <c:pt idx="26">
                  <c:v>406305</c:v>
                </c:pt>
                <c:pt idx="27">
                  <c:v>417708</c:v>
                </c:pt>
                <c:pt idx="28">
                  <c:v>404836</c:v>
                </c:pt>
                <c:pt idx="29">
                  <c:v>403556</c:v>
                </c:pt>
                <c:pt idx="30">
                  <c:v>405127</c:v>
                </c:pt>
                <c:pt idx="31">
                  <c:v>385327</c:v>
                </c:pt>
                <c:pt idx="32">
                  <c:v>379788</c:v>
                </c:pt>
                <c:pt idx="33">
                  <c:v>379616</c:v>
                </c:pt>
                <c:pt idx="34">
                  <c:v>406373</c:v>
                </c:pt>
                <c:pt idx="35">
                  <c:v>422425</c:v>
                </c:pt>
                <c:pt idx="36">
                  <c:v>416648</c:v>
                </c:pt>
                <c:pt idx="37">
                  <c:v>401171</c:v>
                </c:pt>
                <c:pt idx="38">
                  <c:v>418819</c:v>
                </c:pt>
                <c:pt idx="39">
                  <c:v>429875</c:v>
                </c:pt>
                <c:pt idx="40">
                  <c:v>418365</c:v>
                </c:pt>
                <c:pt idx="41">
                  <c:v>417832</c:v>
                </c:pt>
                <c:pt idx="42">
                  <c:v>462226</c:v>
                </c:pt>
                <c:pt idx="43">
                  <c:v>531956</c:v>
                </c:pt>
                <c:pt idx="44">
                  <c:v>535762</c:v>
                </c:pt>
                <c:pt idx="45">
                  <c:v>692359</c:v>
                </c:pt>
                <c:pt idx="46">
                  <c:v>640118</c:v>
                </c:pt>
                <c:pt idx="47">
                  <c:v>363082</c:v>
                </c:pt>
                <c:pt idx="48">
                  <c:v>325007</c:v>
                </c:pt>
                <c:pt idx="49">
                  <c:v>310700</c:v>
                </c:pt>
                <c:pt idx="50">
                  <c:v>333060</c:v>
                </c:pt>
                <c:pt idx="51">
                  <c:v>350292</c:v>
                </c:pt>
                <c:pt idx="52">
                  <c:v>329312</c:v>
                </c:pt>
                <c:pt idx="53">
                  <c:v>397560</c:v>
                </c:pt>
                <c:pt idx="54">
                  <c:v>371444</c:v>
                </c:pt>
                <c:pt idx="55">
                  <c:v>337845</c:v>
                </c:pt>
                <c:pt idx="56">
                  <c:v>380322</c:v>
                </c:pt>
                <c:pt idx="57">
                  <c:v>356631</c:v>
                </c:pt>
                <c:pt idx="58">
                  <c:v>352262</c:v>
                </c:pt>
                <c:pt idx="59">
                  <c:v>375994</c:v>
                </c:pt>
                <c:pt idx="60">
                  <c:v>368430</c:v>
                </c:pt>
                <c:pt idx="61">
                  <c:v>373368</c:v>
                </c:pt>
                <c:pt idx="62">
                  <c:v>392683</c:v>
                </c:pt>
                <c:pt idx="63">
                  <c:v>385428</c:v>
                </c:pt>
                <c:pt idx="64">
                  <c:v>391639</c:v>
                </c:pt>
                <c:pt idx="65">
                  <c:v>404466</c:v>
                </c:pt>
                <c:pt idx="66">
                  <c:v>482798</c:v>
                </c:pt>
                <c:pt idx="67">
                  <c:v>503247</c:v>
                </c:pt>
                <c:pt idx="68">
                  <c:v>564024</c:v>
                </c:pt>
                <c:pt idx="69">
                  <c:v>609075</c:v>
                </c:pt>
                <c:pt idx="70">
                  <c:v>334645</c:v>
                </c:pt>
                <c:pt idx="71">
                  <c:v>307732</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73</c:f>
              <c:numCache>
                <c:formatCode>yyyy\-mm\-dd</c:formatCode>
                <c:ptCount val="72"/>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51</c:v>
                </c:pt>
                <c:pt idx="27">
                  <c:v>45158</c:v>
                </c:pt>
                <c:pt idx="28">
                  <c:v>45165</c:v>
                </c:pt>
                <c:pt idx="29">
                  <c:v>45172</c:v>
                </c:pt>
                <c:pt idx="30">
                  <c:v>45179</c:v>
                </c:pt>
                <c:pt idx="31">
                  <c:v>45186</c:v>
                </c:pt>
                <c:pt idx="32">
                  <c:v>45193</c:v>
                </c:pt>
                <c:pt idx="33">
                  <c:v>45200</c:v>
                </c:pt>
                <c:pt idx="34">
                  <c:v>45207</c:v>
                </c:pt>
                <c:pt idx="35">
                  <c:v>45214</c:v>
                </c:pt>
                <c:pt idx="36">
                  <c:v>45221</c:v>
                </c:pt>
                <c:pt idx="37">
                  <c:v>45228</c:v>
                </c:pt>
                <c:pt idx="38">
                  <c:v>45235</c:v>
                </c:pt>
                <c:pt idx="39">
                  <c:v>45242</c:v>
                </c:pt>
                <c:pt idx="40">
                  <c:v>45249</c:v>
                </c:pt>
                <c:pt idx="41">
                  <c:v>45256</c:v>
                </c:pt>
                <c:pt idx="42">
                  <c:v>45263</c:v>
                </c:pt>
                <c:pt idx="43">
                  <c:v>45270</c:v>
                </c:pt>
                <c:pt idx="44">
                  <c:v>45277</c:v>
                </c:pt>
                <c:pt idx="45">
                  <c:v>45284</c:v>
                </c:pt>
                <c:pt idx="46">
                  <c:v>45291</c:v>
                </c:pt>
                <c:pt idx="47">
                  <c:v>45298</c:v>
                </c:pt>
                <c:pt idx="48">
                  <c:v>45305</c:v>
                </c:pt>
                <c:pt idx="49">
                  <c:v>45312</c:v>
                </c:pt>
                <c:pt idx="50">
                  <c:v>45319</c:v>
                </c:pt>
                <c:pt idx="51">
                  <c:v>45326</c:v>
                </c:pt>
                <c:pt idx="52">
                  <c:v>45340</c:v>
                </c:pt>
                <c:pt idx="53">
                  <c:v>45347</c:v>
                </c:pt>
                <c:pt idx="54">
                  <c:v>45354</c:v>
                </c:pt>
                <c:pt idx="55">
                  <c:v>45368</c:v>
                </c:pt>
                <c:pt idx="56">
                  <c:v>45375</c:v>
                </c:pt>
                <c:pt idx="57">
                  <c:v>45522</c:v>
                </c:pt>
                <c:pt idx="58">
                  <c:v>45578</c:v>
                </c:pt>
                <c:pt idx="59">
                  <c:v>45585</c:v>
                </c:pt>
                <c:pt idx="60">
                  <c:v>45592</c:v>
                </c:pt>
                <c:pt idx="61">
                  <c:v>45599</c:v>
                </c:pt>
                <c:pt idx="62">
                  <c:v>45606</c:v>
                </c:pt>
                <c:pt idx="63">
                  <c:v>45613</c:v>
                </c:pt>
                <c:pt idx="64">
                  <c:v>45620</c:v>
                </c:pt>
                <c:pt idx="65">
                  <c:v>45627</c:v>
                </c:pt>
                <c:pt idx="66">
                  <c:v>45634</c:v>
                </c:pt>
                <c:pt idx="67">
                  <c:v>45641</c:v>
                </c:pt>
                <c:pt idx="68">
                  <c:v>45648</c:v>
                </c:pt>
                <c:pt idx="69">
                  <c:v>45655</c:v>
                </c:pt>
                <c:pt idx="70">
                  <c:v>45662</c:v>
                </c:pt>
                <c:pt idx="71">
                  <c:v>45669</c:v>
                </c:pt>
              </c:numCache>
            </c:numRef>
          </c:cat>
          <c:val>
            <c:numRef>
              <c:f>Sheet1!$E$2:$E$73</c:f>
              <c:numCache>
                <c:formatCode>General</c:formatCode>
                <c:ptCount val="72"/>
                <c:pt idx="0">
                  <c:v>362894</c:v>
                </c:pt>
                <c:pt idx="1">
                  <c:v>361143</c:v>
                </c:pt>
                <c:pt idx="2">
                  <c:v>362588</c:v>
                </c:pt>
                <c:pt idx="3">
                  <c:v>362573</c:v>
                </c:pt>
                <c:pt idx="4">
                  <c:v>366115</c:v>
                </c:pt>
                <c:pt idx="5">
                  <c:v>368718</c:v>
                </c:pt>
                <c:pt idx="6">
                  <c:v>371051</c:v>
                </c:pt>
                <c:pt idx="7">
                  <c:v>373266</c:v>
                </c:pt>
                <c:pt idx="8">
                  <c:v>380648</c:v>
                </c:pt>
                <c:pt idx="9">
                  <c:v>382046</c:v>
                </c:pt>
                <c:pt idx="10">
                  <c:v>383316</c:v>
                </c:pt>
                <c:pt idx="11">
                  <c:v>382878</c:v>
                </c:pt>
                <c:pt idx="12">
                  <c:v>384417</c:v>
                </c:pt>
                <c:pt idx="13">
                  <c:v>378897</c:v>
                </c:pt>
                <c:pt idx="14">
                  <c:v>378211</c:v>
                </c:pt>
                <c:pt idx="15">
                  <c:v>377665</c:v>
                </c:pt>
                <c:pt idx="16">
                  <c:v>373011</c:v>
                </c:pt>
                <c:pt idx="17">
                  <c:v>376391</c:v>
                </c:pt>
                <c:pt idx="18">
                  <c:v>378069</c:v>
                </c:pt>
                <c:pt idx="19">
                  <c:v>384817</c:v>
                </c:pt>
                <c:pt idx="20">
                  <c:v>383951</c:v>
                </c:pt>
                <c:pt idx="21">
                  <c:v>387411</c:v>
                </c:pt>
                <c:pt idx="22">
                  <c:v>389649</c:v>
                </c:pt>
                <c:pt idx="23">
                  <c:v>396288</c:v>
                </c:pt>
                <c:pt idx="24">
                  <c:v>401602</c:v>
                </c:pt>
                <c:pt idx="25">
                  <c:v>406204</c:v>
                </c:pt>
                <c:pt idx="26">
                  <c:v>411809</c:v>
                </c:pt>
                <c:pt idx="27">
                  <c:v>412686</c:v>
                </c:pt>
                <c:pt idx="28">
                  <c:v>406996</c:v>
                </c:pt>
                <c:pt idx="29">
                  <c:v>417401</c:v>
                </c:pt>
                <c:pt idx="30">
                  <c:v>416061</c:v>
                </c:pt>
                <c:pt idx="31">
                  <c:v>414782</c:v>
                </c:pt>
                <c:pt idx="32">
                  <c:v>411755</c:v>
                </c:pt>
                <c:pt idx="33">
                  <c:v>413016</c:v>
                </c:pt>
                <c:pt idx="34">
                  <c:v>416328</c:v>
                </c:pt>
                <c:pt idx="35">
                  <c:v>438091</c:v>
                </c:pt>
                <c:pt idx="36">
                  <c:v>441951</c:v>
                </c:pt>
                <c:pt idx="37">
                  <c:v>414356</c:v>
                </c:pt>
                <c:pt idx="38">
                  <c:v>392212</c:v>
                </c:pt>
                <c:pt idx="39">
                  <c:v>400563</c:v>
                </c:pt>
                <c:pt idx="40">
                  <c:v>423884</c:v>
                </c:pt>
                <c:pt idx="41">
                  <c:v>420826</c:v>
                </c:pt>
                <c:pt idx="42">
                  <c:v>424211</c:v>
                </c:pt>
                <c:pt idx="43">
                  <c:v>413054</c:v>
                </c:pt>
                <c:pt idx="44">
                  <c:v>406338</c:v>
                </c:pt>
                <c:pt idx="45">
                  <c:v>400715</c:v>
                </c:pt>
                <c:pt idx="46">
                  <c:v>406305</c:v>
                </c:pt>
                <c:pt idx="47">
                  <c:v>381286</c:v>
                </c:pt>
                <c:pt idx="48">
                  <c:v>371543</c:v>
                </c:pt>
                <c:pt idx="49">
                  <c:v>352312</c:v>
                </c:pt>
                <c:pt idx="50">
                  <c:v>332879</c:v>
                </c:pt>
                <c:pt idx="51">
                  <c:v>340699</c:v>
                </c:pt>
                <c:pt idx="52">
                  <c:v>347835</c:v>
                </c:pt>
                <c:pt idx="53">
                  <c:v>352936</c:v>
                </c:pt>
                <c:pt idx="54">
                  <c:v>358254</c:v>
                </c:pt>
                <c:pt idx="55">
                  <c:v>362247</c:v>
                </c:pt>
                <c:pt idx="56">
                  <c:v>364643</c:v>
                </c:pt>
                <c:pt idx="57">
                  <c:v>355365</c:v>
                </c:pt>
                <c:pt idx="58">
                  <c:v>356313</c:v>
                </c:pt>
                <c:pt idx="59">
                  <c:v>360367</c:v>
                </c:pt>
                <c:pt idx="60">
                  <c:v>363217</c:v>
                </c:pt>
                <c:pt idx="61">
                  <c:v>368198</c:v>
                </c:pt>
                <c:pt idx="62">
                  <c:v>361131</c:v>
                </c:pt>
                <c:pt idx="63">
                  <c:v>368404</c:v>
                </c:pt>
                <c:pt idx="64">
                  <c:v>370638</c:v>
                </c:pt>
                <c:pt idx="65">
                  <c:v>369749</c:v>
                </c:pt>
                <c:pt idx="66">
                  <c:v>372948</c:v>
                </c:pt>
                <c:pt idx="67">
                  <c:v>344818</c:v>
                </c:pt>
                <c:pt idx="68">
                  <c:v>334292</c:v>
                </c:pt>
                <c:pt idx="69">
                  <c:v>332007</c:v>
                </c:pt>
                <c:pt idx="70">
                  <c:v>338398</c:v>
                </c:pt>
                <c:pt idx="71">
                  <c:v>325933</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73</c:f>
              <c:numCache>
                <c:formatCode>yyyy\-mm\-dd</c:formatCode>
                <c:ptCount val="72"/>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51</c:v>
                </c:pt>
                <c:pt idx="27">
                  <c:v>45158</c:v>
                </c:pt>
                <c:pt idx="28">
                  <c:v>45165</c:v>
                </c:pt>
                <c:pt idx="29">
                  <c:v>45172</c:v>
                </c:pt>
                <c:pt idx="30">
                  <c:v>45179</c:v>
                </c:pt>
                <c:pt idx="31">
                  <c:v>45186</c:v>
                </c:pt>
                <c:pt idx="32">
                  <c:v>45193</c:v>
                </c:pt>
                <c:pt idx="33">
                  <c:v>45200</c:v>
                </c:pt>
                <c:pt idx="34">
                  <c:v>45207</c:v>
                </c:pt>
                <c:pt idx="35">
                  <c:v>45214</c:v>
                </c:pt>
                <c:pt idx="36">
                  <c:v>45221</c:v>
                </c:pt>
                <c:pt idx="37">
                  <c:v>45228</c:v>
                </c:pt>
                <c:pt idx="38">
                  <c:v>45235</c:v>
                </c:pt>
                <c:pt idx="39">
                  <c:v>45242</c:v>
                </c:pt>
                <c:pt idx="40">
                  <c:v>45249</c:v>
                </c:pt>
                <c:pt idx="41">
                  <c:v>45256</c:v>
                </c:pt>
                <c:pt idx="42">
                  <c:v>45263</c:v>
                </c:pt>
                <c:pt idx="43">
                  <c:v>45270</c:v>
                </c:pt>
                <c:pt idx="44">
                  <c:v>45277</c:v>
                </c:pt>
                <c:pt idx="45">
                  <c:v>45284</c:v>
                </c:pt>
                <c:pt idx="46">
                  <c:v>45291</c:v>
                </c:pt>
                <c:pt idx="47">
                  <c:v>45298</c:v>
                </c:pt>
                <c:pt idx="48">
                  <c:v>45305</c:v>
                </c:pt>
                <c:pt idx="49">
                  <c:v>45312</c:v>
                </c:pt>
                <c:pt idx="50">
                  <c:v>45319</c:v>
                </c:pt>
                <c:pt idx="51">
                  <c:v>45326</c:v>
                </c:pt>
                <c:pt idx="52">
                  <c:v>45340</c:v>
                </c:pt>
                <c:pt idx="53">
                  <c:v>45347</c:v>
                </c:pt>
                <c:pt idx="54">
                  <c:v>45354</c:v>
                </c:pt>
                <c:pt idx="55">
                  <c:v>45368</c:v>
                </c:pt>
                <c:pt idx="56">
                  <c:v>45375</c:v>
                </c:pt>
                <c:pt idx="57">
                  <c:v>45522</c:v>
                </c:pt>
                <c:pt idx="58">
                  <c:v>45578</c:v>
                </c:pt>
                <c:pt idx="59">
                  <c:v>45585</c:v>
                </c:pt>
                <c:pt idx="60">
                  <c:v>45592</c:v>
                </c:pt>
                <c:pt idx="61">
                  <c:v>45599</c:v>
                </c:pt>
                <c:pt idx="62">
                  <c:v>45606</c:v>
                </c:pt>
                <c:pt idx="63">
                  <c:v>45613</c:v>
                </c:pt>
                <c:pt idx="64">
                  <c:v>45620</c:v>
                </c:pt>
                <c:pt idx="65">
                  <c:v>45627</c:v>
                </c:pt>
                <c:pt idx="66">
                  <c:v>45634</c:v>
                </c:pt>
                <c:pt idx="67">
                  <c:v>45641</c:v>
                </c:pt>
                <c:pt idx="68">
                  <c:v>45648</c:v>
                </c:pt>
                <c:pt idx="69">
                  <c:v>45655</c:v>
                </c:pt>
                <c:pt idx="70">
                  <c:v>45662</c:v>
                </c:pt>
                <c:pt idx="71">
                  <c:v>45669</c:v>
                </c:pt>
              </c:numCache>
            </c:numRef>
          </c:cat>
          <c:val>
            <c:numRef>
              <c:f>Sheet1!$F$2:$F$73</c:f>
              <c:numCache>
                <c:formatCode>General</c:formatCode>
                <c:ptCount val="72"/>
                <c:pt idx="0">
                  <c:v>0.15</c:v>
                </c:pt>
                <c:pt idx="1">
                  <c:v>0.11</c:v>
                </c:pt>
                <c:pt idx="2">
                  <c:v>0.09</c:v>
                </c:pt>
                <c:pt idx="3">
                  <c:v>7.0000000000000007E-2</c:v>
                </c:pt>
                <c:pt idx="4">
                  <c:v>7.0000000000000007E-2</c:v>
                </c:pt>
                <c:pt idx="5">
                  <c:v>0.08</c:v>
                </c:pt>
                <c:pt idx="6">
                  <c:v>0.1</c:v>
                </c:pt>
                <c:pt idx="7">
                  <c:v>0.18</c:v>
                </c:pt>
                <c:pt idx="8">
                  <c:v>0.15</c:v>
                </c:pt>
                <c:pt idx="9">
                  <c:v>0.14000000000000001</c:v>
                </c:pt>
                <c:pt idx="10">
                  <c:v>0.15</c:v>
                </c:pt>
                <c:pt idx="11">
                  <c:v>0.18</c:v>
                </c:pt>
                <c:pt idx="12">
                  <c:v>0.01</c:v>
                </c:pt>
                <c:pt idx="13">
                  <c:v>0.09</c:v>
                </c:pt>
                <c:pt idx="14">
                  <c:v>0.15</c:v>
                </c:pt>
                <c:pt idx="15">
                  <c:v>0.12</c:v>
                </c:pt>
                <c:pt idx="16">
                  <c:v>0.02</c:v>
                </c:pt>
                <c:pt idx="17">
                  <c:v>0.01</c:v>
                </c:pt>
                <c:pt idx="18">
                  <c:v>0.01</c:v>
                </c:pt>
                <c:pt idx="19">
                  <c:v>0</c:v>
                </c:pt>
                <c:pt idx="20">
                  <c:v>0</c:v>
                </c:pt>
                <c:pt idx="21">
                  <c:v>0</c:v>
                </c:pt>
                <c:pt idx="22">
                  <c:v>0</c:v>
                </c:pt>
                <c:pt idx="23">
                  <c:v>0</c:v>
                </c:pt>
                <c:pt idx="24">
                  <c:v>0.01</c:v>
                </c:pt>
                <c:pt idx="25">
                  <c:v>0.01</c:v>
                </c:pt>
                <c:pt idx="26">
                  <c:v>0.4</c:v>
                </c:pt>
                <c:pt idx="27">
                  <c:v>0.92</c:v>
                </c:pt>
                <c:pt idx="28">
                  <c:v>0.95</c:v>
                </c:pt>
                <c:pt idx="29">
                  <c:v>0.96</c:v>
                </c:pt>
                <c:pt idx="30">
                  <c:v>0.96</c:v>
                </c:pt>
                <c:pt idx="31">
                  <c:v>0.96</c:v>
                </c:pt>
                <c:pt idx="32">
                  <c:v>0.95</c:v>
                </c:pt>
                <c:pt idx="33">
                  <c:v>0.94</c:v>
                </c:pt>
                <c:pt idx="34">
                  <c:v>0.93</c:v>
                </c:pt>
                <c:pt idx="35">
                  <c:v>0.92</c:v>
                </c:pt>
                <c:pt idx="36">
                  <c:v>0.92</c:v>
                </c:pt>
                <c:pt idx="37">
                  <c:v>0.91</c:v>
                </c:pt>
                <c:pt idx="38">
                  <c:v>0.05</c:v>
                </c:pt>
                <c:pt idx="39">
                  <c:v>0.06</c:v>
                </c:pt>
                <c:pt idx="40">
                  <c:v>0.09</c:v>
                </c:pt>
                <c:pt idx="41">
                  <c:v>0.13</c:v>
                </c:pt>
                <c:pt idx="42">
                  <c:v>0.15</c:v>
                </c:pt>
                <c:pt idx="43">
                  <c:v>0.24</c:v>
                </c:pt>
                <c:pt idx="44">
                  <c:v>0.22</c:v>
                </c:pt>
                <c:pt idx="45">
                  <c:v>0.3</c:v>
                </c:pt>
                <c:pt idx="46">
                  <c:v>0.5</c:v>
                </c:pt>
                <c:pt idx="47">
                  <c:v>0.03</c:v>
                </c:pt>
                <c:pt idx="48">
                  <c:v>0.06</c:v>
                </c:pt>
                <c:pt idx="49">
                  <c:v>0.03</c:v>
                </c:pt>
                <c:pt idx="50">
                  <c:v>0.01</c:v>
                </c:pt>
                <c:pt idx="51">
                  <c:v>0.01</c:v>
                </c:pt>
                <c:pt idx="52">
                  <c:v>0.1</c:v>
                </c:pt>
                <c:pt idx="53">
                  <c:v>0.3</c:v>
                </c:pt>
                <c:pt idx="54">
                  <c:v>0.11</c:v>
                </c:pt>
                <c:pt idx="55">
                  <c:v>0</c:v>
                </c:pt>
                <c:pt idx="56">
                  <c:v>0.31</c:v>
                </c:pt>
                <c:pt idx="57">
                  <c:v>0</c:v>
                </c:pt>
                <c:pt idx="58">
                  <c:v>0.24</c:v>
                </c:pt>
                <c:pt idx="59">
                  <c:v>0.28999999999999998</c:v>
                </c:pt>
                <c:pt idx="60">
                  <c:v>0.19</c:v>
                </c:pt>
                <c:pt idx="61">
                  <c:v>0.08</c:v>
                </c:pt>
                <c:pt idx="62">
                  <c:v>0.1</c:v>
                </c:pt>
                <c:pt idx="63">
                  <c:v>0.12</c:v>
                </c:pt>
                <c:pt idx="64">
                  <c:v>0.14000000000000001</c:v>
                </c:pt>
                <c:pt idx="65">
                  <c:v>0.32</c:v>
                </c:pt>
                <c:pt idx="66">
                  <c:v>0.41</c:v>
                </c:pt>
                <c:pt idx="67">
                  <c:v>0.33</c:v>
                </c:pt>
                <c:pt idx="68">
                  <c:v>0.3</c:v>
                </c:pt>
                <c:pt idx="69">
                  <c:v>0.52</c:v>
                </c:pt>
                <c:pt idx="70">
                  <c:v>0.02</c:v>
                </c:pt>
                <c:pt idx="71">
                  <c:v>0.0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68</c:f>
              <c:numCache>
                <c:formatCode>yyyy\-mm\-dd</c:formatCode>
                <c:ptCount val="67"/>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109</c:v>
                </c:pt>
                <c:pt idx="21">
                  <c:v>45130</c:v>
                </c:pt>
                <c:pt idx="22">
                  <c:v>45172</c:v>
                </c:pt>
                <c:pt idx="23">
                  <c:v>45179</c:v>
                </c:pt>
                <c:pt idx="24">
                  <c:v>45193</c:v>
                </c:pt>
                <c:pt idx="25">
                  <c:v>45200</c:v>
                </c:pt>
                <c:pt idx="26">
                  <c:v>45207</c:v>
                </c:pt>
                <c:pt idx="27">
                  <c:v>45214</c:v>
                </c:pt>
                <c:pt idx="28">
                  <c:v>45221</c:v>
                </c:pt>
                <c:pt idx="29">
                  <c:v>45228</c:v>
                </c:pt>
                <c:pt idx="30">
                  <c:v>45235</c:v>
                </c:pt>
                <c:pt idx="31">
                  <c:v>45242</c:v>
                </c:pt>
                <c:pt idx="32">
                  <c:v>45249</c:v>
                </c:pt>
                <c:pt idx="33">
                  <c:v>45256</c:v>
                </c:pt>
                <c:pt idx="34">
                  <c:v>45263</c:v>
                </c:pt>
                <c:pt idx="35">
                  <c:v>45270</c:v>
                </c:pt>
                <c:pt idx="36">
                  <c:v>45277</c:v>
                </c:pt>
                <c:pt idx="37">
                  <c:v>45284</c:v>
                </c:pt>
                <c:pt idx="38">
                  <c:v>45291</c:v>
                </c:pt>
                <c:pt idx="39">
                  <c:v>45298</c:v>
                </c:pt>
                <c:pt idx="40">
                  <c:v>45305</c:v>
                </c:pt>
                <c:pt idx="41">
                  <c:v>45312</c:v>
                </c:pt>
                <c:pt idx="42">
                  <c:v>45319</c:v>
                </c:pt>
                <c:pt idx="43">
                  <c:v>45326</c:v>
                </c:pt>
                <c:pt idx="44">
                  <c:v>45333</c:v>
                </c:pt>
                <c:pt idx="45">
                  <c:v>45340</c:v>
                </c:pt>
                <c:pt idx="46">
                  <c:v>45354</c:v>
                </c:pt>
                <c:pt idx="47">
                  <c:v>45396</c:v>
                </c:pt>
                <c:pt idx="48">
                  <c:v>45438</c:v>
                </c:pt>
                <c:pt idx="49">
                  <c:v>45445</c:v>
                </c:pt>
                <c:pt idx="50">
                  <c:v>45515</c:v>
                </c:pt>
                <c:pt idx="51">
                  <c:v>45543</c:v>
                </c:pt>
                <c:pt idx="52">
                  <c:v>45578</c:v>
                </c:pt>
                <c:pt idx="53">
                  <c:v>45585</c:v>
                </c:pt>
                <c:pt idx="54">
                  <c:v>45592</c:v>
                </c:pt>
                <c:pt idx="55">
                  <c:v>45599</c:v>
                </c:pt>
                <c:pt idx="56">
                  <c:v>45606</c:v>
                </c:pt>
                <c:pt idx="57">
                  <c:v>45613</c:v>
                </c:pt>
                <c:pt idx="58">
                  <c:v>45620</c:v>
                </c:pt>
                <c:pt idx="59">
                  <c:v>45627</c:v>
                </c:pt>
                <c:pt idx="60">
                  <c:v>45634</c:v>
                </c:pt>
                <c:pt idx="61">
                  <c:v>45641</c:v>
                </c:pt>
                <c:pt idx="62">
                  <c:v>45648</c:v>
                </c:pt>
                <c:pt idx="63">
                  <c:v>45655</c:v>
                </c:pt>
                <c:pt idx="64">
                  <c:v>45662</c:v>
                </c:pt>
                <c:pt idx="65">
                  <c:v>45669</c:v>
                </c:pt>
                <c:pt idx="66">
                  <c:v>45676</c:v>
                </c:pt>
              </c:numCache>
            </c:numRef>
          </c:cat>
          <c:val>
            <c:numRef>
              <c:f>Sheet1!$B$2:$B$68</c:f>
              <c:numCache>
                <c:formatCode>General</c:formatCode>
                <c:ptCount val="67"/>
                <c:pt idx="0">
                  <c:v>42246</c:v>
                </c:pt>
                <c:pt idx="1">
                  <c:v>20921</c:v>
                </c:pt>
                <c:pt idx="2">
                  <c:v>22475</c:v>
                </c:pt>
                <c:pt idx="3">
                  <c:v>14977</c:v>
                </c:pt>
                <c:pt idx="4">
                  <c:v>10854</c:v>
                </c:pt>
                <c:pt idx="5">
                  <c:v>9352</c:v>
                </c:pt>
                <c:pt idx="6">
                  <c:v>12959</c:v>
                </c:pt>
                <c:pt idx="7">
                  <c:v>29121</c:v>
                </c:pt>
                <c:pt idx="8">
                  <c:v>12087</c:v>
                </c:pt>
                <c:pt idx="9">
                  <c:v>12068</c:v>
                </c:pt>
                <c:pt idx="10">
                  <c:v>26350</c:v>
                </c:pt>
                <c:pt idx="11">
                  <c:v>16367</c:v>
                </c:pt>
                <c:pt idx="12">
                  <c:v>8284</c:v>
                </c:pt>
                <c:pt idx="13">
                  <c:v>8474</c:v>
                </c:pt>
                <c:pt idx="14">
                  <c:v>12648</c:v>
                </c:pt>
                <c:pt idx="15">
                  <c:v>32925</c:v>
                </c:pt>
                <c:pt idx="16">
                  <c:v>12607</c:v>
                </c:pt>
                <c:pt idx="17">
                  <c:v>1590</c:v>
                </c:pt>
                <c:pt idx="18">
                  <c:v>2661</c:v>
                </c:pt>
                <c:pt idx="19">
                  <c:v>2380</c:v>
                </c:pt>
                <c:pt idx="20">
                  <c:v>443</c:v>
                </c:pt>
                <c:pt idx="21">
                  <c:v>22746</c:v>
                </c:pt>
                <c:pt idx="22">
                  <c:v>6002</c:v>
                </c:pt>
                <c:pt idx="23">
                  <c:v>1820</c:v>
                </c:pt>
                <c:pt idx="24">
                  <c:v>529</c:v>
                </c:pt>
                <c:pt idx="25">
                  <c:v>3439</c:v>
                </c:pt>
                <c:pt idx="26">
                  <c:v>6735</c:v>
                </c:pt>
                <c:pt idx="27">
                  <c:v>35646</c:v>
                </c:pt>
                <c:pt idx="28">
                  <c:v>37932</c:v>
                </c:pt>
                <c:pt idx="29">
                  <c:v>41191</c:v>
                </c:pt>
                <c:pt idx="30">
                  <c:v>47917</c:v>
                </c:pt>
                <c:pt idx="31">
                  <c:v>47131</c:v>
                </c:pt>
                <c:pt idx="32">
                  <c:v>55689</c:v>
                </c:pt>
                <c:pt idx="33">
                  <c:v>89084</c:v>
                </c:pt>
                <c:pt idx="34">
                  <c:v>88415</c:v>
                </c:pt>
                <c:pt idx="35">
                  <c:v>113951</c:v>
                </c:pt>
                <c:pt idx="36">
                  <c:v>170333</c:v>
                </c:pt>
                <c:pt idx="37">
                  <c:v>295401</c:v>
                </c:pt>
                <c:pt idx="38">
                  <c:v>291838</c:v>
                </c:pt>
                <c:pt idx="39">
                  <c:v>7698</c:v>
                </c:pt>
                <c:pt idx="40">
                  <c:v>11244</c:v>
                </c:pt>
                <c:pt idx="41">
                  <c:v>4511</c:v>
                </c:pt>
                <c:pt idx="42">
                  <c:v>2334</c:v>
                </c:pt>
                <c:pt idx="43">
                  <c:v>1456</c:v>
                </c:pt>
                <c:pt idx="44">
                  <c:v>1254</c:v>
                </c:pt>
                <c:pt idx="45">
                  <c:v>11250</c:v>
                </c:pt>
                <c:pt idx="46">
                  <c:v>20009</c:v>
                </c:pt>
                <c:pt idx="47">
                  <c:v>19337</c:v>
                </c:pt>
                <c:pt idx="48">
                  <c:v>19674</c:v>
                </c:pt>
                <c:pt idx="49">
                  <c:v>98</c:v>
                </c:pt>
                <c:pt idx="50">
                  <c:v>4099</c:v>
                </c:pt>
                <c:pt idx="51">
                  <c:v>704</c:v>
                </c:pt>
                <c:pt idx="52">
                  <c:v>19901</c:v>
                </c:pt>
                <c:pt idx="53">
                  <c:v>38222</c:v>
                </c:pt>
                <c:pt idx="54">
                  <c:v>37535</c:v>
                </c:pt>
                <c:pt idx="55">
                  <c:v>34961</c:v>
                </c:pt>
                <c:pt idx="56">
                  <c:v>44305</c:v>
                </c:pt>
                <c:pt idx="57">
                  <c:v>53531</c:v>
                </c:pt>
                <c:pt idx="58">
                  <c:v>66493</c:v>
                </c:pt>
                <c:pt idx="59">
                  <c:v>107195</c:v>
                </c:pt>
                <c:pt idx="60">
                  <c:v>117801</c:v>
                </c:pt>
                <c:pt idx="61">
                  <c:v>162782</c:v>
                </c:pt>
                <c:pt idx="62">
                  <c:v>255092</c:v>
                </c:pt>
                <c:pt idx="63">
                  <c:v>457574</c:v>
                </c:pt>
                <c:pt idx="64">
                  <c:v>8754</c:v>
                </c:pt>
                <c:pt idx="65">
                  <c:v>2036</c:v>
                </c:pt>
                <c:pt idx="66">
                  <c:v>1084</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68</c:f>
              <c:numCache>
                <c:formatCode>yyyy\-mm\-dd</c:formatCode>
                <c:ptCount val="67"/>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109</c:v>
                </c:pt>
                <c:pt idx="21">
                  <c:v>45130</c:v>
                </c:pt>
                <c:pt idx="22">
                  <c:v>45172</c:v>
                </c:pt>
                <c:pt idx="23">
                  <c:v>45179</c:v>
                </c:pt>
                <c:pt idx="24">
                  <c:v>45193</c:v>
                </c:pt>
                <c:pt idx="25">
                  <c:v>45200</c:v>
                </c:pt>
                <c:pt idx="26">
                  <c:v>45207</c:v>
                </c:pt>
                <c:pt idx="27">
                  <c:v>45214</c:v>
                </c:pt>
                <c:pt idx="28">
                  <c:v>45221</c:v>
                </c:pt>
                <c:pt idx="29">
                  <c:v>45228</c:v>
                </c:pt>
                <c:pt idx="30">
                  <c:v>45235</c:v>
                </c:pt>
                <c:pt idx="31">
                  <c:v>45242</c:v>
                </c:pt>
                <c:pt idx="32">
                  <c:v>45249</c:v>
                </c:pt>
                <c:pt idx="33">
                  <c:v>45256</c:v>
                </c:pt>
                <c:pt idx="34">
                  <c:v>45263</c:v>
                </c:pt>
                <c:pt idx="35">
                  <c:v>45270</c:v>
                </c:pt>
                <c:pt idx="36">
                  <c:v>45277</c:v>
                </c:pt>
                <c:pt idx="37">
                  <c:v>45284</c:v>
                </c:pt>
                <c:pt idx="38">
                  <c:v>45291</c:v>
                </c:pt>
                <c:pt idx="39">
                  <c:v>45298</c:v>
                </c:pt>
                <c:pt idx="40">
                  <c:v>45305</c:v>
                </c:pt>
                <c:pt idx="41">
                  <c:v>45312</c:v>
                </c:pt>
                <c:pt idx="42">
                  <c:v>45319</c:v>
                </c:pt>
                <c:pt idx="43">
                  <c:v>45326</c:v>
                </c:pt>
                <c:pt idx="44">
                  <c:v>45333</c:v>
                </c:pt>
                <c:pt idx="45">
                  <c:v>45340</c:v>
                </c:pt>
                <c:pt idx="46">
                  <c:v>45354</c:v>
                </c:pt>
                <c:pt idx="47">
                  <c:v>45396</c:v>
                </c:pt>
                <c:pt idx="48">
                  <c:v>45438</c:v>
                </c:pt>
                <c:pt idx="49">
                  <c:v>45445</c:v>
                </c:pt>
                <c:pt idx="50">
                  <c:v>45515</c:v>
                </c:pt>
                <c:pt idx="51">
                  <c:v>45543</c:v>
                </c:pt>
                <c:pt idx="52">
                  <c:v>45578</c:v>
                </c:pt>
                <c:pt idx="53">
                  <c:v>45585</c:v>
                </c:pt>
                <c:pt idx="54">
                  <c:v>45592</c:v>
                </c:pt>
                <c:pt idx="55">
                  <c:v>45599</c:v>
                </c:pt>
                <c:pt idx="56">
                  <c:v>45606</c:v>
                </c:pt>
                <c:pt idx="57">
                  <c:v>45613</c:v>
                </c:pt>
                <c:pt idx="58">
                  <c:v>45620</c:v>
                </c:pt>
                <c:pt idx="59">
                  <c:v>45627</c:v>
                </c:pt>
                <c:pt idx="60">
                  <c:v>45634</c:v>
                </c:pt>
                <c:pt idx="61">
                  <c:v>45641</c:v>
                </c:pt>
                <c:pt idx="62">
                  <c:v>45648</c:v>
                </c:pt>
                <c:pt idx="63">
                  <c:v>45655</c:v>
                </c:pt>
                <c:pt idx="64">
                  <c:v>45662</c:v>
                </c:pt>
                <c:pt idx="65">
                  <c:v>45669</c:v>
                </c:pt>
                <c:pt idx="66">
                  <c:v>45676</c:v>
                </c:pt>
              </c:numCache>
            </c:numRef>
          </c:cat>
          <c:val>
            <c:numRef>
              <c:f>Sheet1!$C$2:$C$68</c:f>
              <c:numCache>
                <c:formatCode>General</c:formatCode>
                <c:ptCount val="67"/>
                <c:pt idx="0">
                  <c:v>65934</c:v>
                </c:pt>
                <c:pt idx="1">
                  <c:v>66396</c:v>
                </c:pt>
                <c:pt idx="2">
                  <c:v>63096</c:v>
                </c:pt>
                <c:pt idx="3">
                  <c:v>59268</c:v>
                </c:pt>
                <c:pt idx="4">
                  <c:v>59971</c:v>
                </c:pt>
                <c:pt idx="5">
                  <c:v>65177</c:v>
                </c:pt>
                <c:pt idx="6">
                  <c:v>59897</c:v>
                </c:pt>
                <c:pt idx="7">
                  <c:v>60871</c:v>
                </c:pt>
                <c:pt idx="8">
                  <c:v>69217</c:v>
                </c:pt>
                <c:pt idx="9">
                  <c:v>62708</c:v>
                </c:pt>
                <c:pt idx="10">
                  <c:v>65546</c:v>
                </c:pt>
                <c:pt idx="11">
                  <c:v>66112</c:v>
                </c:pt>
                <c:pt idx="12">
                  <c:v>67837</c:v>
                </c:pt>
                <c:pt idx="13">
                  <c:v>74892</c:v>
                </c:pt>
                <c:pt idx="14">
                  <c:v>61387</c:v>
                </c:pt>
                <c:pt idx="15">
                  <c:v>62739</c:v>
                </c:pt>
                <c:pt idx="16">
                  <c:v>66217</c:v>
                </c:pt>
                <c:pt idx="17">
                  <c:v>77171</c:v>
                </c:pt>
                <c:pt idx="18">
                  <c:v>71576</c:v>
                </c:pt>
                <c:pt idx="19">
                  <c:v>70921</c:v>
                </c:pt>
                <c:pt idx="20">
                  <c:v>74655</c:v>
                </c:pt>
                <c:pt idx="21">
                  <c:v>67456</c:v>
                </c:pt>
                <c:pt idx="22">
                  <c:v>85723</c:v>
                </c:pt>
                <c:pt idx="23">
                  <c:v>89953</c:v>
                </c:pt>
                <c:pt idx="24">
                  <c:v>75170</c:v>
                </c:pt>
                <c:pt idx="25">
                  <c:v>68915</c:v>
                </c:pt>
                <c:pt idx="26">
                  <c:v>68645</c:v>
                </c:pt>
                <c:pt idx="27">
                  <c:v>60594</c:v>
                </c:pt>
                <c:pt idx="28">
                  <c:v>65182</c:v>
                </c:pt>
                <c:pt idx="29">
                  <c:v>62631</c:v>
                </c:pt>
                <c:pt idx="30">
                  <c:v>61641</c:v>
                </c:pt>
                <c:pt idx="31">
                  <c:v>70092</c:v>
                </c:pt>
                <c:pt idx="32">
                  <c:v>65121</c:v>
                </c:pt>
                <c:pt idx="33">
                  <c:v>62359</c:v>
                </c:pt>
                <c:pt idx="34">
                  <c:v>66067</c:v>
                </c:pt>
                <c:pt idx="35">
                  <c:v>68095</c:v>
                </c:pt>
                <c:pt idx="36">
                  <c:v>50389</c:v>
                </c:pt>
                <c:pt idx="37">
                  <c:v>50106</c:v>
                </c:pt>
                <c:pt idx="38">
                  <c:v>33236</c:v>
                </c:pt>
                <c:pt idx="39">
                  <c:v>33313</c:v>
                </c:pt>
                <c:pt idx="40">
                  <c:v>37637</c:v>
                </c:pt>
                <c:pt idx="41">
                  <c:v>64349</c:v>
                </c:pt>
                <c:pt idx="42">
                  <c:v>75192</c:v>
                </c:pt>
                <c:pt idx="43">
                  <c:v>79829</c:v>
                </c:pt>
                <c:pt idx="44">
                  <c:v>88015</c:v>
                </c:pt>
                <c:pt idx="45">
                  <c:v>76894</c:v>
                </c:pt>
                <c:pt idx="46">
                  <c:v>80616</c:v>
                </c:pt>
                <c:pt idx="47">
                  <c:v>66796</c:v>
                </c:pt>
                <c:pt idx="48">
                  <c:v>81617</c:v>
                </c:pt>
                <c:pt idx="49">
                  <c:v>88217</c:v>
                </c:pt>
                <c:pt idx="50">
                  <c:v>85783</c:v>
                </c:pt>
                <c:pt idx="51">
                  <c:v>84818</c:v>
                </c:pt>
                <c:pt idx="52">
                  <c:v>66002</c:v>
                </c:pt>
                <c:pt idx="53">
                  <c:v>63165</c:v>
                </c:pt>
                <c:pt idx="54">
                  <c:v>67202</c:v>
                </c:pt>
                <c:pt idx="55">
                  <c:v>73555</c:v>
                </c:pt>
                <c:pt idx="56">
                  <c:v>76100</c:v>
                </c:pt>
                <c:pt idx="57">
                  <c:v>71069</c:v>
                </c:pt>
                <c:pt idx="58">
                  <c:v>69944</c:v>
                </c:pt>
                <c:pt idx="59">
                  <c:v>68462</c:v>
                </c:pt>
                <c:pt idx="60">
                  <c:v>75628</c:v>
                </c:pt>
                <c:pt idx="61">
                  <c:v>72803</c:v>
                </c:pt>
                <c:pt idx="62">
                  <c:v>80848</c:v>
                </c:pt>
                <c:pt idx="63">
                  <c:v>88449</c:v>
                </c:pt>
                <c:pt idx="64">
                  <c:v>67012</c:v>
                </c:pt>
                <c:pt idx="65">
                  <c:v>63067</c:v>
                </c:pt>
                <c:pt idx="66">
                  <c:v>68585</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68</c:f>
              <c:numCache>
                <c:formatCode>yyyy\-mm\-dd</c:formatCode>
                <c:ptCount val="67"/>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109</c:v>
                </c:pt>
                <c:pt idx="21">
                  <c:v>45130</c:v>
                </c:pt>
                <c:pt idx="22">
                  <c:v>45172</c:v>
                </c:pt>
                <c:pt idx="23">
                  <c:v>45179</c:v>
                </c:pt>
                <c:pt idx="24">
                  <c:v>45193</c:v>
                </c:pt>
                <c:pt idx="25">
                  <c:v>45200</c:v>
                </c:pt>
                <c:pt idx="26">
                  <c:v>45207</c:v>
                </c:pt>
                <c:pt idx="27">
                  <c:v>45214</c:v>
                </c:pt>
                <c:pt idx="28">
                  <c:v>45221</c:v>
                </c:pt>
                <c:pt idx="29">
                  <c:v>45228</c:v>
                </c:pt>
                <c:pt idx="30">
                  <c:v>45235</c:v>
                </c:pt>
                <c:pt idx="31">
                  <c:v>45242</c:v>
                </c:pt>
                <c:pt idx="32">
                  <c:v>45249</c:v>
                </c:pt>
                <c:pt idx="33">
                  <c:v>45256</c:v>
                </c:pt>
                <c:pt idx="34">
                  <c:v>45263</c:v>
                </c:pt>
                <c:pt idx="35">
                  <c:v>45270</c:v>
                </c:pt>
                <c:pt idx="36">
                  <c:v>45277</c:v>
                </c:pt>
                <c:pt idx="37">
                  <c:v>45284</c:v>
                </c:pt>
                <c:pt idx="38">
                  <c:v>45291</c:v>
                </c:pt>
                <c:pt idx="39">
                  <c:v>45298</c:v>
                </c:pt>
                <c:pt idx="40">
                  <c:v>45305</c:v>
                </c:pt>
                <c:pt idx="41">
                  <c:v>45312</c:v>
                </c:pt>
                <c:pt idx="42">
                  <c:v>45319</c:v>
                </c:pt>
                <c:pt idx="43">
                  <c:v>45326</c:v>
                </c:pt>
                <c:pt idx="44">
                  <c:v>45333</c:v>
                </c:pt>
                <c:pt idx="45">
                  <c:v>45340</c:v>
                </c:pt>
                <c:pt idx="46">
                  <c:v>45354</c:v>
                </c:pt>
                <c:pt idx="47">
                  <c:v>45396</c:v>
                </c:pt>
                <c:pt idx="48">
                  <c:v>45438</c:v>
                </c:pt>
                <c:pt idx="49">
                  <c:v>45445</c:v>
                </c:pt>
                <c:pt idx="50">
                  <c:v>45515</c:v>
                </c:pt>
                <c:pt idx="51">
                  <c:v>45543</c:v>
                </c:pt>
                <c:pt idx="52">
                  <c:v>45578</c:v>
                </c:pt>
                <c:pt idx="53">
                  <c:v>45585</c:v>
                </c:pt>
                <c:pt idx="54">
                  <c:v>45592</c:v>
                </c:pt>
                <c:pt idx="55">
                  <c:v>45599</c:v>
                </c:pt>
                <c:pt idx="56">
                  <c:v>45606</c:v>
                </c:pt>
                <c:pt idx="57">
                  <c:v>45613</c:v>
                </c:pt>
                <c:pt idx="58">
                  <c:v>45620</c:v>
                </c:pt>
                <c:pt idx="59">
                  <c:v>45627</c:v>
                </c:pt>
                <c:pt idx="60">
                  <c:v>45634</c:v>
                </c:pt>
                <c:pt idx="61">
                  <c:v>45641</c:v>
                </c:pt>
                <c:pt idx="62">
                  <c:v>45648</c:v>
                </c:pt>
                <c:pt idx="63">
                  <c:v>45655</c:v>
                </c:pt>
                <c:pt idx="64">
                  <c:v>45662</c:v>
                </c:pt>
                <c:pt idx="65">
                  <c:v>45669</c:v>
                </c:pt>
                <c:pt idx="66">
                  <c:v>45676</c:v>
                </c:pt>
              </c:numCache>
            </c:numRef>
          </c:cat>
          <c:val>
            <c:numRef>
              <c:f>Sheet1!$D$2:$D$68</c:f>
              <c:numCache>
                <c:formatCode>General</c:formatCode>
                <c:ptCount val="67"/>
                <c:pt idx="0">
                  <c:v>108180</c:v>
                </c:pt>
                <c:pt idx="1">
                  <c:v>87317</c:v>
                </c:pt>
                <c:pt idx="2">
                  <c:v>85571</c:v>
                </c:pt>
                <c:pt idx="3">
                  <c:v>74245</c:v>
                </c:pt>
                <c:pt idx="4">
                  <c:v>70825</c:v>
                </c:pt>
                <c:pt idx="5">
                  <c:v>74529</c:v>
                </c:pt>
                <c:pt idx="6">
                  <c:v>72856</c:v>
                </c:pt>
                <c:pt idx="7">
                  <c:v>89992</c:v>
                </c:pt>
                <c:pt idx="8">
                  <c:v>81304</c:v>
                </c:pt>
                <c:pt idx="9">
                  <c:v>74776</c:v>
                </c:pt>
                <c:pt idx="10">
                  <c:v>91896</c:v>
                </c:pt>
                <c:pt idx="11">
                  <c:v>82479</c:v>
                </c:pt>
                <c:pt idx="12">
                  <c:v>76121</c:v>
                </c:pt>
                <c:pt idx="13">
                  <c:v>83366</c:v>
                </c:pt>
                <c:pt idx="14">
                  <c:v>74035</c:v>
                </c:pt>
                <c:pt idx="15">
                  <c:v>95664</c:v>
                </c:pt>
                <c:pt idx="16">
                  <c:v>78824</c:v>
                </c:pt>
                <c:pt idx="17">
                  <c:v>78761</c:v>
                </c:pt>
                <c:pt idx="18">
                  <c:v>74237</c:v>
                </c:pt>
                <c:pt idx="19">
                  <c:v>73301</c:v>
                </c:pt>
                <c:pt idx="20">
                  <c:v>75098</c:v>
                </c:pt>
                <c:pt idx="21">
                  <c:v>90202</c:v>
                </c:pt>
                <c:pt idx="22">
                  <c:v>91725</c:v>
                </c:pt>
                <c:pt idx="23">
                  <c:v>91773</c:v>
                </c:pt>
                <c:pt idx="24">
                  <c:v>75699</c:v>
                </c:pt>
                <c:pt idx="25">
                  <c:v>72354</c:v>
                </c:pt>
                <c:pt idx="26">
                  <c:v>75380</c:v>
                </c:pt>
                <c:pt idx="27">
                  <c:v>96240</c:v>
                </c:pt>
                <c:pt idx="28">
                  <c:v>103114</c:v>
                </c:pt>
                <c:pt idx="29">
                  <c:v>103822</c:v>
                </c:pt>
                <c:pt idx="30">
                  <c:v>109558</c:v>
                </c:pt>
                <c:pt idx="31">
                  <c:v>117223</c:v>
                </c:pt>
                <c:pt idx="32">
                  <c:v>120810</c:v>
                </c:pt>
                <c:pt idx="33">
                  <c:v>151443</c:v>
                </c:pt>
                <c:pt idx="34">
                  <c:v>154482</c:v>
                </c:pt>
                <c:pt idx="35">
                  <c:v>182046</c:v>
                </c:pt>
                <c:pt idx="36">
                  <c:v>220722</c:v>
                </c:pt>
                <c:pt idx="37">
                  <c:v>345507</c:v>
                </c:pt>
                <c:pt idx="38">
                  <c:v>325074</c:v>
                </c:pt>
                <c:pt idx="39">
                  <c:v>41011</c:v>
                </c:pt>
                <c:pt idx="40">
                  <c:v>48881</c:v>
                </c:pt>
                <c:pt idx="41">
                  <c:v>68860</c:v>
                </c:pt>
                <c:pt idx="42">
                  <c:v>77526</c:v>
                </c:pt>
                <c:pt idx="43">
                  <c:v>81285</c:v>
                </c:pt>
                <c:pt idx="44">
                  <c:v>89269</c:v>
                </c:pt>
                <c:pt idx="45">
                  <c:v>88144</c:v>
                </c:pt>
                <c:pt idx="46">
                  <c:v>100625</c:v>
                </c:pt>
                <c:pt idx="47">
                  <c:v>86133</c:v>
                </c:pt>
                <c:pt idx="48">
                  <c:v>101291</c:v>
                </c:pt>
                <c:pt idx="49">
                  <c:v>88315</c:v>
                </c:pt>
                <c:pt idx="50">
                  <c:v>89882</c:v>
                </c:pt>
                <c:pt idx="51">
                  <c:v>85522</c:v>
                </c:pt>
                <c:pt idx="52">
                  <c:v>85903</c:v>
                </c:pt>
                <c:pt idx="53">
                  <c:v>101387</c:v>
                </c:pt>
                <c:pt idx="54">
                  <c:v>104737</c:v>
                </c:pt>
                <c:pt idx="55">
                  <c:v>108516</c:v>
                </c:pt>
                <c:pt idx="56">
                  <c:v>120405</c:v>
                </c:pt>
                <c:pt idx="57">
                  <c:v>124600</c:v>
                </c:pt>
                <c:pt idx="58">
                  <c:v>136437</c:v>
                </c:pt>
                <c:pt idx="59">
                  <c:v>175657</c:v>
                </c:pt>
                <c:pt idx="60">
                  <c:v>193429</c:v>
                </c:pt>
                <c:pt idx="61">
                  <c:v>235585</c:v>
                </c:pt>
                <c:pt idx="62">
                  <c:v>335940</c:v>
                </c:pt>
                <c:pt idx="63">
                  <c:v>546023</c:v>
                </c:pt>
                <c:pt idx="64">
                  <c:v>75766</c:v>
                </c:pt>
                <c:pt idx="65">
                  <c:v>65103</c:v>
                </c:pt>
                <c:pt idx="66">
                  <c:v>69669</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68</c:f>
              <c:numCache>
                <c:formatCode>yyyy\-mm\-dd</c:formatCode>
                <c:ptCount val="67"/>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109</c:v>
                </c:pt>
                <c:pt idx="21">
                  <c:v>45130</c:v>
                </c:pt>
                <c:pt idx="22">
                  <c:v>45172</c:v>
                </c:pt>
                <c:pt idx="23">
                  <c:v>45179</c:v>
                </c:pt>
                <c:pt idx="24">
                  <c:v>45193</c:v>
                </c:pt>
                <c:pt idx="25">
                  <c:v>45200</c:v>
                </c:pt>
                <c:pt idx="26">
                  <c:v>45207</c:v>
                </c:pt>
                <c:pt idx="27">
                  <c:v>45214</c:v>
                </c:pt>
                <c:pt idx="28">
                  <c:v>45221</c:v>
                </c:pt>
                <c:pt idx="29">
                  <c:v>45228</c:v>
                </c:pt>
                <c:pt idx="30">
                  <c:v>45235</c:v>
                </c:pt>
                <c:pt idx="31">
                  <c:v>45242</c:v>
                </c:pt>
                <c:pt idx="32">
                  <c:v>45249</c:v>
                </c:pt>
                <c:pt idx="33">
                  <c:v>45256</c:v>
                </c:pt>
                <c:pt idx="34">
                  <c:v>45263</c:v>
                </c:pt>
                <c:pt idx="35">
                  <c:v>45270</c:v>
                </c:pt>
                <c:pt idx="36">
                  <c:v>45277</c:v>
                </c:pt>
                <c:pt idx="37">
                  <c:v>45284</c:v>
                </c:pt>
                <c:pt idx="38">
                  <c:v>45291</c:v>
                </c:pt>
                <c:pt idx="39">
                  <c:v>45298</c:v>
                </c:pt>
                <c:pt idx="40">
                  <c:v>45305</c:v>
                </c:pt>
                <c:pt idx="41">
                  <c:v>45312</c:v>
                </c:pt>
                <c:pt idx="42">
                  <c:v>45319</c:v>
                </c:pt>
                <c:pt idx="43">
                  <c:v>45326</c:v>
                </c:pt>
                <c:pt idx="44">
                  <c:v>45333</c:v>
                </c:pt>
                <c:pt idx="45">
                  <c:v>45340</c:v>
                </c:pt>
                <c:pt idx="46">
                  <c:v>45354</c:v>
                </c:pt>
                <c:pt idx="47">
                  <c:v>45396</c:v>
                </c:pt>
                <c:pt idx="48">
                  <c:v>45438</c:v>
                </c:pt>
                <c:pt idx="49">
                  <c:v>45445</c:v>
                </c:pt>
                <c:pt idx="50">
                  <c:v>45515</c:v>
                </c:pt>
                <c:pt idx="51">
                  <c:v>45543</c:v>
                </c:pt>
                <c:pt idx="52">
                  <c:v>45578</c:v>
                </c:pt>
                <c:pt idx="53">
                  <c:v>45585</c:v>
                </c:pt>
                <c:pt idx="54">
                  <c:v>45592</c:v>
                </c:pt>
                <c:pt idx="55">
                  <c:v>45599</c:v>
                </c:pt>
                <c:pt idx="56">
                  <c:v>45606</c:v>
                </c:pt>
                <c:pt idx="57">
                  <c:v>45613</c:v>
                </c:pt>
                <c:pt idx="58">
                  <c:v>45620</c:v>
                </c:pt>
                <c:pt idx="59">
                  <c:v>45627</c:v>
                </c:pt>
                <c:pt idx="60">
                  <c:v>45634</c:v>
                </c:pt>
                <c:pt idx="61">
                  <c:v>45641</c:v>
                </c:pt>
                <c:pt idx="62">
                  <c:v>45648</c:v>
                </c:pt>
                <c:pt idx="63">
                  <c:v>45655</c:v>
                </c:pt>
                <c:pt idx="64">
                  <c:v>45662</c:v>
                </c:pt>
                <c:pt idx="65">
                  <c:v>45669</c:v>
                </c:pt>
                <c:pt idx="66">
                  <c:v>45676</c:v>
                </c:pt>
              </c:numCache>
            </c:numRef>
          </c:cat>
          <c:val>
            <c:numRef>
              <c:f>Sheet1!$E$2:$E$68</c:f>
              <c:numCache>
                <c:formatCode>General</c:formatCode>
                <c:ptCount val="67"/>
                <c:pt idx="0">
                  <c:v>69564</c:v>
                </c:pt>
                <c:pt idx="1">
                  <c:v>69016</c:v>
                </c:pt>
                <c:pt idx="2">
                  <c:v>69293</c:v>
                </c:pt>
                <c:pt idx="3">
                  <c:v>69778</c:v>
                </c:pt>
                <c:pt idx="4">
                  <c:v>71429</c:v>
                </c:pt>
                <c:pt idx="5">
                  <c:v>72981</c:v>
                </c:pt>
                <c:pt idx="6">
                  <c:v>73767</c:v>
                </c:pt>
                <c:pt idx="7">
                  <c:v>76072</c:v>
                </c:pt>
                <c:pt idx="8">
                  <c:v>77969</c:v>
                </c:pt>
                <c:pt idx="9">
                  <c:v>79362</c:v>
                </c:pt>
                <c:pt idx="10">
                  <c:v>78529</c:v>
                </c:pt>
                <c:pt idx="11">
                  <c:v>78806</c:v>
                </c:pt>
                <c:pt idx="12">
                  <c:v>79621</c:v>
                </c:pt>
                <c:pt idx="13">
                  <c:v>79395</c:v>
                </c:pt>
                <c:pt idx="14">
                  <c:v>81401</c:v>
                </c:pt>
                <c:pt idx="15">
                  <c:v>79721</c:v>
                </c:pt>
                <c:pt idx="16">
                  <c:v>78391</c:v>
                </c:pt>
                <c:pt idx="17">
                  <c:v>79389</c:v>
                </c:pt>
                <c:pt idx="18">
                  <c:v>78965</c:v>
                </c:pt>
                <c:pt idx="19">
                  <c:v>79043</c:v>
                </c:pt>
                <c:pt idx="20">
                  <c:v>77996</c:v>
                </c:pt>
                <c:pt idx="21">
                  <c:v>79890</c:v>
                </c:pt>
                <c:pt idx="22">
                  <c:v>82777</c:v>
                </c:pt>
                <c:pt idx="23">
                  <c:v>81420</c:v>
                </c:pt>
                <c:pt idx="24">
                  <c:v>80857</c:v>
                </c:pt>
                <c:pt idx="25">
                  <c:v>79667</c:v>
                </c:pt>
                <c:pt idx="26">
                  <c:v>76834</c:v>
                </c:pt>
                <c:pt idx="27">
                  <c:v>92399</c:v>
                </c:pt>
                <c:pt idx="28">
                  <c:v>104151</c:v>
                </c:pt>
                <c:pt idx="29">
                  <c:v>104652</c:v>
                </c:pt>
                <c:pt idx="30">
                  <c:v>108249</c:v>
                </c:pt>
                <c:pt idx="31">
                  <c:v>108810</c:v>
                </c:pt>
                <c:pt idx="32">
                  <c:v>107703</c:v>
                </c:pt>
                <c:pt idx="33">
                  <c:v>107432</c:v>
                </c:pt>
                <c:pt idx="34">
                  <c:v>109043</c:v>
                </c:pt>
                <c:pt idx="35">
                  <c:v>105515</c:v>
                </c:pt>
                <c:pt idx="36">
                  <c:v>100990</c:v>
                </c:pt>
                <c:pt idx="37">
                  <c:v>97772</c:v>
                </c:pt>
                <c:pt idx="38">
                  <c:v>113892</c:v>
                </c:pt>
                <c:pt idx="39">
                  <c:v>86299</c:v>
                </c:pt>
                <c:pt idx="40">
                  <c:v>72313</c:v>
                </c:pt>
                <c:pt idx="41">
                  <c:v>63813</c:v>
                </c:pt>
                <c:pt idx="42">
                  <c:v>63229</c:v>
                </c:pt>
                <c:pt idx="43">
                  <c:v>72657</c:v>
                </c:pt>
                <c:pt idx="44">
                  <c:v>82231</c:v>
                </c:pt>
                <c:pt idx="45">
                  <c:v>87943</c:v>
                </c:pt>
                <c:pt idx="46">
                  <c:v>93686</c:v>
                </c:pt>
                <c:pt idx="47">
                  <c:v>92364</c:v>
                </c:pt>
                <c:pt idx="48">
                  <c:v>90845</c:v>
                </c:pt>
                <c:pt idx="49">
                  <c:v>91431</c:v>
                </c:pt>
                <c:pt idx="50">
                  <c:v>90891</c:v>
                </c:pt>
                <c:pt idx="51">
                  <c:v>84395</c:v>
                </c:pt>
                <c:pt idx="52">
                  <c:v>89794</c:v>
                </c:pt>
                <c:pt idx="53">
                  <c:v>92649</c:v>
                </c:pt>
                <c:pt idx="54">
                  <c:v>95173</c:v>
                </c:pt>
                <c:pt idx="55">
                  <c:v>99206</c:v>
                </c:pt>
                <c:pt idx="56">
                  <c:v>99593</c:v>
                </c:pt>
                <c:pt idx="57">
                  <c:v>104346</c:v>
                </c:pt>
                <c:pt idx="58">
                  <c:v>106570</c:v>
                </c:pt>
                <c:pt idx="59">
                  <c:v>109133</c:v>
                </c:pt>
                <c:pt idx="60">
                  <c:v>109338</c:v>
                </c:pt>
                <c:pt idx="61">
                  <c:v>88019</c:v>
                </c:pt>
                <c:pt idx="62">
                  <c:v>78679</c:v>
                </c:pt>
                <c:pt idx="63">
                  <c:v>76518</c:v>
                </c:pt>
                <c:pt idx="64">
                  <c:v>80791</c:v>
                </c:pt>
                <c:pt idx="65">
                  <c:v>74931</c:v>
                </c:pt>
                <c:pt idx="66">
                  <c:v>71907</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68</c:f>
              <c:numCache>
                <c:formatCode>yyyy\-mm\-dd</c:formatCode>
                <c:ptCount val="67"/>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109</c:v>
                </c:pt>
                <c:pt idx="21">
                  <c:v>45130</c:v>
                </c:pt>
                <c:pt idx="22">
                  <c:v>45172</c:v>
                </c:pt>
                <c:pt idx="23">
                  <c:v>45179</c:v>
                </c:pt>
                <c:pt idx="24">
                  <c:v>45193</c:v>
                </c:pt>
                <c:pt idx="25">
                  <c:v>45200</c:v>
                </c:pt>
                <c:pt idx="26">
                  <c:v>45207</c:v>
                </c:pt>
                <c:pt idx="27">
                  <c:v>45214</c:v>
                </c:pt>
                <c:pt idx="28">
                  <c:v>45221</c:v>
                </c:pt>
                <c:pt idx="29">
                  <c:v>45228</c:v>
                </c:pt>
                <c:pt idx="30">
                  <c:v>45235</c:v>
                </c:pt>
                <c:pt idx="31">
                  <c:v>45242</c:v>
                </c:pt>
                <c:pt idx="32">
                  <c:v>45249</c:v>
                </c:pt>
                <c:pt idx="33">
                  <c:v>45256</c:v>
                </c:pt>
                <c:pt idx="34">
                  <c:v>45263</c:v>
                </c:pt>
                <c:pt idx="35">
                  <c:v>45270</c:v>
                </c:pt>
                <c:pt idx="36">
                  <c:v>45277</c:v>
                </c:pt>
                <c:pt idx="37">
                  <c:v>45284</c:v>
                </c:pt>
                <c:pt idx="38">
                  <c:v>45291</c:v>
                </c:pt>
                <c:pt idx="39">
                  <c:v>45298</c:v>
                </c:pt>
                <c:pt idx="40">
                  <c:v>45305</c:v>
                </c:pt>
                <c:pt idx="41">
                  <c:v>45312</c:v>
                </c:pt>
                <c:pt idx="42">
                  <c:v>45319</c:v>
                </c:pt>
                <c:pt idx="43">
                  <c:v>45326</c:v>
                </c:pt>
                <c:pt idx="44">
                  <c:v>45333</c:v>
                </c:pt>
                <c:pt idx="45">
                  <c:v>45340</c:v>
                </c:pt>
                <c:pt idx="46">
                  <c:v>45354</c:v>
                </c:pt>
                <c:pt idx="47">
                  <c:v>45396</c:v>
                </c:pt>
                <c:pt idx="48">
                  <c:v>45438</c:v>
                </c:pt>
                <c:pt idx="49">
                  <c:v>45445</c:v>
                </c:pt>
                <c:pt idx="50">
                  <c:v>45515</c:v>
                </c:pt>
                <c:pt idx="51">
                  <c:v>45543</c:v>
                </c:pt>
                <c:pt idx="52">
                  <c:v>45578</c:v>
                </c:pt>
                <c:pt idx="53">
                  <c:v>45585</c:v>
                </c:pt>
                <c:pt idx="54">
                  <c:v>45592</c:v>
                </c:pt>
                <c:pt idx="55">
                  <c:v>45599</c:v>
                </c:pt>
                <c:pt idx="56">
                  <c:v>45606</c:v>
                </c:pt>
                <c:pt idx="57">
                  <c:v>45613</c:v>
                </c:pt>
                <c:pt idx="58">
                  <c:v>45620</c:v>
                </c:pt>
                <c:pt idx="59">
                  <c:v>45627</c:v>
                </c:pt>
                <c:pt idx="60">
                  <c:v>45634</c:v>
                </c:pt>
                <c:pt idx="61">
                  <c:v>45641</c:v>
                </c:pt>
                <c:pt idx="62">
                  <c:v>45648</c:v>
                </c:pt>
                <c:pt idx="63">
                  <c:v>45655</c:v>
                </c:pt>
                <c:pt idx="64">
                  <c:v>45662</c:v>
                </c:pt>
                <c:pt idx="65">
                  <c:v>45669</c:v>
                </c:pt>
                <c:pt idx="66">
                  <c:v>45676</c:v>
                </c:pt>
              </c:numCache>
            </c:numRef>
          </c:cat>
          <c:val>
            <c:numRef>
              <c:f>Sheet1!$F$2:$F$68</c:f>
              <c:numCache>
                <c:formatCode>General</c:formatCode>
                <c:ptCount val="67"/>
                <c:pt idx="0">
                  <c:v>0.64</c:v>
                </c:pt>
                <c:pt idx="1">
                  <c:v>0.44</c:v>
                </c:pt>
                <c:pt idx="2">
                  <c:v>0.43</c:v>
                </c:pt>
                <c:pt idx="3">
                  <c:v>0.35</c:v>
                </c:pt>
                <c:pt idx="4">
                  <c:v>0.26</c:v>
                </c:pt>
                <c:pt idx="5">
                  <c:v>0.21</c:v>
                </c:pt>
                <c:pt idx="6">
                  <c:v>0.22</c:v>
                </c:pt>
                <c:pt idx="7">
                  <c:v>0.38</c:v>
                </c:pt>
                <c:pt idx="8">
                  <c:v>0.17</c:v>
                </c:pt>
                <c:pt idx="9">
                  <c:v>0.19</c:v>
                </c:pt>
                <c:pt idx="10">
                  <c:v>0.33</c:v>
                </c:pt>
                <c:pt idx="11">
                  <c:v>0.22</c:v>
                </c:pt>
                <c:pt idx="12">
                  <c:v>0.14000000000000001</c:v>
                </c:pt>
                <c:pt idx="13">
                  <c:v>0.12</c:v>
                </c:pt>
                <c:pt idx="14">
                  <c:v>0.2</c:v>
                </c:pt>
                <c:pt idx="15">
                  <c:v>0.38</c:v>
                </c:pt>
                <c:pt idx="16">
                  <c:v>0.19</c:v>
                </c:pt>
                <c:pt idx="17">
                  <c:v>0.04</c:v>
                </c:pt>
                <c:pt idx="18">
                  <c:v>0.06</c:v>
                </c:pt>
                <c:pt idx="19">
                  <c:v>0.05</c:v>
                </c:pt>
                <c:pt idx="20">
                  <c:v>0.01</c:v>
                </c:pt>
                <c:pt idx="21">
                  <c:v>0.27</c:v>
                </c:pt>
                <c:pt idx="22">
                  <c:v>0.08</c:v>
                </c:pt>
                <c:pt idx="23">
                  <c:v>0.02</c:v>
                </c:pt>
                <c:pt idx="24">
                  <c:v>0.01</c:v>
                </c:pt>
                <c:pt idx="25">
                  <c:v>0.05</c:v>
                </c:pt>
                <c:pt idx="26">
                  <c:v>0.1</c:v>
                </c:pt>
                <c:pt idx="27">
                  <c:v>0.43</c:v>
                </c:pt>
                <c:pt idx="28">
                  <c:v>0.45</c:v>
                </c:pt>
                <c:pt idx="29">
                  <c:v>0.48</c:v>
                </c:pt>
                <c:pt idx="30">
                  <c:v>0.52</c:v>
                </c:pt>
                <c:pt idx="31">
                  <c:v>0.49</c:v>
                </c:pt>
                <c:pt idx="32">
                  <c:v>0.55000000000000004</c:v>
                </c:pt>
                <c:pt idx="33">
                  <c:v>0.67</c:v>
                </c:pt>
                <c:pt idx="34">
                  <c:v>0.66</c:v>
                </c:pt>
                <c:pt idx="35">
                  <c:v>0.7</c:v>
                </c:pt>
                <c:pt idx="36">
                  <c:v>0.83</c:v>
                </c:pt>
                <c:pt idx="37">
                  <c:v>0.89</c:v>
                </c:pt>
                <c:pt idx="38">
                  <c:v>0.95</c:v>
                </c:pt>
                <c:pt idx="39">
                  <c:v>0.37</c:v>
                </c:pt>
                <c:pt idx="40">
                  <c:v>0.32</c:v>
                </c:pt>
                <c:pt idx="41">
                  <c:v>0.12</c:v>
                </c:pt>
                <c:pt idx="42">
                  <c:v>0.06</c:v>
                </c:pt>
                <c:pt idx="43">
                  <c:v>0.03</c:v>
                </c:pt>
                <c:pt idx="44">
                  <c:v>0.03</c:v>
                </c:pt>
                <c:pt idx="45">
                  <c:v>0.15</c:v>
                </c:pt>
                <c:pt idx="46">
                  <c:v>0.23</c:v>
                </c:pt>
                <c:pt idx="47">
                  <c:v>0.25</c:v>
                </c:pt>
                <c:pt idx="48">
                  <c:v>0.22</c:v>
                </c:pt>
                <c:pt idx="49">
                  <c:v>0</c:v>
                </c:pt>
                <c:pt idx="50">
                  <c:v>0.05</c:v>
                </c:pt>
                <c:pt idx="51">
                  <c:v>0.01</c:v>
                </c:pt>
                <c:pt idx="52">
                  <c:v>0.25</c:v>
                </c:pt>
                <c:pt idx="53">
                  <c:v>0.4</c:v>
                </c:pt>
                <c:pt idx="54">
                  <c:v>0.37</c:v>
                </c:pt>
                <c:pt idx="55">
                  <c:v>0.32</c:v>
                </c:pt>
                <c:pt idx="56">
                  <c:v>0.36</c:v>
                </c:pt>
                <c:pt idx="57">
                  <c:v>0.43</c:v>
                </c:pt>
                <c:pt idx="58">
                  <c:v>0.48</c:v>
                </c:pt>
                <c:pt idx="59">
                  <c:v>0.61</c:v>
                </c:pt>
                <c:pt idx="60">
                  <c:v>0.61</c:v>
                </c:pt>
                <c:pt idx="61">
                  <c:v>0.69</c:v>
                </c:pt>
                <c:pt idx="62">
                  <c:v>0.76</c:v>
                </c:pt>
                <c:pt idx="63">
                  <c:v>0.89</c:v>
                </c:pt>
                <c:pt idx="64">
                  <c:v>0.24</c:v>
                </c:pt>
                <c:pt idx="65">
                  <c:v>7.0000000000000007E-2</c:v>
                </c:pt>
                <c:pt idx="66">
                  <c:v>0.04</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70</c:f>
              <c:numCache>
                <c:formatCode>yyyy\-mm\-dd</c:formatCode>
                <c:ptCount val="69"/>
                <c:pt idx="0">
                  <c:v>44934</c:v>
                </c:pt>
                <c:pt idx="1">
                  <c:v>44941</c:v>
                </c:pt>
                <c:pt idx="2">
                  <c:v>44948</c:v>
                </c:pt>
                <c:pt idx="3">
                  <c:v>44955</c:v>
                </c:pt>
                <c:pt idx="4">
                  <c:v>44962</c:v>
                </c:pt>
                <c:pt idx="5">
                  <c:v>44969</c:v>
                </c:pt>
                <c:pt idx="6">
                  <c:v>44976</c:v>
                </c:pt>
                <c:pt idx="7">
                  <c:v>44983</c:v>
                </c:pt>
                <c:pt idx="8">
                  <c:v>44990</c:v>
                </c:pt>
                <c:pt idx="9">
                  <c:v>44997</c:v>
                </c:pt>
                <c:pt idx="10">
                  <c:v>45011</c:v>
                </c:pt>
                <c:pt idx="11">
                  <c:v>45130</c:v>
                </c:pt>
                <c:pt idx="12">
                  <c:v>45277</c:v>
                </c:pt>
                <c:pt idx="13">
                  <c:v>45284</c:v>
                </c:pt>
                <c:pt idx="14">
                  <c:v>45291</c:v>
                </c:pt>
                <c:pt idx="15">
                  <c:v>45298</c:v>
                </c:pt>
                <c:pt idx="16">
                  <c:v>45305</c:v>
                </c:pt>
                <c:pt idx="17">
                  <c:v>45312</c:v>
                </c:pt>
                <c:pt idx="18">
                  <c:v>45319</c:v>
                </c:pt>
                <c:pt idx="19">
                  <c:v>45326</c:v>
                </c:pt>
                <c:pt idx="20">
                  <c:v>45333</c:v>
                </c:pt>
                <c:pt idx="21">
                  <c:v>45340</c:v>
                </c:pt>
                <c:pt idx="22">
                  <c:v>45347</c:v>
                </c:pt>
                <c:pt idx="23">
                  <c:v>45354</c:v>
                </c:pt>
                <c:pt idx="24">
                  <c:v>45361</c:v>
                </c:pt>
                <c:pt idx="25">
                  <c:v>45368</c:v>
                </c:pt>
                <c:pt idx="26">
                  <c:v>45375</c:v>
                </c:pt>
                <c:pt idx="27">
                  <c:v>45382</c:v>
                </c:pt>
                <c:pt idx="28">
                  <c:v>45389</c:v>
                </c:pt>
                <c:pt idx="29">
                  <c:v>45396</c:v>
                </c:pt>
                <c:pt idx="30">
                  <c:v>45403</c:v>
                </c:pt>
                <c:pt idx="31">
                  <c:v>45410</c:v>
                </c:pt>
                <c:pt idx="32">
                  <c:v>45417</c:v>
                </c:pt>
                <c:pt idx="33">
                  <c:v>45424</c:v>
                </c:pt>
                <c:pt idx="34">
                  <c:v>45431</c:v>
                </c:pt>
                <c:pt idx="35">
                  <c:v>45438</c:v>
                </c:pt>
                <c:pt idx="36">
                  <c:v>45445</c:v>
                </c:pt>
                <c:pt idx="37">
                  <c:v>45452</c:v>
                </c:pt>
                <c:pt idx="38">
                  <c:v>45459</c:v>
                </c:pt>
                <c:pt idx="39">
                  <c:v>45466</c:v>
                </c:pt>
                <c:pt idx="40">
                  <c:v>45473</c:v>
                </c:pt>
                <c:pt idx="41">
                  <c:v>45480</c:v>
                </c:pt>
                <c:pt idx="42">
                  <c:v>45487</c:v>
                </c:pt>
                <c:pt idx="43">
                  <c:v>45494</c:v>
                </c:pt>
                <c:pt idx="44">
                  <c:v>45501</c:v>
                </c:pt>
                <c:pt idx="45">
                  <c:v>45508</c:v>
                </c:pt>
                <c:pt idx="46">
                  <c:v>45515</c:v>
                </c:pt>
                <c:pt idx="47">
                  <c:v>45522</c:v>
                </c:pt>
                <c:pt idx="48">
                  <c:v>45529</c:v>
                </c:pt>
                <c:pt idx="49">
                  <c:v>45536</c:v>
                </c:pt>
                <c:pt idx="50">
                  <c:v>45550</c:v>
                </c:pt>
                <c:pt idx="51">
                  <c:v>45564</c:v>
                </c:pt>
                <c:pt idx="52">
                  <c:v>45571</c:v>
                </c:pt>
                <c:pt idx="53">
                  <c:v>45578</c:v>
                </c:pt>
                <c:pt idx="54">
                  <c:v>45585</c:v>
                </c:pt>
                <c:pt idx="55">
                  <c:v>45592</c:v>
                </c:pt>
                <c:pt idx="56">
                  <c:v>45599</c:v>
                </c:pt>
                <c:pt idx="57">
                  <c:v>45606</c:v>
                </c:pt>
                <c:pt idx="58">
                  <c:v>45613</c:v>
                </c:pt>
                <c:pt idx="59">
                  <c:v>45620</c:v>
                </c:pt>
                <c:pt idx="60">
                  <c:v>45627</c:v>
                </c:pt>
                <c:pt idx="61">
                  <c:v>45634</c:v>
                </c:pt>
                <c:pt idx="62">
                  <c:v>45641</c:v>
                </c:pt>
                <c:pt idx="63">
                  <c:v>45648</c:v>
                </c:pt>
                <c:pt idx="64">
                  <c:v>45655</c:v>
                </c:pt>
                <c:pt idx="65">
                  <c:v>45662</c:v>
                </c:pt>
                <c:pt idx="66">
                  <c:v>45669</c:v>
                </c:pt>
                <c:pt idx="67">
                  <c:v>45676</c:v>
                </c:pt>
                <c:pt idx="68">
                  <c:v>45683</c:v>
                </c:pt>
              </c:numCache>
            </c:numRef>
          </c:cat>
          <c:val>
            <c:numRef>
              <c:f>Sheet1!$B$2:$B$70</c:f>
              <c:numCache>
                <c:formatCode>General</c:formatCode>
                <c:ptCount val="69"/>
                <c:pt idx="0">
                  <c:v>28597</c:v>
                </c:pt>
                <c:pt idx="1">
                  <c:v>12860</c:v>
                </c:pt>
                <c:pt idx="2">
                  <c:v>8507</c:v>
                </c:pt>
                <c:pt idx="3">
                  <c:v>4896</c:v>
                </c:pt>
                <c:pt idx="4">
                  <c:v>2850</c:v>
                </c:pt>
                <c:pt idx="5">
                  <c:v>18740</c:v>
                </c:pt>
                <c:pt idx="6">
                  <c:v>25415</c:v>
                </c:pt>
                <c:pt idx="7">
                  <c:v>29182</c:v>
                </c:pt>
                <c:pt idx="8">
                  <c:v>22078</c:v>
                </c:pt>
                <c:pt idx="9">
                  <c:v>22795</c:v>
                </c:pt>
                <c:pt idx="10">
                  <c:v>23510</c:v>
                </c:pt>
                <c:pt idx="11">
                  <c:v>35191</c:v>
                </c:pt>
                <c:pt idx="12">
                  <c:v>15550</c:v>
                </c:pt>
                <c:pt idx="13">
                  <c:v>16347</c:v>
                </c:pt>
                <c:pt idx="14">
                  <c:v>8766</c:v>
                </c:pt>
                <c:pt idx="15">
                  <c:v>6839</c:v>
                </c:pt>
                <c:pt idx="16">
                  <c:v>21150</c:v>
                </c:pt>
                <c:pt idx="17">
                  <c:v>12515</c:v>
                </c:pt>
                <c:pt idx="18">
                  <c:v>6282</c:v>
                </c:pt>
                <c:pt idx="19">
                  <c:v>37420</c:v>
                </c:pt>
                <c:pt idx="20">
                  <c:v>70149</c:v>
                </c:pt>
                <c:pt idx="21">
                  <c:v>74639</c:v>
                </c:pt>
                <c:pt idx="22">
                  <c:v>109179</c:v>
                </c:pt>
                <c:pt idx="23">
                  <c:v>103880</c:v>
                </c:pt>
                <c:pt idx="24">
                  <c:v>96851</c:v>
                </c:pt>
                <c:pt idx="25">
                  <c:v>73370</c:v>
                </c:pt>
                <c:pt idx="26">
                  <c:v>42596</c:v>
                </c:pt>
                <c:pt idx="27">
                  <c:v>41190</c:v>
                </c:pt>
                <c:pt idx="28">
                  <c:v>42541</c:v>
                </c:pt>
                <c:pt idx="29">
                  <c:v>39167</c:v>
                </c:pt>
                <c:pt idx="30">
                  <c:v>35945</c:v>
                </c:pt>
                <c:pt idx="31">
                  <c:v>32895</c:v>
                </c:pt>
                <c:pt idx="32">
                  <c:v>35262</c:v>
                </c:pt>
                <c:pt idx="33">
                  <c:v>34147</c:v>
                </c:pt>
                <c:pt idx="34">
                  <c:v>30459</c:v>
                </c:pt>
                <c:pt idx="35">
                  <c:v>15468</c:v>
                </c:pt>
                <c:pt idx="36">
                  <c:v>419</c:v>
                </c:pt>
                <c:pt idx="37">
                  <c:v>269</c:v>
                </c:pt>
                <c:pt idx="38">
                  <c:v>365</c:v>
                </c:pt>
                <c:pt idx="39">
                  <c:v>1356</c:v>
                </c:pt>
                <c:pt idx="40">
                  <c:v>312</c:v>
                </c:pt>
                <c:pt idx="41">
                  <c:v>443</c:v>
                </c:pt>
                <c:pt idx="42">
                  <c:v>18918</c:v>
                </c:pt>
                <c:pt idx="43">
                  <c:v>35479</c:v>
                </c:pt>
                <c:pt idx="44">
                  <c:v>35606</c:v>
                </c:pt>
                <c:pt idx="45">
                  <c:v>34517</c:v>
                </c:pt>
                <c:pt idx="46">
                  <c:v>10292</c:v>
                </c:pt>
                <c:pt idx="47">
                  <c:v>8547</c:v>
                </c:pt>
                <c:pt idx="48">
                  <c:v>172</c:v>
                </c:pt>
                <c:pt idx="49">
                  <c:v>5721</c:v>
                </c:pt>
                <c:pt idx="50">
                  <c:v>396</c:v>
                </c:pt>
                <c:pt idx="51">
                  <c:v>9982</c:v>
                </c:pt>
                <c:pt idx="52">
                  <c:v>21579</c:v>
                </c:pt>
                <c:pt idx="53">
                  <c:v>34603</c:v>
                </c:pt>
                <c:pt idx="54">
                  <c:v>44083</c:v>
                </c:pt>
                <c:pt idx="55">
                  <c:v>20833</c:v>
                </c:pt>
                <c:pt idx="56">
                  <c:v>260</c:v>
                </c:pt>
                <c:pt idx="57">
                  <c:v>391</c:v>
                </c:pt>
                <c:pt idx="58">
                  <c:v>50325</c:v>
                </c:pt>
                <c:pt idx="59">
                  <c:v>158964</c:v>
                </c:pt>
                <c:pt idx="60">
                  <c:v>153082</c:v>
                </c:pt>
                <c:pt idx="61">
                  <c:v>168880</c:v>
                </c:pt>
                <c:pt idx="62">
                  <c:v>171953</c:v>
                </c:pt>
                <c:pt idx="63">
                  <c:v>187092</c:v>
                </c:pt>
                <c:pt idx="64">
                  <c:v>158434</c:v>
                </c:pt>
                <c:pt idx="65">
                  <c:v>164477</c:v>
                </c:pt>
                <c:pt idx="66">
                  <c:v>150502</c:v>
                </c:pt>
                <c:pt idx="67">
                  <c:v>150072</c:v>
                </c:pt>
                <c:pt idx="68">
                  <c:v>135088</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70</c:f>
              <c:numCache>
                <c:formatCode>yyyy\-mm\-dd</c:formatCode>
                <c:ptCount val="69"/>
                <c:pt idx="0">
                  <c:v>44934</c:v>
                </c:pt>
                <c:pt idx="1">
                  <c:v>44941</c:v>
                </c:pt>
                <c:pt idx="2">
                  <c:v>44948</c:v>
                </c:pt>
                <c:pt idx="3">
                  <c:v>44955</c:v>
                </c:pt>
                <c:pt idx="4">
                  <c:v>44962</c:v>
                </c:pt>
                <c:pt idx="5">
                  <c:v>44969</c:v>
                </c:pt>
                <c:pt idx="6">
                  <c:v>44976</c:v>
                </c:pt>
                <c:pt idx="7">
                  <c:v>44983</c:v>
                </c:pt>
                <c:pt idx="8">
                  <c:v>44990</c:v>
                </c:pt>
                <c:pt idx="9">
                  <c:v>44997</c:v>
                </c:pt>
                <c:pt idx="10">
                  <c:v>45011</c:v>
                </c:pt>
                <c:pt idx="11">
                  <c:v>45130</c:v>
                </c:pt>
                <c:pt idx="12">
                  <c:v>45277</c:v>
                </c:pt>
                <c:pt idx="13">
                  <c:v>45284</c:v>
                </c:pt>
                <c:pt idx="14">
                  <c:v>45291</c:v>
                </c:pt>
                <c:pt idx="15">
                  <c:v>45298</c:v>
                </c:pt>
                <c:pt idx="16">
                  <c:v>45305</c:v>
                </c:pt>
                <c:pt idx="17">
                  <c:v>45312</c:v>
                </c:pt>
                <c:pt idx="18">
                  <c:v>45319</c:v>
                </c:pt>
                <c:pt idx="19">
                  <c:v>45326</c:v>
                </c:pt>
                <c:pt idx="20">
                  <c:v>45333</c:v>
                </c:pt>
                <c:pt idx="21">
                  <c:v>45340</c:v>
                </c:pt>
                <c:pt idx="22">
                  <c:v>45347</c:v>
                </c:pt>
                <c:pt idx="23">
                  <c:v>45354</c:v>
                </c:pt>
                <c:pt idx="24">
                  <c:v>45361</c:v>
                </c:pt>
                <c:pt idx="25">
                  <c:v>45368</c:v>
                </c:pt>
                <c:pt idx="26">
                  <c:v>45375</c:v>
                </c:pt>
                <c:pt idx="27">
                  <c:v>45382</c:v>
                </c:pt>
                <c:pt idx="28">
                  <c:v>45389</c:v>
                </c:pt>
                <c:pt idx="29">
                  <c:v>45396</c:v>
                </c:pt>
                <c:pt idx="30">
                  <c:v>45403</c:v>
                </c:pt>
                <c:pt idx="31">
                  <c:v>45410</c:v>
                </c:pt>
                <c:pt idx="32">
                  <c:v>45417</c:v>
                </c:pt>
                <c:pt idx="33">
                  <c:v>45424</c:v>
                </c:pt>
                <c:pt idx="34">
                  <c:v>45431</c:v>
                </c:pt>
                <c:pt idx="35">
                  <c:v>45438</c:v>
                </c:pt>
                <c:pt idx="36">
                  <c:v>45445</c:v>
                </c:pt>
                <c:pt idx="37">
                  <c:v>45452</c:v>
                </c:pt>
                <c:pt idx="38">
                  <c:v>45459</c:v>
                </c:pt>
                <c:pt idx="39">
                  <c:v>45466</c:v>
                </c:pt>
                <c:pt idx="40">
                  <c:v>45473</c:v>
                </c:pt>
                <c:pt idx="41">
                  <c:v>45480</c:v>
                </c:pt>
                <c:pt idx="42">
                  <c:v>45487</c:v>
                </c:pt>
                <c:pt idx="43">
                  <c:v>45494</c:v>
                </c:pt>
                <c:pt idx="44">
                  <c:v>45501</c:v>
                </c:pt>
                <c:pt idx="45">
                  <c:v>45508</c:v>
                </c:pt>
                <c:pt idx="46">
                  <c:v>45515</c:v>
                </c:pt>
                <c:pt idx="47">
                  <c:v>45522</c:v>
                </c:pt>
                <c:pt idx="48">
                  <c:v>45529</c:v>
                </c:pt>
                <c:pt idx="49">
                  <c:v>45536</c:v>
                </c:pt>
                <c:pt idx="50">
                  <c:v>45550</c:v>
                </c:pt>
                <c:pt idx="51">
                  <c:v>45564</c:v>
                </c:pt>
                <c:pt idx="52">
                  <c:v>45571</c:v>
                </c:pt>
                <c:pt idx="53">
                  <c:v>45578</c:v>
                </c:pt>
                <c:pt idx="54">
                  <c:v>45585</c:v>
                </c:pt>
                <c:pt idx="55">
                  <c:v>45592</c:v>
                </c:pt>
                <c:pt idx="56">
                  <c:v>45599</c:v>
                </c:pt>
                <c:pt idx="57">
                  <c:v>45606</c:v>
                </c:pt>
                <c:pt idx="58">
                  <c:v>45613</c:v>
                </c:pt>
                <c:pt idx="59">
                  <c:v>45620</c:v>
                </c:pt>
                <c:pt idx="60">
                  <c:v>45627</c:v>
                </c:pt>
                <c:pt idx="61">
                  <c:v>45634</c:v>
                </c:pt>
                <c:pt idx="62">
                  <c:v>45641</c:v>
                </c:pt>
                <c:pt idx="63">
                  <c:v>45648</c:v>
                </c:pt>
                <c:pt idx="64">
                  <c:v>45655</c:v>
                </c:pt>
                <c:pt idx="65">
                  <c:v>45662</c:v>
                </c:pt>
                <c:pt idx="66">
                  <c:v>45669</c:v>
                </c:pt>
                <c:pt idx="67">
                  <c:v>45676</c:v>
                </c:pt>
                <c:pt idx="68">
                  <c:v>45683</c:v>
                </c:pt>
              </c:numCache>
            </c:numRef>
          </c:cat>
          <c:val>
            <c:numRef>
              <c:f>Sheet1!$C$2:$C$70</c:f>
              <c:numCache>
                <c:formatCode>General</c:formatCode>
                <c:ptCount val="69"/>
                <c:pt idx="0">
                  <c:v>198031</c:v>
                </c:pt>
                <c:pt idx="1">
                  <c:v>205646</c:v>
                </c:pt>
                <c:pt idx="2">
                  <c:v>209691</c:v>
                </c:pt>
                <c:pt idx="3">
                  <c:v>206706</c:v>
                </c:pt>
                <c:pt idx="4">
                  <c:v>216150</c:v>
                </c:pt>
                <c:pt idx="5">
                  <c:v>205988</c:v>
                </c:pt>
                <c:pt idx="6">
                  <c:v>196407</c:v>
                </c:pt>
                <c:pt idx="7">
                  <c:v>209682</c:v>
                </c:pt>
                <c:pt idx="8">
                  <c:v>221892</c:v>
                </c:pt>
                <c:pt idx="9">
                  <c:v>205720</c:v>
                </c:pt>
                <c:pt idx="10">
                  <c:v>204380</c:v>
                </c:pt>
                <c:pt idx="11">
                  <c:v>210668</c:v>
                </c:pt>
                <c:pt idx="12">
                  <c:v>198584</c:v>
                </c:pt>
                <c:pt idx="13">
                  <c:v>208188</c:v>
                </c:pt>
                <c:pt idx="14">
                  <c:v>144702</c:v>
                </c:pt>
                <c:pt idx="15">
                  <c:v>163390</c:v>
                </c:pt>
                <c:pt idx="16">
                  <c:v>151580</c:v>
                </c:pt>
                <c:pt idx="17">
                  <c:v>164814</c:v>
                </c:pt>
                <c:pt idx="18">
                  <c:v>181377</c:v>
                </c:pt>
                <c:pt idx="19">
                  <c:v>159309</c:v>
                </c:pt>
                <c:pt idx="20">
                  <c:v>128395</c:v>
                </c:pt>
                <c:pt idx="21">
                  <c:v>111491</c:v>
                </c:pt>
                <c:pt idx="22">
                  <c:v>104576</c:v>
                </c:pt>
                <c:pt idx="23">
                  <c:v>100988</c:v>
                </c:pt>
                <c:pt idx="24">
                  <c:v>102623</c:v>
                </c:pt>
                <c:pt idx="25">
                  <c:v>116290</c:v>
                </c:pt>
                <c:pt idx="26">
                  <c:v>141890</c:v>
                </c:pt>
                <c:pt idx="27">
                  <c:v>141298</c:v>
                </c:pt>
                <c:pt idx="28">
                  <c:v>143641</c:v>
                </c:pt>
                <c:pt idx="29">
                  <c:v>140093</c:v>
                </c:pt>
                <c:pt idx="30">
                  <c:v>136290</c:v>
                </c:pt>
                <c:pt idx="31">
                  <c:v>137277</c:v>
                </c:pt>
                <c:pt idx="32">
                  <c:v>143692</c:v>
                </c:pt>
                <c:pt idx="33">
                  <c:v>141578</c:v>
                </c:pt>
                <c:pt idx="34">
                  <c:v>136631</c:v>
                </c:pt>
                <c:pt idx="35">
                  <c:v>161423</c:v>
                </c:pt>
                <c:pt idx="36">
                  <c:v>170265</c:v>
                </c:pt>
                <c:pt idx="37">
                  <c:v>180800</c:v>
                </c:pt>
                <c:pt idx="38">
                  <c:v>172358</c:v>
                </c:pt>
                <c:pt idx="39">
                  <c:v>168335</c:v>
                </c:pt>
                <c:pt idx="40">
                  <c:v>169113</c:v>
                </c:pt>
                <c:pt idx="41">
                  <c:v>186694</c:v>
                </c:pt>
                <c:pt idx="42">
                  <c:v>153870</c:v>
                </c:pt>
                <c:pt idx="43">
                  <c:v>145073</c:v>
                </c:pt>
                <c:pt idx="44">
                  <c:v>138642</c:v>
                </c:pt>
                <c:pt idx="45">
                  <c:v>147686</c:v>
                </c:pt>
                <c:pt idx="46">
                  <c:v>166614</c:v>
                </c:pt>
                <c:pt idx="47">
                  <c:v>164711</c:v>
                </c:pt>
                <c:pt idx="48">
                  <c:v>170799</c:v>
                </c:pt>
                <c:pt idx="49">
                  <c:v>163977</c:v>
                </c:pt>
                <c:pt idx="50">
                  <c:v>161689</c:v>
                </c:pt>
                <c:pt idx="51">
                  <c:v>152022</c:v>
                </c:pt>
                <c:pt idx="52">
                  <c:v>168391</c:v>
                </c:pt>
                <c:pt idx="53">
                  <c:v>138092</c:v>
                </c:pt>
                <c:pt idx="54">
                  <c:v>131565</c:v>
                </c:pt>
                <c:pt idx="55">
                  <c:v>146205</c:v>
                </c:pt>
                <c:pt idx="56">
                  <c:v>163223</c:v>
                </c:pt>
                <c:pt idx="57">
                  <c:v>173652</c:v>
                </c:pt>
                <c:pt idx="58">
                  <c:v>118233</c:v>
                </c:pt>
                <c:pt idx="59">
                  <c:v>3774</c:v>
                </c:pt>
                <c:pt idx="60">
                  <c:v>2658</c:v>
                </c:pt>
                <c:pt idx="61">
                  <c:v>3268</c:v>
                </c:pt>
                <c:pt idx="62">
                  <c:v>1980</c:v>
                </c:pt>
                <c:pt idx="63">
                  <c:v>1327</c:v>
                </c:pt>
                <c:pt idx="64">
                  <c:v>1377</c:v>
                </c:pt>
                <c:pt idx="65">
                  <c:v>2156</c:v>
                </c:pt>
                <c:pt idx="66">
                  <c:v>3796</c:v>
                </c:pt>
                <c:pt idx="67">
                  <c:v>6619</c:v>
                </c:pt>
                <c:pt idx="68">
                  <c:v>8561</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70</c:f>
              <c:numCache>
                <c:formatCode>yyyy\-mm\-dd</c:formatCode>
                <c:ptCount val="69"/>
                <c:pt idx="0">
                  <c:v>44934</c:v>
                </c:pt>
                <c:pt idx="1">
                  <c:v>44941</c:v>
                </c:pt>
                <c:pt idx="2">
                  <c:v>44948</c:v>
                </c:pt>
                <c:pt idx="3">
                  <c:v>44955</c:v>
                </c:pt>
                <c:pt idx="4">
                  <c:v>44962</c:v>
                </c:pt>
                <c:pt idx="5">
                  <c:v>44969</c:v>
                </c:pt>
                <c:pt idx="6">
                  <c:v>44976</c:v>
                </c:pt>
                <c:pt idx="7">
                  <c:v>44983</c:v>
                </c:pt>
                <c:pt idx="8">
                  <c:v>44990</c:v>
                </c:pt>
                <c:pt idx="9">
                  <c:v>44997</c:v>
                </c:pt>
                <c:pt idx="10">
                  <c:v>45011</c:v>
                </c:pt>
                <c:pt idx="11">
                  <c:v>45130</c:v>
                </c:pt>
                <c:pt idx="12">
                  <c:v>45277</c:v>
                </c:pt>
                <c:pt idx="13">
                  <c:v>45284</c:v>
                </c:pt>
                <c:pt idx="14">
                  <c:v>45291</c:v>
                </c:pt>
                <c:pt idx="15">
                  <c:v>45298</c:v>
                </c:pt>
                <c:pt idx="16">
                  <c:v>45305</c:v>
                </c:pt>
                <c:pt idx="17">
                  <c:v>45312</c:v>
                </c:pt>
                <c:pt idx="18">
                  <c:v>45319</c:v>
                </c:pt>
                <c:pt idx="19">
                  <c:v>45326</c:v>
                </c:pt>
                <c:pt idx="20">
                  <c:v>45333</c:v>
                </c:pt>
                <c:pt idx="21">
                  <c:v>45340</c:v>
                </c:pt>
                <c:pt idx="22">
                  <c:v>45347</c:v>
                </c:pt>
                <c:pt idx="23">
                  <c:v>45354</c:v>
                </c:pt>
                <c:pt idx="24">
                  <c:v>45361</c:v>
                </c:pt>
                <c:pt idx="25">
                  <c:v>45368</c:v>
                </c:pt>
                <c:pt idx="26">
                  <c:v>45375</c:v>
                </c:pt>
                <c:pt idx="27">
                  <c:v>45382</c:v>
                </c:pt>
                <c:pt idx="28">
                  <c:v>45389</c:v>
                </c:pt>
                <c:pt idx="29">
                  <c:v>45396</c:v>
                </c:pt>
                <c:pt idx="30">
                  <c:v>45403</c:v>
                </c:pt>
                <c:pt idx="31">
                  <c:v>45410</c:v>
                </c:pt>
                <c:pt idx="32">
                  <c:v>45417</c:v>
                </c:pt>
                <c:pt idx="33">
                  <c:v>45424</c:v>
                </c:pt>
                <c:pt idx="34">
                  <c:v>45431</c:v>
                </c:pt>
                <c:pt idx="35">
                  <c:v>45438</c:v>
                </c:pt>
                <c:pt idx="36">
                  <c:v>45445</c:v>
                </c:pt>
                <c:pt idx="37">
                  <c:v>45452</c:v>
                </c:pt>
                <c:pt idx="38">
                  <c:v>45459</c:v>
                </c:pt>
                <c:pt idx="39">
                  <c:v>45466</c:v>
                </c:pt>
                <c:pt idx="40">
                  <c:v>45473</c:v>
                </c:pt>
                <c:pt idx="41">
                  <c:v>45480</c:v>
                </c:pt>
                <c:pt idx="42">
                  <c:v>45487</c:v>
                </c:pt>
                <c:pt idx="43">
                  <c:v>45494</c:v>
                </c:pt>
                <c:pt idx="44">
                  <c:v>45501</c:v>
                </c:pt>
                <c:pt idx="45">
                  <c:v>45508</c:v>
                </c:pt>
                <c:pt idx="46">
                  <c:v>45515</c:v>
                </c:pt>
                <c:pt idx="47">
                  <c:v>45522</c:v>
                </c:pt>
                <c:pt idx="48">
                  <c:v>45529</c:v>
                </c:pt>
                <c:pt idx="49">
                  <c:v>45536</c:v>
                </c:pt>
                <c:pt idx="50">
                  <c:v>45550</c:v>
                </c:pt>
                <c:pt idx="51">
                  <c:v>45564</c:v>
                </c:pt>
                <c:pt idx="52">
                  <c:v>45571</c:v>
                </c:pt>
                <c:pt idx="53">
                  <c:v>45578</c:v>
                </c:pt>
                <c:pt idx="54">
                  <c:v>45585</c:v>
                </c:pt>
                <c:pt idx="55">
                  <c:v>45592</c:v>
                </c:pt>
                <c:pt idx="56">
                  <c:v>45599</c:v>
                </c:pt>
                <c:pt idx="57">
                  <c:v>45606</c:v>
                </c:pt>
                <c:pt idx="58">
                  <c:v>45613</c:v>
                </c:pt>
                <c:pt idx="59">
                  <c:v>45620</c:v>
                </c:pt>
                <c:pt idx="60">
                  <c:v>45627</c:v>
                </c:pt>
                <c:pt idx="61">
                  <c:v>45634</c:v>
                </c:pt>
                <c:pt idx="62">
                  <c:v>45641</c:v>
                </c:pt>
                <c:pt idx="63">
                  <c:v>45648</c:v>
                </c:pt>
                <c:pt idx="64">
                  <c:v>45655</c:v>
                </c:pt>
                <c:pt idx="65">
                  <c:v>45662</c:v>
                </c:pt>
                <c:pt idx="66">
                  <c:v>45669</c:v>
                </c:pt>
                <c:pt idx="67">
                  <c:v>45676</c:v>
                </c:pt>
                <c:pt idx="68">
                  <c:v>45683</c:v>
                </c:pt>
              </c:numCache>
            </c:numRef>
          </c:cat>
          <c:val>
            <c:numRef>
              <c:f>Sheet1!$D$2:$D$70</c:f>
              <c:numCache>
                <c:formatCode>General</c:formatCode>
                <c:ptCount val="69"/>
                <c:pt idx="0">
                  <c:v>226628</c:v>
                </c:pt>
                <c:pt idx="1">
                  <c:v>218506</c:v>
                </c:pt>
                <c:pt idx="2">
                  <c:v>218198</c:v>
                </c:pt>
                <c:pt idx="3">
                  <c:v>211602</c:v>
                </c:pt>
                <c:pt idx="4">
                  <c:v>219000</c:v>
                </c:pt>
                <c:pt idx="5">
                  <c:v>224728</c:v>
                </c:pt>
                <c:pt idx="6">
                  <c:v>221822</c:v>
                </c:pt>
                <c:pt idx="7">
                  <c:v>238864</c:v>
                </c:pt>
                <c:pt idx="8">
                  <c:v>243970</c:v>
                </c:pt>
                <c:pt idx="9">
                  <c:v>228515</c:v>
                </c:pt>
                <c:pt idx="10">
                  <c:v>227890</c:v>
                </c:pt>
                <c:pt idx="11">
                  <c:v>245859</c:v>
                </c:pt>
                <c:pt idx="12">
                  <c:v>214134</c:v>
                </c:pt>
                <c:pt idx="13">
                  <c:v>224535</c:v>
                </c:pt>
                <c:pt idx="14">
                  <c:v>153468</c:v>
                </c:pt>
                <c:pt idx="15">
                  <c:v>170229</c:v>
                </c:pt>
                <c:pt idx="16">
                  <c:v>172730</c:v>
                </c:pt>
                <c:pt idx="17">
                  <c:v>177329</c:v>
                </c:pt>
                <c:pt idx="18">
                  <c:v>187659</c:v>
                </c:pt>
                <c:pt idx="19">
                  <c:v>196729</c:v>
                </c:pt>
                <c:pt idx="20">
                  <c:v>198544</c:v>
                </c:pt>
                <c:pt idx="21">
                  <c:v>186130</c:v>
                </c:pt>
                <c:pt idx="22">
                  <c:v>213755</c:v>
                </c:pt>
                <c:pt idx="23">
                  <c:v>204868</c:v>
                </c:pt>
                <c:pt idx="24">
                  <c:v>199474</c:v>
                </c:pt>
                <c:pt idx="25">
                  <c:v>189660</c:v>
                </c:pt>
                <c:pt idx="26">
                  <c:v>184486</c:v>
                </c:pt>
                <c:pt idx="27">
                  <c:v>182488</c:v>
                </c:pt>
                <c:pt idx="28">
                  <c:v>186182</c:v>
                </c:pt>
                <c:pt idx="29">
                  <c:v>179260</c:v>
                </c:pt>
                <c:pt idx="30">
                  <c:v>172235</c:v>
                </c:pt>
                <c:pt idx="31">
                  <c:v>170172</c:v>
                </c:pt>
                <c:pt idx="32">
                  <c:v>178954</c:v>
                </c:pt>
                <c:pt idx="33">
                  <c:v>175725</c:v>
                </c:pt>
                <c:pt idx="34">
                  <c:v>167090</c:v>
                </c:pt>
                <c:pt idx="35">
                  <c:v>176891</c:v>
                </c:pt>
                <c:pt idx="36">
                  <c:v>170684</c:v>
                </c:pt>
                <c:pt idx="37">
                  <c:v>181069</c:v>
                </c:pt>
                <c:pt idx="38">
                  <c:v>172723</c:v>
                </c:pt>
                <c:pt idx="39">
                  <c:v>169691</c:v>
                </c:pt>
                <c:pt idx="40">
                  <c:v>169425</c:v>
                </c:pt>
                <c:pt idx="41">
                  <c:v>187137</c:v>
                </c:pt>
                <c:pt idx="42">
                  <c:v>172788</c:v>
                </c:pt>
                <c:pt idx="43">
                  <c:v>180552</c:v>
                </c:pt>
                <c:pt idx="44">
                  <c:v>174248</c:v>
                </c:pt>
                <c:pt idx="45">
                  <c:v>182203</c:v>
                </c:pt>
                <c:pt idx="46">
                  <c:v>176906</c:v>
                </c:pt>
                <c:pt idx="47">
                  <c:v>173258</c:v>
                </c:pt>
                <c:pt idx="48">
                  <c:v>170971</c:v>
                </c:pt>
                <c:pt idx="49">
                  <c:v>169698</c:v>
                </c:pt>
                <c:pt idx="50">
                  <c:v>162085</c:v>
                </c:pt>
                <c:pt idx="51">
                  <c:v>162004</c:v>
                </c:pt>
                <c:pt idx="52">
                  <c:v>189970</c:v>
                </c:pt>
                <c:pt idx="53">
                  <c:v>172695</c:v>
                </c:pt>
                <c:pt idx="54">
                  <c:v>175648</c:v>
                </c:pt>
                <c:pt idx="55">
                  <c:v>167038</c:v>
                </c:pt>
                <c:pt idx="56">
                  <c:v>163483</c:v>
                </c:pt>
                <c:pt idx="57">
                  <c:v>174043</c:v>
                </c:pt>
                <c:pt idx="58">
                  <c:v>168558</c:v>
                </c:pt>
                <c:pt idx="59">
                  <c:v>162738</c:v>
                </c:pt>
                <c:pt idx="60">
                  <c:v>155740</c:v>
                </c:pt>
                <c:pt idx="61">
                  <c:v>172148</c:v>
                </c:pt>
                <c:pt idx="62">
                  <c:v>173933</c:v>
                </c:pt>
                <c:pt idx="63">
                  <c:v>188419</c:v>
                </c:pt>
                <c:pt idx="64">
                  <c:v>159811</c:v>
                </c:pt>
                <c:pt idx="65">
                  <c:v>166633</c:v>
                </c:pt>
                <c:pt idx="66">
                  <c:v>154298</c:v>
                </c:pt>
                <c:pt idx="67">
                  <c:v>156691</c:v>
                </c:pt>
                <c:pt idx="68">
                  <c:v>143649</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70</c:f>
              <c:numCache>
                <c:formatCode>yyyy\-mm\-dd</c:formatCode>
                <c:ptCount val="69"/>
                <c:pt idx="0">
                  <c:v>44934</c:v>
                </c:pt>
                <c:pt idx="1">
                  <c:v>44941</c:v>
                </c:pt>
                <c:pt idx="2">
                  <c:v>44948</c:v>
                </c:pt>
                <c:pt idx="3">
                  <c:v>44955</c:v>
                </c:pt>
                <c:pt idx="4">
                  <c:v>44962</c:v>
                </c:pt>
                <c:pt idx="5">
                  <c:v>44969</c:v>
                </c:pt>
                <c:pt idx="6">
                  <c:v>44976</c:v>
                </c:pt>
                <c:pt idx="7">
                  <c:v>44983</c:v>
                </c:pt>
                <c:pt idx="8">
                  <c:v>44990</c:v>
                </c:pt>
                <c:pt idx="9">
                  <c:v>44997</c:v>
                </c:pt>
                <c:pt idx="10">
                  <c:v>45011</c:v>
                </c:pt>
                <c:pt idx="11">
                  <c:v>45130</c:v>
                </c:pt>
                <c:pt idx="12">
                  <c:v>45277</c:v>
                </c:pt>
                <c:pt idx="13">
                  <c:v>45284</c:v>
                </c:pt>
                <c:pt idx="14">
                  <c:v>45291</c:v>
                </c:pt>
                <c:pt idx="15">
                  <c:v>45298</c:v>
                </c:pt>
                <c:pt idx="16">
                  <c:v>45305</c:v>
                </c:pt>
                <c:pt idx="17">
                  <c:v>45312</c:v>
                </c:pt>
                <c:pt idx="18">
                  <c:v>45319</c:v>
                </c:pt>
                <c:pt idx="19">
                  <c:v>45326</c:v>
                </c:pt>
                <c:pt idx="20">
                  <c:v>45333</c:v>
                </c:pt>
                <c:pt idx="21">
                  <c:v>45340</c:v>
                </c:pt>
                <c:pt idx="22">
                  <c:v>45347</c:v>
                </c:pt>
                <c:pt idx="23">
                  <c:v>45354</c:v>
                </c:pt>
                <c:pt idx="24">
                  <c:v>45361</c:v>
                </c:pt>
                <c:pt idx="25">
                  <c:v>45368</c:v>
                </c:pt>
                <c:pt idx="26">
                  <c:v>45375</c:v>
                </c:pt>
                <c:pt idx="27">
                  <c:v>45382</c:v>
                </c:pt>
                <c:pt idx="28">
                  <c:v>45389</c:v>
                </c:pt>
                <c:pt idx="29">
                  <c:v>45396</c:v>
                </c:pt>
                <c:pt idx="30">
                  <c:v>45403</c:v>
                </c:pt>
                <c:pt idx="31">
                  <c:v>45410</c:v>
                </c:pt>
                <c:pt idx="32">
                  <c:v>45417</c:v>
                </c:pt>
                <c:pt idx="33">
                  <c:v>45424</c:v>
                </c:pt>
                <c:pt idx="34">
                  <c:v>45431</c:v>
                </c:pt>
                <c:pt idx="35">
                  <c:v>45438</c:v>
                </c:pt>
                <c:pt idx="36">
                  <c:v>45445</c:v>
                </c:pt>
                <c:pt idx="37">
                  <c:v>45452</c:v>
                </c:pt>
                <c:pt idx="38">
                  <c:v>45459</c:v>
                </c:pt>
                <c:pt idx="39">
                  <c:v>45466</c:v>
                </c:pt>
                <c:pt idx="40">
                  <c:v>45473</c:v>
                </c:pt>
                <c:pt idx="41">
                  <c:v>45480</c:v>
                </c:pt>
                <c:pt idx="42">
                  <c:v>45487</c:v>
                </c:pt>
                <c:pt idx="43">
                  <c:v>45494</c:v>
                </c:pt>
                <c:pt idx="44">
                  <c:v>45501</c:v>
                </c:pt>
                <c:pt idx="45">
                  <c:v>45508</c:v>
                </c:pt>
                <c:pt idx="46">
                  <c:v>45515</c:v>
                </c:pt>
                <c:pt idx="47">
                  <c:v>45522</c:v>
                </c:pt>
                <c:pt idx="48">
                  <c:v>45529</c:v>
                </c:pt>
                <c:pt idx="49">
                  <c:v>45536</c:v>
                </c:pt>
                <c:pt idx="50">
                  <c:v>45550</c:v>
                </c:pt>
                <c:pt idx="51">
                  <c:v>45564</c:v>
                </c:pt>
                <c:pt idx="52">
                  <c:v>45571</c:v>
                </c:pt>
                <c:pt idx="53">
                  <c:v>45578</c:v>
                </c:pt>
                <c:pt idx="54">
                  <c:v>45585</c:v>
                </c:pt>
                <c:pt idx="55">
                  <c:v>45592</c:v>
                </c:pt>
                <c:pt idx="56">
                  <c:v>45599</c:v>
                </c:pt>
                <c:pt idx="57">
                  <c:v>45606</c:v>
                </c:pt>
                <c:pt idx="58">
                  <c:v>45613</c:v>
                </c:pt>
                <c:pt idx="59">
                  <c:v>45620</c:v>
                </c:pt>
                <c:pt idx="60">
                  <c:v>45627</c:v>
                </c:pt>
                <c:pt idx="61">
                  <c:v>45634</c:v>
                </c:pt>
                <c:pt idx="62">
                  <c:v>45641</c:v>
                </c:pt>
                <c:pt idx="63">
                  <c:v>45648</c:v>
                </c:pt>
                <c:pt idx="64">
                  <c:v>45655</c:v>
                </c:pt>
                <c:pt idx="65">
                  <c:v>45662</c:v>
                </c:pt>
                <c:pt idx="66">
                  <c:v>45669</c:v>
                </c:pt>
                <c:pt idx="67">
                  <c:v>45676</c:v>
                </c:pt>
                <c:pt idx="68">
                  <c:v>45683</c:v>
                </c:pt>
              </c:numCache>
            </c:numRef>
          </c:cat>
          <c:val>
            <c:numRef>
              <c:f>Sheet1!$E$2:$E$70</c:f>
              <c:numCache>
                <c:formatCode>General</c:formatCode>
                <c:ptCount val="69"/>
                <c:pt idx="0">
                  <c:v>208687</c:v>
                </c:pt>
                <c:pt idx="1">
                  <c:v>210655</c:v>
                </c:pt>
                <c:pt idx="2">
                  <c:v>213039</c:v>
                </c:pt>
                <c:pt idx="3">
                  <c:v>213439</c:v>
                </c:pt>
                <c:pt idx="4">
                  <c:v>214651</c:v>
                </c:pt>
                <c:pt idx="5">
                  <c:v>217567</c:v>
                </c:pt>
                <c:pt idx="6">
                  <c:v>223299</c:v>
                </c:pt>
                <c:pt idx="7">
                  <c:v>232845</c:v>
                </c:pt>
                <c:pt idx="8">
                  <c:v>234020</c:v>
                </c:pt>
                <c:pt idx="9">
                  <c:v>232621</c:v>
                </c:pt>
                <c:pt idx="10">
                  <c:v>229039</c:v>
                </c:pt>
                <c:pt idx="11">
                  <c:v>232985</c:v>
                </c:pt>
                <c:pt idx="12">
                  <c:v>195609</c:v>
                </c:pt>
                <c:pt idx="13">
                  <c:v>189930</c:v>
                </c:pt>
                <c:pt idx="14">
                  <c:v>217958</c:v>
                </c:pt>
                <c:pt idx="15">
                  <c:v>218315</c:v>
                </c:pt>
                <c:pt idx="16">
                  <c:v>206917</c:v>
                </c:pt>
                <c:pt idx="17">
                  <c:v>191201</c:v>
                </c:pt>
                <c:pt idx="18">
                  <c:v>177319</c:v>
                </c:pt>
                <c:pt idx="19">
                  <c:v>180764</c:v>
                </c:pt>
                <c:pt idx="20">
                  <c:v>194455</c:v>
                </c:pt>
                <c:pt idx="21">
                  <c:v>194313</c:v>
                </c:pt>
                <c:pt idx="22">
                  <c:v>195503</c:v>
                </c:pt>
                <c:pt idx="23">
                  <c:v>199664</c:v>
                </c:pt>
                <c:pt idx="24">
                  <c:v>197851</c:v>
                </c:pt>
                <c:pt idx="25">
                  <c:v>196616</c:v>
                </c:pt>
                <c:pt idx="26">
                  <c:v>194128</c:v>
                </c:pt>
                <c:pt idx="27">
                  <c:v>190851</c:v>
                </c:pt>
                <c:pt idx="28">
                  <c:v>188588</c:v>
                </c:pt>
                <c:pt idx="29">
                  <c:v>187160</c:v>
                </c:pt>
                <c:pt idx="30">
                  <c:v>181264</c:v>
                </c:pt>
                <c:pt idx="31">
                  <c:v>175647</c:v>
                </c:pt>
                <c:pt idx="32">
                  <c:v>175773</c:v>
                </c:pt>
                <c:pt idx="33">
                  <c:v>173681</c:v>
                </c:pt>
                <c:pt idx="34">
                  <c:v>173208</c:v>
                </c:pt>
                <c:pt idx="35">
                  <c:v>174193</c:v>
                </c:pt>
                <c:pt idx="36">
                  <c:v>174020</c:v>
                </c:pt>
                <c:pt idx="37">
                  <c:v>172824</c:v>
                </c:pt>
                <c:pt idx="38">
                  <c:v>174378</c:v>
                </c:pt>
                <c:pt idx="39">
                  <c:v>174987</c:v>
                </c:pt>
                <c:pt idx="40">
                  <c:v>175651</c:v>
                </c:pt>
                <c:pt idx="41">
                  <c:v>176030</c:v>
                </c:pt>
                <c:pt idx="42">
                  <c:v>175654</c:v>
                </c:pt>
                <c:pt idx="43">
                  <c:v>176349</c:v>
                </c:pt>
                <c:pt idx="44">
                  <c:v>176760</c:v>
                </c:pt>
                <c:pt idx="45">
                  <c:v>177809</c:v>
                </c:pt>
                <c:pt idx="46">
                  <c:v>175039</c:v>
                </c:pt>
                <c:pt idx="47">
                  <c:v>175086</c:v>
                </c:pt>
                <c:pt idx="48">
                  <c:v>173042</c:v>
                </c:pt>
                <c:pt idx="49">
                  <c:v>171667</c:v>
                </c:pt>
                <c:pt idx="50">
                  <c:v>170713</c:v>
                </c:pt>
                <c:pt idx="51">
                  <c:v>170807</c:v>
                </c:pt>
                <c:pt idx="52">
                  <c:v>170731</c:v>
                </c:pt>
                <c:pt idx="53">
                  <c:v>169014</c:v>
                </c:pt>
                <c:pt idx="54">
                  <c:v>170812</c:v>
                </c:pt>
                <c:pt idx="55">
                  <c:v>171481</c:v>
                </c:pt>
                <c:pt idx="56">
                  <c:v>172675</c:v>
                </c:pt>
                <c:pt idx="57">
                  <c:v>170105</c:v>
                </c:pt>
                <c:pt idx="58">
                  <c:v>169994</c:v>
                </c:pt>
                <c:pt idx="59">
                  <c:v>168917</c:v>
                </c:pt>
                <c:pt idx="60">
                  <c:v>168237</c:v>
                </c:pt>
                <c:pt idx="61">
                  <c:v>174703</c:v>
                </c:pt>
                <c:pt idx="62">
                  <c:v>174940</c:v>
                </c:pt>
                <c:pt idx="63">
                  <c:v>175387</c:v>
                </c:pt>
                <c:pt idx="64">
                  <c:v>172534</c:v>
                </c:pt>
                <c:pt idx="65">
                  <c:v>175737</c:v>
                </c:pt>
                <c:pt idx="66">
                  <c:v>167832</c:v>
                </c:pt>
                <c:pt idx="67">
                  <c:v>175322</c:v>
                </c:pt>
                <c:pt idx="68">
                  <c:v>160810</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70</c:f>
              <c:numCache>
                <c:formatCode>yyyy\-mm\-dd</c:formatCode>
                <c:ptCount val="69"/>
                <c:pt idx="0">
                  <c:v>44934</c:v>
                </c:pt>
                <c:pt idx="1">
                  <c:v>44941</c:v>
                </c:pt>
                <c:pt idx="2">
                  <c:v>44948</c:v>
                </c:pt>
                <c:pt idx="3">
                  <c:v>44955</c:v>
                </c:pt>
                <c:pt idx="4">
                  <c:v>44962</c:v>
                </c:pt>
                <c:pt idx="5">
                  <c:v>44969</c:v>
                </c:pt>
                <c:pt idx="6">
                  <c:v>44976</c:v>
                </c:pt>
                <c:pt idx="7">
                  <c:v>44983</c:v>
                </c:pt>
                <c:pt idx="8">
                  <c:v>44990</c:v>
                </c:pt>
                <c:pt idx="9">
                  <c:v>44997</c:v>
                </c:pt>
                <c:pt idx="10">
                  <c:v>45011</c:v>
                </c:pt>
                <c:pt idx="11">
                  <c:v>45130</c:v>
                </c:pt>
                <c:pt idx="12">
                  <c:v>45277</c:v>
                </c:pt>
                <c:pt idx="13">
                  <c:v>45284</c:v>
                </c:pt>
                <c:pt idx="14">
                  <c:v>45291</c:v>
                </c:pt>
                <c:pt idx="15">
                  <c:v>45298</c:v>
                </c:pt>
                <c:pt idx="16">
                  <c:v>45305</c:v>
                </c:pt>
                <c:pt idx="17">
                  <c:v>45312</c:v>
                </c:pt>
                <c:pt idx="18">
                  <c:v>45319</c:v>
                </c:pt>
                <c:pt idx="19">
                  <c:v>45326</c:v>
                </c:pt>
                <c:pt idx="20">
                  <c:v>45333</c:v>
                </c:pt>
                <c:pt idx="21">
                  <c:v>45340</c:v>
                </c:pt>
                <c:pt idx="22">
                  <c:v>45347</c:v>
                </c:pt>
                <c:pt idx="23">
                  <c:v>45354</c:v>
                </c:pt>
                <c:pt idx="24">
                  <c:v>45361</c:v>
                </c:pt>
                <c:pt idx="25">
                  <c:v>45368</c:v>
                </c:pt>
                <c:pt idx="26">
                  <c:v>45375</c:v>
                </c:pt>
                <c:pt idx="27">
                  <c:v>45382</c:v>
                </c:pt>
                <c:pt idx="28">
                  <c:v>45389</c:v>
                </c:pt>
                <c:pt idx="29">
                  <c:v>45396</c:v>
                </c:pt>
                <c:pt idx="30">
                  <c:v>45403</c:v>
                </c:pt>
                <c:pt idx="31">
                  <c:v>45410</c:v>
                </c:pt>
                <c:pt idx="32">
                  <c:v>45417</c:v>
                </c:pt>
                <c:pt idx="33">
                  <c:v>45424</c:v>
                </c:pt>
                <c:pt idx="34">
                  <c:v>45431</c:v>
                </c:pt>
                <c:pt idx="35">
                  <c:v>45438</c:v>
                </c:pt>
                <c:pt idx="36">
                  <c:v>45445</c:v>
                </c:pt>
                <c:pt idx="37">
                  <c:v>45452</c:v>
                </c:pt>
                <c:pt idx="38">
                  <c:v>45459</c:v>
                </c:pt>
                <c:pt idx="39">
                  <c:v>45466</c:v>
                </c:pt>
                <c:pt idx="40">
                  <c:v>45473</c:v>
                </c:pt>
                <c:pt idx="41">
                  <c:v>45480</c:v>
                </c:pt>
                <c:pt idx="42">
                  <c:v>45487</c:v>
                </c:pt>
                <c:pt idx="43">
                  <c:v>45494</c:v>
                </c:pt>
                <c:pt idx="44">
                  <c:v>45501</c:v>
                </c:pt>
                <c:pt idx="45">
                  <c:v>45508</c:v>
                </c:pt>
                <c:pt idx="46">
                  <c:v>45515</c:v>
                </c:pt>
                <c:pt idx="47">
                  <c:v>45522</c:v>
                </c:pt>
                <c:pt idx="48">
                  <c:v>45529</c:v>
                </c:pt>
                <c:pt idx="49">
                  <c:v>45536</c:v>
                </c:pt>
                <c:pt idx="50">
                  <c:v>45550</c:v>
                </c:pt>
                <c:pt idx="51">
                  <c:v>45564</c:v>
                </c:pt>
                <c:pt idx="52">
                  <c:v>45571</c:v>
                </c:pt>
                <c:pt idx="53">
                  <c:v>45578</c:v>
                </c:pt>
                <c:pt idx="54">
                  <c:v>45585</c:v>
                </c:pt>
                <c:pt idx="55">
                  <c:v>45592</c:v>
                </c:pt>
                <c:pt idx="56">
                  <c:v>45599</c:v>
                </c:pt>
                <c:pt idx="57">
                  <c:v>45606</c:v>
                </c:pt>
                <c:pt idx="58">
                  <c:v>45613</c:v>
                </c:pt>
                <c:pt idx="59">
                  <c:v>45620</c:v>
                </c:pt>
                <c:pt idx="60">
                  <c:v>45627</c:v>
                </c:pt>
                <c:pt idx="61">
                  <c:v>45634</c:v>
                </c:pt>
                <c:pt idx="62">
                  <c:v>45641</c:v>
                </c:pt>
                <c:pt idx="63">
                  <c:v>45648</c:v>
                </c:pt>
                <c:pt idx="64">
                  <c:v>45655</c:v>
                </c:pt>
                <c:pt idx="65">
                  <c:v>45662</c:v>
                </c:pt>
                <c:pt idx="66">
                  <c:v>45669</c:v>
                </c:pt>
                <c:pt idx="67">
                  <c:v>45676</c:v>
                </c:pt>
                <c:pt idx="68">
                  <c:v>45683</c:v>
                </c:pt>
              </c:numCache>
            </c:numRef>
          </c:cat>
          <c:val>
            <c:numRef>
              <c:f>Sheet1!$F$2:$F$70</c:f>
              <c:numCache>
                <c:formatCode>General</c:formatCode>
                <c:ptCount val="69"/>
                <c:pt idx="0">
                  <c:v>0.17</c:v>
                </c:pt>
                <c:pt idx="1">
                  <c:v>0.09</c:v>
                </c:pt>
                <c:pt idx="2">
                  <c:v>7.0000000000000007E-2</c:v>
                </c:pt>
                <c:pt idx="3">
                  <c:v>0.04</c:v>
                </c:pt>
                <c:pt idx="4">
                  <c:v>0.02</c:v>
                </c:pt>
                <c:pt idx="5">
                  <c:v>0.12</c:v>
                </c:pt>
                <c:pt idx="6">
                  <c:v>0.15</c:v>
                </c:pt>
                <c:pt idx="7">
                  <c:v>0.16</c:v>
                </c:pt>
                <c:pt idx="8">
                  <c:v>0.12</c:v>
                </c:pt>
                <c:pt idx="9">
                  <c:v>0.12</c:v>
                </c:pt>
                <c:pt idx="10">
                  <c:v>0.12</c:v>
                </c:pt>
                <c:pt idx="11">
                  <c:v>0.17</c:v>
                </c:pt>
                <c:pt idx="12">
                  <c:v>0.12</c:v>
                </c:pt>
                <c:pt idx="13">
                  <c:v>0.13</c:v>
                </c:pt>
                <c:pt idx="14">
                  <c:v>0.1</c:v>
                </c:pt>
                <c:pt idx="15">
                  <c:v>0.06</c:v>
                </c:pt>
                <c:pt idx="16">
                  <c:v>0.19</c:v>
                </c:pt>
                <c:pt idx="17">
                  <c:v>0.13</c:v>
                </c:pt>
                <c:pt idx="18">
                  <c:v>0.06</c:v>
                </c:pt>
                <c:pt idx="19">
                  <c:v>0.22</c:v>
                </c:pt>
                <c:pt idx="20">
                  <c:v>0.38</c:v>
                </c:pt>
                <c:pt idx="21">
                  <c:v>0.42</c:v>
                </c:pt>
                <c:pt idx="22">
                  <c:v>0.53</c:v>
                </c:pt>
                <c:pt idx="23">
                  <c:v>0.52</c:v>
                </c:pt>
                <c:pt idx="24">
                  <c:v>0.5</c:v>
                </c:pt>
                <c:pt idx="25">
                  <c:v>0.4</c:v>
                </c:pt>
                <c:pt idx="26">
                  <c:v>0.23</c:v>
                </c:pt>
                <c:pt idx="27">
                  <c:v>0.23</c:v>
                </c:pt>
                <c:pt idx="28">
                  <c:v>0.23</c:v>
                </c:pt>
                <c:pt idx="29">
                  <c:v>0.22</c:v>
                </c:pt>
                <c:pt idx="30">
                  <c:v>0.21</c:v>
                </c:pt>
                <c:pt idx="31">
                  <c:v>0.19</c:v>
                </c:pt>
                <c:pt idx="32">
                  <c:v>0.2</c:v>
                </c:pt>
                <c:pt idx="33">
                  <c:v>0.2</c:v>
                </c:pt>
                <c:pt idx="34">
                  <c:v>0.19</c:v>
                </c:pt>
                <c:pt idx="35">
                  <c:v>0.09</c:v>
                </c:pt>
                <c:pt idx="36">
                  <c:v>0</c:v>
                </c:pt>
                <c:pt idx="37">
                  <c:v>0</c:v>
                </c:pt>
                <c:pt idx="38">
                  <c:v>0</c:v>
                </c:pt>
                <c:pt idx="39">
                  <c:v>0.01</c:v>
                </c:pt>
                <c:pt idx="40">
                  <c:v>0</c:v>
                </c:pt>
                <c:pt idx="41">
                  <c:v>0</c:v>
                </c:pt>
                <c:pt idx="42">
                  <c:v>0.12</c:v>
                </c:pt>
                <c:pt idx="43">
                  <c:v>0.21</c:v>
                </c:pt>
                <c:pt idx="44">
                  <c:v>0.22</c:v>
                </c:pt>
                <c:pt idx="45">
                  <c:v>0.19</c:v>
                </c:pt>
                <c:pt idx="46">
                  <c:v>0.06</c:v>
                </c:pt>
                <c:pt idx="47">
                  <c:v>0.05</c:v>
                </c:pt>
                <c:pt idx="48">
                  <c:v>0</c:v>
                </c:pt>
                <c:pt idx="49">
                  <c:v>0.03</c:v>
                </c:pt>
                <c:pt idx="50">
                  <c:v>0</c:v>
                </c:pt>
                <c:pt idx="51">
                  <c:v>7.0000000000000007E-2</c:v>
                </c:pt>
                <c:pt idx="52">
                  <c:v>0.12</c:v>
                </c:pt>
                <c:pt idx="53">
                  <c:v>0.23</c:v>
                </c:pt>
                <c:pt idx="54">
                  <c:v>0.26</c:v>
                </c:pt>
                <c:pt idx="55">
                  <c:v>0.13</c:v>
                </c:pt>
                <c:pt idx="56">
                  <c:v>0</c:v>
                </c:pt>
                <c:pt idx="57">
                  <c:v>0</c:v>
                </c:pt>
                <c:pt idx="58">
                  <c:v>0.32</c:v>
                </c:pt>
                <c:pt idx="59">
                  <c:v>0.98</c:v>
                </c:pt>
                <c:pt idx="60">
                  <c:v>0.98</c:v>
                </c:pt>
                <c:pt idx="61">
                  <c:v>0.98</c:v>
                </c:pt>
                <c:pt idx="62">
                  <c:v>0.99</c:v>
                </c:pt>
                <c:pt idx="63">
                  <c:v>0.99</c:v>
                </c:pt>
                <c:pt idx="64">
                  <c:v>0.99</c:v>
                </c:pt>
                <c:pt idx="65">
                  <c:v>0.99</c:v>
                </c:pt>
                <c:pt idx="66">
                  <c:v>0.97</c:v>
                </c:pt>
                <c:pt idx="67">
                  <c:v>0.96</c:v>
                </c:pt>
                <c:pt idx="68">
                  <c:v>0.94</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c:v>
                </c:pt>
                <c:pt idx="1">
                  <c:v>Schick</c:v>
                </c:pt>
                <c:pt idx="2">
                  <c:v>Bic</c:v>
                </c:pt>
              </c:strCache>
            </c:strRef>
          </c:cat>
          <c:val>
            <c:numRef>
              <c:f>Sheet1!$B$2:$B$4</c:f>
              <c:numCache>
                <c:formatCode>General</c:formatCode>
                <c:ptCount val="3"/>
                <c:pt idx="0">
                  <c:v>1.1578368617405883</c:v>
                </c:pt>
                <c:pt idx="1">
                  <c:v>-4.9221830676291156E-2</c:v>
                </c:pt>
                <c:pt idx="2">
                  <c:v>1.4632480108613399</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43</c:f>
              <c:numCache>
                <c:formatCode>yyyy\-mm\-dd</c:formatCode>
                <c:ptCount val="42"/>
                <c:pt idx="0">
                  <c:v>44934</c:v>
                </c:pt>
                <c:pt idx="1">
                  <c:v>44941</c:v>
                </c:pt>
                <c:pt idx="2">
                  <c:v>44948</c:v>
                </c:pt>
                <c:pt idx="3">
                  <c:v>44955</c:v>
                </c:pt>
                <c:pt idx="4">
                  <c:v>44962</c:v>
                </c:pt>
                <c:pt idx="5">
                  <c:v>44969</c:v>
                </c:pt>
                <c:pt idx="6">
                  <c:v>44976</c:v>
                </c:pt>
                <c:pt idx="7">
                  <c:v>44983</c:v>
                </c:pt>
                <c:pt idx="8">
                  <c:v>44990</c:v>
                </c:pt>
                <c:pt idx="9">
                  <c:v>44997</c:v>
                </c:pt>
                <c:pt idx="10">
                  <c:v>45011</c:v>
                </c:pt>
                <c:pt idx="11">
                  <c:v>45018</c:v>
                </c:pt>
                <c:pt idx="12">
                  <c:v>45081</c:v>
                </c:pt>
                <c:pt idx="13">
                  <c:v>45088</c:v>
                </c:pt>
                <c:pt idx="14">
                  <c:v>45144</c:v>
                </c:pt>
                <c:pt idx="15">
                  <c:v>45207</c:v>
                </c:pt>
                <c:pt idx="16">
                  <c:v>45277</c:v>
                </c:pt>
                <c:pt idx="17">
                  <c:v>45284</c:v>
                </c:pt>
                <c:pt idx="18">
                  <c:v>45291</c:v>
                </c:pt>
                <c:pt idx="19">
                  <c:v>45298</c:v>
                </c:pt>
                <c:pt idx="20">
                  <c:v>45305</c:v>
                </c:pt>
                <c:pt idx="21">
                  <c:v>45312</c:v>
                </c:pt>
                <c:pt idx="22">
                  <c:v>45319</c:v>
                </c:pt>
                <c:pt idx="23">
                  <c:v>45326</c:v>
                </c:pt>
                <c:pt idx="24">
                  <c:v>45333</c:v>
                </c:pt>
                <c:pt idx="25">
                  <c:v>45340</c:v>
                </c:pt>
                <c:pt idx="26">
                  <c:v>45347</c:v>
                </c:pt>
                <c:pt idx="27">
                  <c:v>45354</c:v>
                </c:pt>
                <c:pt idx="28">
                  <c:v>45375</c:v>
                </c:pt>
                <c:pt idx="29">
                  <c:v>45382</c:v>
                </c:pt>
                <c:pt idx="30">
                  <c:v>45389</c:v>
                </c:pt>
                <c:pt idx="31">
                  <c:v>45396</c:v>
                </c:pt>
                <c:pt idx="32">
                  <c:v>45403</c:v>
                </c:pt>
                <c:pt idx="33">
                  <c:v>45410</c:v>
                </c:pt>
                <c:pt idx="34">
                  <c:v>45417</c:v>
                </c:pt>
                <c:pt idx="35">
                  <c:v>45424</c:v>
                </c:pt>
                <c:pt idx="36">
                  <c:v>45431</c:v>
                </c:pt>
                <c:pt idx="37">
                  <c:v>45438</c:v>
                </c:pt>
                <c:pt idx="38">
                  <c:v>45445</c:v>
                </c:pt>
                <c:pt idx="39">
                  <c:v>45452</c:v>
                </c:pt>
                <c:pt idx="40">
                  <c:v>45459</c:v>
                </c:pt>
                <c:pt idx="41">
                  <c:v>45466</c:v>
                </c:pt>
              </c:numCache>
            </c:numRef>
          </c:cat>
          <c:val>
            <c:numRef>
              <c:f>Sheet1!$B$2:$B$43</c:f>
              <c:numCache>
                <c:formatCode>General</c:formatCode>
                <c:ptCount val="42"/>
                <c:pt idx="0">
                  <c:v>7148</c:v>
                </c:pt>
                <c:pt idx="1">
                  <c:v>9663</c:v>
                </c:pt>
                <c:pt idx="2">
                  <c:v>6992</c:v>
                </c:pt>
                <c:pt idx="3">
                  <c:v>2878</c:v>
                </c:pt>
                <c:pt idx="4">
                  <c:v>2476</c:v>
                </c:pt>
                <c:pt idx="5">
                  <c:v>1123</c:v>
                </c:pt>
                <c:pt idx="6">
                  <c:v>1062</c:v>
                </c:pt>
                <c:pt idx="7">
                  <c:v>1267</c:v>
                </c:pt>
                <c:pt idx="8">
                  <c:v>1097</c:v>
                </c:pt>
                <c:pt idx="9">
                  <c:v>945</c:v>
                </c:pt>
                <c:pt idx="10">
                  <c:v>3036</c:v>
                </c:pt>
                <c:pt idx="11">
                  <c:v>2641</c:v>
                </c:pt>
                <c:pt idx="12">
                  <c:v>9418</c:v>
                </c:pt>
                <c:pt idx="13">
                  <c:v>604</c:v>
                </c:pt>
                <c:pt idx="14">
                  <c:v>6451</c:v>
                </c:pt>
                <c:pt idx="15">
                  <c:v>18524</c:v>
                </c:pt>
                <c:pt idx="16">
                  <c:v>5879</c:v>
                </c:pt>
                <c:pt idx="17">
                  <c:v>9718</c:v>
                </c:pt>
                <c:pt idx="18">
                  <c:v>5487</c:v>
                </c:pt>
                <c:pt idx="19">
                  <c:v>25354</c:v>
                </c:pt>
                <c:pt idx="20">
                  <c:v>53287</c:v>
                </c:pt>
                <c:pt idx="21">
                  <c:v>53470</c:v>
                </c:pt>
                <c:pt idx="22">
                  <c:v>57988</c:v>
                </c:pt>
                <c:pt idx="23">
                  <c:v>58672</c:v>
                </c:pt>
                <c:pt idx="24">
                  <c:v>64260</c:v>
                </c:pt>
                <c:pt idx="25">
                  <c:v>53172</c:v>
                </c:pt>
                <c:pt idx="26">
                  <c:v>23706</c:v>
                </c:pt>
                <c:pt idx="27">
                  <c:v>2874</c:v>
                </c:pt>
                <c:pt idx="28">
                  <c:v>1734</c:v>
                </c:pt>
                <c:pt idx="29">
                  <c:v>1858</c:v>
                </c:pt>
                <c:pt idx="30">
                  <c:v>21370</c:v>
                </c:pt>
                <c:pt idx="31">
                  <c:v>34551</c:v>
                </c:pt>
                <c:pt idx="32">
                  <c:v>35288</c:v>
                </c:pt>
                <c:pt idx="33">
                  <c:v>34168</c:v>
                </c:pt>
                <c:pt idx="34">
                  <c:v>38784</c:v>
                </c:pt>
                <c:pt idx="35">
                  <c:v>52029</c:v>
                </c:pt>
                <c:pt idx="36">
                  <c:v>60068</c:v>
                </c:pt>
                <c:pt idx="37">
                  <c:v>62321</c:v>
                </c:pt>
                <c:pt idx="38">
                  <c:v>59826</c:v>
                </c:pt>
                <c:pt idx="39">
                  <c:v>62224</c:v>
                </c:pt>
                <c:pt idx="40">
                  <c:v>66601</c:v>
                </c:pt>
                <c:pt idx="41">
                  <c:v>37911</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43</c:f>
              <c:numCache>
                <c:formatCode>yyyy\-mm\-dd</c:formatCode>
                <c:ptCount val="42"/>
                <c:pt idx="0">
                  <c:v>44934</c:v>
                </c:pt>
                <c:pt idx="1">
                  <c:v>44941</c:v>
                </c:pt>
                <c:pt idx="2">
                  <c:v>44948</c:v>
                </c:pt>
                <c:pt idx="3">
                  <c:v>44955</c:v>
                </c:pt>
                <c:pt idx="4">
                  <c:v>44962</c:v>
                </c:pt>
                <c:pt idx="5">
                  <c:v>44969</c:v>
                </c:pt>
                <c:pt idx="6">
                  <c:v>44976</c:v>
                </c:pt>
                <c:pt idx="7">
                  <c:v>44983</c:v>
                </c:pt>
                <c:pt idx="8">
                  <c:v>44990</c:v>
                </c:pt>
                <c:pt idx="9">
                  <c:v>44997</c:v>
                </c:pt>
                <c:pt idx="10">
                  <c:v>45011</c:v>
                </c:pt>
                <c:pt idx="11">
                  <c:v>45018</c:v>
                </c:pt>
                <c:pt idx="12">
                  <c:v>45081</c:v>
                </c:pt>
                <c:pt idx="13">
                  <c:v>45088</c:v>
                </c:pt>
                <c:pt idx="14">
                  <c:v>45144</c:v>
                </c:pt>
                <c:pt idx="15">
                  <c:v>45207</c:v>
                </c:pt>
                <c:pt idx="16">
                  <c:v>45277</c:v>
                </c:pt>
                <c:pt idx="17">
                  <c:v>45284</c:v>
                </c:pt>
                <c:pt idx="18">
                  <c:v>45291</c:v>
                </c:pt>
                <c:pt idx="19">
                  <c:v>45298</c:v>
                </c:pt>
                <c:pt idx="20">
                  <c:v>45305</c:v>
                </c:pt>
                <c:pt idx="21">
                  <c:v>45312</c:v>
                </c:pt>
                <c:pt idx="22">
                  <c:v>45319</c:v>
                </c:pt>
                <c:pt idx="23">
                  <c:v>45326</c:v>
                </c:pt>
                <c:pt idx="24">
                  <c:v>45333</c:v>
                </c:pt>
                <c:pt idx="25">
                  <c:v>45340</c:v>
                </c:pt>
                <c:pt idx="26">
                  <c:v>45347</c:v>
                </c:pt>
                <c:pt idx="27">
                  <c:v>45354</c:v>
                </c:pt>
                <c:pt idx="28">
                  <c:v>45375</c:v>
                </c:pt>
                <c:pt idx="29">
                  <c:v>45382</c:v>
                </c:pt>
                <c:pt idx="30">
                  <c:v>45389</c:v>
                </c:pt>
                <c:pt idx="31">
                  <c:v>45396</c:v>
                </c:pt>
                <c:pt idx="32">
                  <c:v>45403</c:v>
                </c:pt>
                <c:pt idx="33">
                  <c:v>45410</c:v>
                </c:pt>
                <c:pt idx="34">
                  <c:v>45417</c:v>
                </c:pt>
                <c:pt idx="35">
                  <c:v>45424</c:v>
                </c:pt>
                <c:pt idx="36">
                  <c:v>45431</c:v>
                </c:pt>
                <c:pt idx="37">
                  <c:v>45438</c:v>
                </c:pt>
                <c:pt idx="38">
                  <c:v>45445</c:v>
                </c:pt>
                <c:pt idx="39">
                  <c:v>45452</c:v>
                </c:pt>
                <c:pt idx="40">
                  <c:v>45459</c:v>
                </c:pt>
                <c:pt idx="41">
                  <c:v>45466</c:v>
                </c:pt>
              </c:numCache>
            </c:numRef>
          </c:cat>
          <c:val>
            <c:numRef>
              <c:f>Sheet1!$C$2:$C$43</c:f>
              <c:numCache>
                <c:formatCode>General</c:formatCode>
                <c:ptCount val="42"/>
                <c:pt idx="0">
                  <c:v>429356</c:v>
                </c:pt>
                <c:pt idx="1">
                  <c:v>423274</c:v>
                </c:pt>
                <c:pt idx="2">
                  <c:v>419448</c:v>
                </c:pt>
                <c:pt idx="3">
                  <c:v>411013</c:v>
                </c:pt>
                <c:pt idx="4">
                  <c:v>431352</c:v>
                </c:pt>
                <c:pt idx="5">
                  <c:v>433546</c:v>
                </c:pt>
                <c:pt idx="6">
                  <c:v>424858</c:v>
                </c:pt>
                <c:pt idx="7">
                  <c:v>457088</c:v>
                </c:pt>
                <c:pt idx="8">
                  <c:v>477073</c:v>
                </c:pt>
                <c:pt idx="9">
                  <c:v>464747</c:v>
                </c:pt>
                <c:pt idx="10">
                  <c:v>443371</c:v>
                </c:pt>
                <c:pt idx="11">
                  <c:v>442136</c:v>
                </c:pt>
                <c:pt idx="12">
                  <c:v>499516</c:v>
                </c:pt>
                <c:pt idx="13">
                  <c:v>529847</c:v>
                </c:pt>
                <c:pt idx="14">
                  <c:v>542652</c:v>
                </c:pt>
                <c:pt idx="15">
                  <c:v>467944</c:v>
                </c:pt>
                <c:pt idx="16">
                  <c:v>450034</c:v>
                </c:pt>
                <c:pt idx="17">
                  <c:v>496034</c:v>
                </c:pt>
                <c:pt idx="18">
                  <c:v>401453</c:v>
                </c:pt>
                <c:pt idx="19">
                  <c:v>424704</c:v>
                </c:pt>
                <c:pt idx="20">
                  <c:v>374379</c:v>
                </c:pt>
                <c:pt idx="21">
                  <c:v>365148</c:v>
                </c:pt>
                <c:pt idx="22">
                  <c:v>390629</c:v>
                </c:pt>
                <c:pt idx="23">
                  <c:v>413006</c:v>
                </c:pt>
                <c:pt idx="24">
                  <c:v>399853</c:v>
                </c:pt>
                <c:pt idx="25">
                  <c:v>402305</c:v>
                </c:pt>
                <c:pt idx="26">
                  <c:v>463879</c:v>
                </c:pt>
                <c:pt idx="27">
                  <c:v>492657</c:v>
                </c:pt>
                <c:pt idx="28">
                  <c:v>470745</c:v>
                </c:pt>
                <c:pt idx="29">
                  <c:v>485661</c:v>
                </c:pt>
                <c:pt idx="30">
                  <c:v>492088</c:v>
                </c:pt>
                <c:pt idx="31">
                  <c:v>436855</c:v>
                </c:pt>
                <c:pt idx="32">
                  <c:v>406849</c:v>
                </c:pt>
                <c:pt idx="33">
                  <c:v>356468</c:v>
                </c:pt>
                <c:pt idx="34">
                  <c:v>388942</c:v>
                </c:pt>
                <c:pt idx="35">
                  <c:v>432077</c:v>
                </c:pt>
                <c:pt idx="36">
                  <c:v>435282</c:v>
                </c:pt>
                <c:pt idx="37">
                  <c:v>463313</c:v>
                </c:pt>
                <c:pt idx="38">
                  <c:v>463628</c:v>
                </c:pt>
                <c:pt idx="39">
                  <c:v>516137</c:v>
                </c:pt>
                <c:pt idx="40">
                  <c:v>475229</c:v>
                </c:pt>
                <c:pt idx="41">
                  <c:v>506653</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43</c:f>
              <c:numCache>
                <c:formatCode>yyyy\-mm\-dd</c:formatCode>
                <c:ptCount val="42"/>
                <c:pt idx="0">
                  <c:v>44934</c:v>
                </c:pt>
                <c:pt idx="1">
                  <c:v>44941</c:v>
                </c:pt>
                <c:pt idx="2">
                  <c:v>44948</c:v>
                </c:pt>
                <c:pt idx="3">
                  <c:v>44955</c:v>
                </c:pt>
                <c:pt idx="4">
                  <c:v>44962</c:v>
                </c:pt>
                <c:pt idx="5">
                  <c:v>44969</c:v>
                </c:pt>
                <c:pt idx="6">
                  <c:v>44976</c:v>
                </c:pt>
                <c:pt idx="7">
                  <c:v>44983</c:v>
                </c:pt>
                <c:pt idx="8">
                  <c:v>44990</c:v>
                </c:pt>
                <c:pt idx="9">
                  <c:v>44997</c:v>
                </c:pt>
                <c:pt idx="10">
                  <c:v>45011</c:v>
                </c:pt>
                <c:pt idx="11">
                  <c:v>45018</c:v>
                </c:pt>
                <c:pt idx="12">
                  <c:v>45081</c:v>
                </c:pt>
                <c:pt idx="13">
                  <c:v>45088</c:v>
                </c:pt>
                <c:pt idx="14">
                  <c:v>45144</c:v>
                </c:pt>
                <c:pt idx="15">
                  <c:v>45207</c:v>
                </c:pt>
                <c:pt idx="16">
                  <c:v>45277</c:v>
                </c:pt>
                <c:pt idx="17">
                  <c:v>45284</c:v>
                </c:pt>
                <c:pt idx="18">
                  <c:v>45291</c:v>
                </c:pt>
                <c:pt idx="19">
                  <c:v>45298</c:v>
                </c:pt>
                <c:pt idx="20">
                  <c:v>45305</c:v>
                </c:pt>
                <c:pt idx="21">
                  <c:v>45312</c:v>
                </c:pt>
                <c:pt idx="22">
                  <c:v>45319</c:v>
                </c:pt>
                <c:pt idx="23">
                  <c:v>45326</c:v>
                </c:pt>
                <c:pt idx="24">
                  <c:v>45333</c:v>
                </c:pt>
                <c:pt idx="25">
                  <c:v>45340</c:v>
                </c:pt>
                <c:pt idx="26">
                  <c:v>45347</c:v>
                </c:pt>
                <c:pt idx="27">
                  <c:v>45354</c:v>
                </c:pt>
                <c:pt idx="28">
                  <c:v>45375</c:v>
                </c:pt>
                <c:pt idx="29">
                  <c:v>45382</c:v>
                </c:pt>
                <c:pt idx="30">
                  <c:v>45389</c:v>
                </c:pt>
                <c:pt idx="31">
                  <c:v>45396</c:v>
                </c:pt>
                <c:pt idx="32">
                  <c:v>45403</c:v>
                </c:pt>
                <c:pt idx="33">
                  <c:v>45410</c:v>
                </c:pt>
                <c:pt idx="34">
                  <c:v>45417</c:v>
                </c:pt>
                <c:pt idx="35">
                  <c:v>45424</c:v>
                </c:pt>
                <c:pt idx="36">
                  <c:v>45431</c:v>
                </c:pt>
                <c:pt idx="37">
                  <c:v>45438</c:v>
                </c:pt>
                <c:pt idx="38">
                  <c:v>45445</c:v>
                </c:pt>
                <c:pt idx="39">
                  <c:v>45452</c:v>
                </c:pt>
                <c:pt idx="40">
                  <c:v>45459</c:v>
                </c:pt>
                <c:pt idx="41">
                  <c:v>45466</c:v>
                </c:pt>
              </c:numCache>
            </c:numRef>
          </c:cat>
          <c:val>
            <c:numRef>
              <c:f>Sheet1!$D$2:$D$43</c:f>
              <c:numCache>
                <c:formatCode>General</c:formatCode>
                <c:ptCount val="42"/>
                <c:pt idx="0">
                  <c:v>436504</c:v>
                </c:pt>
                <c:pt idx="1">
                  <c:v>432937</c:v>
                </c:pt>
                <c:pt idx="2">
                  <c:v>426440</c:v>
                </c:pt>
                <c:pt idx="3">
                  <c:v>413891</c:v>
                </c:pt>
                <c:pt idx="4">
                  <c:v>433828</c:v>
                </c:pt>
                <c:pt idx="5">
                  <c:v>434669</c:v>
                </c:pt>
                <c:pt idx="6">
                  <c:v>425920</c:v>
                </c:pt>
                <c:pt idx="7">
                  <c:v>458355</c:v>
                </c:pt>
                <c:pt idx="8">
                  <c:v>478170</c:v>
                </c:pt>
                <c:pt idx="9">
                  <c:v>465692</c:v>
                </c:pt>
                <c:pt idx="10">
                  <c:v>446407</c:v>
                </c:pt>
                <c:pt idx="11">
                  <c:v>444777</c:v>
                </c:pt>
                <c:pt idx="12">
                  <c:v>508934</c:v>
                </c:pt>
                <c:pt idx="13">
                  <c:v>530451</c:v>
                </c:pt>
                <c:pt idx="14">
                  <c:v>549103</c:v>
                </c:pt>
                <c:pt idx="15">
                  <c:v>486468</c:v>
                </c:pt>
                <c:pt idx="16">
                  <c:v>455913</c:v>
                </c:pt>
                <c:pt idx="17">
                  <c:v>505752</c:v>
                </c:pt>
                <c:pt idx="18">
                  <c:v>406940</c:v>
                </c:pt>
                <c:pt idx="19">
                  <c:v>450058</c:v>
                </c:pt>
                <c:pt idx="20">
                  <c:v>427666</c:v>
                </c:pt>
                <c:pt idx="21">
                  <c:v>418618</c:v>
                </c:pt>
                <c:pt idx="22">
                  <c:v>448617</c:v>
                </c:pt>
                <c:pt idx="23">
                  <c:v>471678</c:v>
                </c:pt>
                <c:pt idx="24">
                  <c:v>464113</c:v>
                </c:pt>
                <c:pt idx="25">
                  <c:v>455477</c:v>
                </c:pt>
                <c:pt idx="26">
                  <c:v>487585</c:v>
                </c:pt>
                <c:pt idx="27">
                  <c:v>495531</c:v>
                </c:pt>
                <c:pt idx="28">
                  <c:v>472479</c:v>
                </c:pt>
                <c:pt idx="29">
                  <c:v>487519</c:v>
                </c:pt>
                <c:pt idx="30">
                  <c:v>513458</c:v>
                </c:pt>
                <c:pt idx="31">
                  <c:v>471406</c:v>
                </c:pt>
                <c:pt idx="32">
                  <c:v>442137</c:v>
                </c:pt>
                <c:pt idx="33">
                  <c:v>390636</c:v>
                </c:pt>
                <c:pt idx="34">
                  <c:v>427726</c:v>
                </c:pt>
                <c:pt idx="35">
                  <c:v>484106</c:v>
                </c:pt>
                <c:pt idx="36">
                  <c:v>495350</c:v>
                </c:pt>
                <c:pt idx="37">
                  <c:v>525634</c:v>
                </c:pt>
                <c:pt idx="38">
                  <c:v>523454</c:v>
                </c:pt>
                <c:pt idx="39">
                  <c:v>578361</c:v>
                </c:pt>
                <c:pt idx="40">
                  <c:v>541830</c:v>
                </c:pt>
                <c:pt idx="41">
                  <c:v>544564</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43</c:f>
              <c:numCache>
                <c:formatCode>yyyy\-mm\-dd</c:formatCode>
                <c:ptCount val="42"/>
                <c:pt idx="0">
                  <c:v>44934</c:v>
                </c:pt>
                <c:pt idx="1">
                  <c:v>44941</c:v>
                </c:pt>
                <c:pt idx="2">
                  <c:v>44948</c:v>
                </c:pt>
                <c:pt idx="3">
                  <c:v>44955</c:v>
                </c:pt>
                <c:pt idx="4">
                  <c:v>44962</c:v>
                </c:pt>
                <c:pt idx="5">
                  <c:v>44969</c:v>
                </c:pt>
                <c:pt idx="6">
                  <c:v>44976</c:v>
                </c:pt>
                <c:pt idx="7">
                  <c:v>44983</c:v>
                </c:pt>
                <c:pt idx="8">
                  <c:v>44990</c:v>
                </c:pt>
                <c:pt idx="9">
                  <c:v>44997</c:v>
                </c:pt>
                <c:pt idx="10">
                  <c:v>45011</c:v>
                </c:pt>
                <c:pt idx="11">
                  <c:v>45018</c:v>
                </c:pt>
                <c:pt idx="12">
                  <c:v>45081</c:v>
                </c:pt>
                <c:pt idx="13">
                  <c:v>45088</c:v>
                </c:pt>
                <c:pt idx="14">
                  <c:v>45144</c:v>
                </c:pt>
                <c:pt idx="15">
                  <c:v>45207</c:v>
                </c:pt>
                <c:pt idx="16">
                  <c:v>45277</c:v>
                </c:pt>
                <c:pt idx="17">
                  <c:v>45284</c:v>
                </c:pt>
                <c:pt idx="18">
                  <c:v>45291</c:v>
                </c:pt>
                <c:pt idx="19">
                  <c:v>45298</c:v>
                </c:pt>
                <c:pt idx="20">
                  <c:v>45305</c:v>
                </c:pt>
                <c:pt idx="21">
                  <c:v>45312</c:v>
                </c:pt>
                <c:pt idx="22">
                  <c:v>45319</c:v>
                </c:pt>
                <c:pt idx="23">
                  <c:v>45326</c:v>
                </c:pt>
                <c:pt idx="24">
                  <c:v>45333</c:v>
                </c:pt>
                <c:pt idx="25">
                  <c:v>45340</c:v>
                </c:pt>
                <c:pt idx="26">
                  <c:v>45347</c:v>
                </c:pt>
                <c:pt idx="27">
                  <c:v>45354</c:v>
                </c:pt>
                <c:pt idx="28">
                  <c:v>45375</c:v>
                </c:pt>
                <c:pt idx="29">
                  <c:v>45382</c:v>
                </c:pt>
                <c:pt idx="30">
                  <c:v>45389</c:v>
                </c:pt>
                <c:pt idx="31">
                  <c:v>45396</c:v>
                </c:pt>
                <c:pt idx="32">
                  <c:v>45403</c:v>
                </c:pt>
                <c:pt idx="33">
                  <c:v>45410</c:v>
                </c:pt>
                <c:pt idx="34">
                  <c:v>45417</c:v>
                </c:pt>
                <c:pt idx="35">
                  <c:v>45424</c:v>
                </c:pt>
                <c:pt idx="36">
                  <c:v>45431</c:v>
                </c:pt>
                <c:pt idx="37">
                  <c:v>45438</c:v>
                </c:pt>
                <c:pt idx="38">
                  <c:v>45445</c:v>
                </c:pt>
                <c:pt idx="39">
                  <c:v>45452</c:v>
                </c:pt>
                <c:pt idx="40">
                  <c:v>45459</c:v>
                </c:pt>
                <c:pt idx="41">
                  <c:v>45466</c:v>
                </c:pt>
              </c:numCache>
            </c:numRef>
          </c:cat>
          <c:val>
            <c:numRef>
              <c:f>Sheet1!$E$2:$E$43</c:f>
              <c:numCache>
                <c:formatCode>General</c:formatCode>
                <c:ptCount val="42"/>
                <c:pt idx="0">
                  <c:v>420774</c:v>
                </c:pt>
                <c:pt idx="1">
                  <c:v>422903</c:v>
                </c:pt>
                <c:pt idx="2">
                  <c:v>423539</c:v>
                </c:pt>
                <c:pt idx="3">
                  <c:v>423169</c:v>
                </c:pt>
                <c:pt idx="4">
                  <c:v>427292</c:v>
                </c:pt>
                <c:pt idx="5">
                  <c:v>434788</c:v>
                </c:pt>
                <c:pt idx="6">
                  <c:v>440633</c:v>
                </c:pt>
                <c:pt idx="7">
                  <c:v>444301</c:v>
                </c:pt>
                <c:pt idx="8">
                  <c:v>448781</c:v>
                </c:pt>
                <c:pt idx="9">
                  <c:v>450223</c:v>
                </c:pt>
                <c:pt idx="10">
                  <c:v>458859</c:v>
                </c:pt>
                <c:pt idx="11">
                  <c:v>459656</c:v>
                </c:pt>
                <c:pt idx="12">
                  <c:v>492311</c:v>
                </c:pt>
                <c:pt idx="13">
                  <c:v>493514</c:v>
                </c:pt>
                <c:pt idx="14">
                  <c:v>518383</c:v>
                </c:pt>
                <c:pt idx="15">
                  <c:v>469858</c:v>
                </c:pt>
                <c:pt idx="16">
                  <c:v>447967</c:v>
                </c:pt>
                <c:pt idx="17">
                  <c:v>449205</c:v>
                </c:pt>
                <c:pt idx="18">
                  <c:v>452244</c:v>
                </c:pt>
                <c:pt idx="19">
                  <c:v>453977</c:v>
                </c:pt>
                <c:pt idx="20">
                  <c:v>454111</c:v>
                </c:pt>
                <c:pt idx="21">
                  <c:v>456754</c:v>
                </c:pt>
                <c:pt idx="22">
                  <c:v>452672</c:v>
                </c:pt>
                <c:pt idx="23">
                  <c:v>464537</c:v>
                </c:pt>
                <c:pt idx="24">
                  <c:v>471635</c:v>
                </c:pt>
                <c:pt idx="25">
                  <c:v>476922</c:v>
                </c:pt>
                <c:pt idx="26">
                  <c:v>483823</c:v>
                </c:pt>
                <c:pt idx="27">
                  <c:v>486772</c:v>
                </c:pt>
                <c:pt idx="28">
                  <c:v>490382</c:v>
                </c:pt>
                <c:pt idx="29">
                  <c:v>478635</c:v>
                </c:pt>
                <c:pt idx="30">
                  <c:v>465252</c:v>
                </c:pt>
                <c:pt idx="31">
                  <c:v>457222</c:v>
                </c:pt>
                <c:pt idx="32">
                  <c:v>457583</c:v>
                </c:pt>
                <c:pt idx="33">
                  <c:v>460068</c:v>
                </c:pt>
                <c:pt idx="34">
                  <c:v>464301</c:v>
                </c:pt>
                <c:pt idx="35">
                  <c:v>465522</c:v>
                </c:pt>
                <c:pt idx="36">
                  <c:v>478095</c:v>
                </c:pt>
                <c:pt idx="37">
                  <c:v>490243</c:v>
                </c:pt>
                <c:pt idx="38">
                  <c:v>509997</c:v>
                </c:pt>
                <c:pt idx="39">
                  <c:v>534380</c:v>
                </c:pt>
                <c:pt idx="40">
                  <c:v>548664</c:v>
                </c:pt>
                <c:pt idx="41">
                  <c:v>551888</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43</c:f>
              <c:numCache>
                <c:formatCode>yyyy\-mm\-dd</c:formatCode>
                <c:ptCount val="42"/>
                <c:pt idx="0">
                  <c:v>44934</c:v>
                </c:pt>
                <c:pt idx="1">
                  <c:v>44941</c:v>
                </c:pt>
                <c:pt idx="2">
                  <c:v>44948</c:v>
                </c:pt>
                <c:pt idx="3">
                  <c:v>44955</c:v>
                </c:pt>
                <c:pt idx="4">
                  <c:v>44962</c:v>
                </c:pt>
                <c:pt idx="5">
                  <c:v>44969</c:v>
                </c:pt>
                <c:pt idx="6">
                  <c:v>44976</c:v>
                </c:pt>
                <c:pt idx="7">
                  <c:v>44983</c:v>
                </c:pt>
                <c:pt idx="8">
                  <c:v>44990</c:v>
                </c:pt>
                <c:pt idx="9">
                  <c:v>44997</c:v>
                </c:pt>
                <c:pt idx="10">
                  <c:v>45011</c:v>
                </c:pt>
                <c:pt idx="11">
                  <c:v>45018</c:v>
                </c:pt>
                <c:pt idx="12">
                  <c:v>45081</c:v>
                </c:pt>
                <c:pt idx="13">
                  <c:v>45088</c:v>
                </c:pt>
                <c:pt idx="14">
                  <c:v>45144</c:v>
                </c:pt>
                <c:pt idx="15">
                  <c:v>45207</c:v>
                </c:pt>
                <c:pt idx="16">
                  <c:v>45277</c:v>
                </c:pt>
                <c:pt idx="17">
                  <c:v>45284</c:v>
                </c:pt>
                <c:pt idx="18">
                  <c:v>45291</c:v>
                </c:pt>
                <c:pt idx="19">
                  <c:v>45298</c:v>
                </c:pt>
                <c:pt idx="20">
                  <c:v>45305</c:v>
                </c:pt>
                <c:pt idx="21">
                  <c:v>45312</c:v>
                </c:pt>
                <c:pt idx="22">
                  <c:v>45319</c:v>
                </c:pt>
                <c:pt idx="23">
                  <c:v>45326</c:v>
                </c:pt>
                <c:pt idx="24">
                  <c:v>45333</c:v>
                </c:pt>
                <c:pt idx="25">
                  <c:v>45340</c:v>
                </c:pt>
                <c:pt idx="26">
                  <c:v>45347</c:v>
                </c:pt>
                <c:pt idx="27">
                  <c:v>45354</c:v>
                </c:pt>
                <c:pt idx="28">
                  <c:v>45375</c:v>
                </c:pt>
                <c:pt idx="29">
                  <c:v>45382</c:v>
                </c:pt>
                <c:pt idx="30">
                  <c:v>45389</c:v>
                </c:pt>
                <c:pt idx="31">
                  <c:v>45396</c:v>
                </c:pt>
                <c:pt idx="32">
                  <c:v>45403</c:v>
                </c:pt>
                <c:pt idx="33">
                  <c:v>45410</c:v>
                </c:pt>
                <c:pt idx="34">
                  <c:v>45417</c:v>
                </c:pt>
                <c:pt idx="35">
                  <c:v>45424</c:v>
                </c:pt>
                <c:pt idx="36">
                  <c:v>45431</c:v>
                </c:pt>
                <c:pt idx="37">
                  <c:v>45438</c:v>
                </c:pt>
                <c:pt idx="38">
                  <c:v>45445</c:v>
                </c:pt>
                <c:pt idx="39">
                  <c:v>45452</c:v>
                </c:pt>
                <c:pt idx="40">
                  <c:v>45459</c:v>
                </c:pt>
                <c:pt idx="41">
                  <c:v>45466</c:v>
                </c:pt>
              </c:numCache>
            </c:numRef>
          </c:cat>
          <c:val>
            <c:numRef>
              <c:f>Sheet1!$F$2:$F$43</c:f>
              <c:numCache>
                <c:formatCode>General</c:formatCode>
                <c:ptCount val="42"/>
                <c:pt idx="0">
                  <c:v>0.02</c:v>
                </c:pt>
                <c:pt idx="1">
                  <c:v>0.02</c:v>
                </c:pt>
                <c:pt idx="2">
                  <c:v>0.01</c:v>
                </c:pt>
                <c:pt idx="3">
                  <c:v>0.01</c:v>
                </c:pt>
                <c:pt idx="4">
                  <c:v>0</c:v>
                </c:pt>
                <c:pt idx="5">
                  <c:v>0</c:v>
                </c:pt>
                <c:pt idx="6">
                  <c:v>0</c:v>
                </c:pt>
                <c:pt idx="7">
                  <c:v>0</c:v>
                </c:pt>
                <c:pt idx="8">
                  <c:v>0</c:v>
                </c:pt>
                <c:pt idx="9">
                  <c:v>0</c:v>
                </c:pt>
                <c:pt idx="10">
                  <c:v>0</c:v>
                </c:pt>
                <c:pt idx="11">
                  <c:v>0</c:v>
                </c:pt>
                <c:pt idx="12">
                  <c:v>0.01</c:v>
                </c:pt>
                <c:pt idx="13">
                  <c:v>0</c:v>
                </c:pt>
                <c:pt idx="14">
                  <c:v>0.01</c:v>
                </c:pt>
                <c:pt idx="15">
                  <c:v>0.01</c:v>
                </c:pt>
                <c:pt idx="16">
                  <c:v>0.01</c:v>
                </c:pt>
                <c:pt idx="17">
                  <c:v>0.01</c:v>
                </c:pt>
                <c:pt idx="18">
                  <c:v>0.01</c:v>
                </c:pt>
                <c:pt idx="19">
                  <c:v>0.02</c:v>
                </c:pt>
                <c:pt idx="20">
                  <c:v>0.05</c:v>
                </c:pt>
                <c:pt idx="21">
                  <c:v>0.04</c:v>
                </c:pt>
                <c:pt idx="22">
                  <c:v>0.04</c:v>
                </c:pt>
                <c:pt idx="23">
                  <c:v>0.04</c:v>
                </c:pt>
                <c:pt idx="24">
                  <c:v>0.05</c:v>
                </c:pt>
                <c:pt idx="25">
                  <c:v>0.05</c:v>
                </c:pt>
                <c:pt idx="26">
                  <c:v>0.03</c:v>
                </c:pt>
                <c:pt idx="27">
                  <c:v>0.01</c:v>
                </c:pt>
                <c:pt idx="28">
                  <c:v>0.01</c:v>
                </c:pt>
                <c:pt idx="29">
                  <c:v>0.01</c:v>
                </c:pt>
                <c:pt idx="30">
                  <c:v>0.11</c:v>
                </c:pt>
                <c:pt idx="31">
                  <c:v>0.19</c:v>
                </c:pt>
                <c:pt idx="32">
                  <c:v>0.2</c:v>
                </c:pt>
                <c:pt idx="33">
                  <c:v>0.2</c:v>
                </c:pt>
                <c:pt idx="34">
                  <c:v>0.21</c:v>
                </c:pt>
                <c:pt idx="35">
                  <c:v>0.21</c:v>
                </c:pt>
                <c:pt idx="36">
                  <c:v>0.21</c:v>
                </c:pt>
                <c:pt idx="37">
                  <c:v>0.21</c:v>
                </c:pt>
                <c:pt idx="38">
                  <c:v>0.21</c:v>
                </c:pt>
                <c:pt idx="39">
                  <c:v>0.21</c:v>
                </c:pt>
                <c:pt idx="40">
                  <c:v>0.21</c:v>
                </c:pt>
                <c:pt idx="41">
                  <c:v>0.18</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9</c:f>
              <c:numCache>
                <c:formatCode>yyyy\-mm\-dd</c:formatCode>
                <c:ptCount val="8"/>
                <c:pt idx="0">
                  <c:v>45032</c:v>
                </c:pt>
                <c:pt idx="1">
                  <c:v>45039</c:v>
                </c:pt>
                <c:pt idx="2">
                  <c:v>45046</c:v>
                </c:pt>
                <c:pt idx="3">
                  <c:v>45053</c:v>
                </c:pt>
                <c:pt idx="4">
                  <c:v>45060</c:v>
                </c:pt>
                <c:pt idx="5">
                  <c:v>45067</c:v>
                </c:pt>
                <c:pt idx="6">
                  <c:v>45592</c:v>
                </c:pt>
                <c:pt idx="7">
                  <c:v>45613</c:v>
                </c:pt>
              </c:numCache>
            </c:numRef>
          </c:cat>
          <c:val>
            <c:numRef>
              <c:f>Sheet1!$B$2:$B$9</c:f>
              <c:numCache>
                <c:formatCode>General</c:formatCode>
                <c:ptCount val="8"/>
                <c:pt idx="0">
                  <c:v>2360</c:v>
                </c:pt>
                <c:pt idx="1">
                  <c:v>1769</c:v>
                </c:pt>
                <c:pt idx="2">
                  <c:v>911</c:v>
                </c:pt>
                <c:pt idx="3">
                  <c:v>471</c:v>
                </c:pt>
                <c:pt idx="4">
                  <c:v>417</c:v>
                </c:pt>
                <c:pt idx="5">
                  <c:v>295</c:v>
                </c:pt>
                <c:pt idx="6">
                  <c:v>610</c:v>
                </c:pt>
                <c:pt idx="7">
                  <c:v>681</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9</c:f>
              <c:numCache>
                <c:formatCode>yyyy\-mm\-dd</c:formatCode>
                <c:ptCount val="8"/>
                <c:pt idx="0">
                  <c:v>45032</c:v>
                </c:pt>
                <c:pt idx="1">
                  <c:v>45039</c:v>
                </c:pt>
                <c:pt idx="2">
                  <c:v>45046</c:v>
                </c:pt>
                <c:pt idx="3">
                  <c:v>45053</c:v>
                </c:pt>
                <c:pt idx="4">
                  <c:v>45060</c:v>
                </c:pt>
                <c:pt idx="5">
                  <c:v>45067</c:v>
                </c:pt>
                <c:pt idx="6">
                  <c:v>45592</c:v>
                </c:pt>
                <c:pt idx="7">
                  <c:v>45613</c:v>
                </c:pt>
              </c:numCache>
            </c:numRef>
          </c:cat>
          <c:val>
            <c:numRef>
              <c:f>Sheet1!$C$2:$C$9</c:f>
              <c:numCache>
                <c:formatCode>General</c:formatCode>
                <c:ptCount val="8"/>
                <c:pt idx="0">
                  <c:v>10459</c:v>
                </c:pt>
                <c:pt idx="1">
                  <c:v>35880</c:v>
                </c:pt>
                <c:pt idx="2">
                  <c:v>58406</c:v>
                </c:pt>
                <c:pt idx="3">
                  <c:v>67405</c:v>
                </c:pt>
                <c:pt idx="4">
                  <c:v>66708</c:v>
                </c:pt>
                <c:pt idx="5">
                  <c:v>66172</c:v>
                </c:pt>
                <c:pt idx="6">
                  <c:v>42876</c:v>
                </c:pt>
                <c:pt idx="7">
                  <c:v>42538</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9</c:f>
              <c:numCache>
                <c:formatCode>yyyy\-mm\-dd</c:formatCode>
                <c:ptCount val="8"/>
                <c:pt idx="0">
                  <c:v>45032</c:v>
                </c:pt>
                <c:pt idx="1">
                  <c:v>45039</c:v>
                </c:pt>
                <c:pt idx="2">
                  <c:v>45046</c:v>
                </c:pt>
                <c:pt idx="3">
                  <c:v>45053</c:v>
                </c:pt>
                <c:pt idx="4">
                  <c:v>45060</c:v>
                </c:pt>
                <c:pt idx="5">
                  <c:v>45067</c:v>
                </c:pt>
                <c:pt idx="6">
                  <c:v>45592</c:v>
                </c:pt>
                <c:pt idx="7">
                  <c:v>45613</c:v>
                </c:pt>
              </c:numCache>
            </c:numRef>
          </c:cat>
          <c:val>
            <c:numRef>
              <c:f>Sheet1!$D$2:$D$9</c:f>
              <c:numCache>
                <c:formatCode>General</c:formatCode>
                <c:ptCount val="8"/>
                <c:pt idx="0">
                  <c:v>12819</c:v>
                </c:pt>
                <c:pt idx="1">
                  <c:v>37649</c:v>
                </c:pt>
                <c:pt idx="2">
                  <c:v>59317</c:v>
                </c:pt>
                <c:pt idx="3">
                  <c:v>67876</c:v>
                </c:pt>
                <c:pt idx="4">
                  <c:v>67125</c:v>
                </c:pt>
                <c:pt idx="5">
                  <c:v>66467</c:v>
                </c:pt>
                <c:pt idx="6">
                  <c:v>43486</c:v>
                </c:pt>
                <c:pt idx="7">
                  <c:v>43219</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9</c:f>
              <c:numCache>
                <c:formatCode>yyyy\-mm\-dd</c:formatCode>
                <c:ptCount val="8"/>
                <c:pt idx="0">
                  <c:v>45032</c:v>
                </c:pt>
                <c:pt idx="1">
                  <c:v>45039</c:v>
                </c:pt>
                <c:pt idx="2">
                  <c:v>45046</c:v>
                </c:pt>
                <c:pt idx="3">
                  <c:v>45053</c:v>
                </c:pt>
                <c:pt idx="4">
                  <c:v>45060</c:v>
                </c:pt>
                <c:pt idx="5">
                  <c:v>45067</c:v>
                </c:pt>
                <c:pt idx="6">
                  <c:v>45592</c:v>
                </c:pt>
                <c:pt idx="7">
                  <c:v>45613</c:v>
                </c:pt>
              </c:numCache>
            </c:numRef>
          </c:cat>
          <c:val>
            <c:numRef>
              <c:f>Sheet1!$E$2:$E$9</c:f>
              <c:numCache>
                <c:formatCode>General</c:formatCode>
                <c:ptCount val="8"/>
                <c:pt idx="0">
                  <c:v>48523</c:v>
                </c:pt>
                <c:pt idx="1">
                  <c:v>51093</c:v>
                </c:pt>
                <c:pt idx="2">
                  <c:v>52094</c:v>
                </c:pt>
                <c:pt idx="3">
                  <c:v>53978</c:v>
                </c:pt>
                <c:pt idx="4">
                  <c:v>56129</c:v>
                </c:pt>
                <c:pt idx="5">
                  <c:v>63926</c:v>
                </c:pt>
                <c:pt idx="6">
                  <c:v>45304</c:v>
                </c:pt>
                <c:pt idx="7">
                  <c:v>4367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9</c:f>
              <c:numCache>
                <c:formatCode>yyyy\-mm\-dd</c:formatCode>
                <c:ptCount val="8"/>
                <c:pt idx="0">
                  <c:v>45032</c:v>
                </c:pt>
                <c:pt idx="1">
                  <c:v>45039</c:v>
                </c:pt>
                <c:pt idx="2">
                  <c:v>45046</c:v>
                </c:pt>
                <c:pt idx="3">
                  <c:v>45053</c:v>
                </c:pt>
                <c:pt idx="4">
                  <c:v>45060</c:v>
                </c:pt>
                <c:pt idx="5">
                  <c:v>45067</c:v>
                </c:pt>
                <c:pt idx="6">
                  <c:v>45592</c:v>
                </c:pt>
                <c:pt idx="7">
                  <c:v>45613</c:v>
                </c:pt>
              </c:numCache>
            </c:numRef>
          </c:cat>
          <c:val>
            <c:numRef>
              <c:f>Sheet1!$F$2:$F$9</c:f>
              <c:numCache>
                <c:formatCode>General</c:formatCode>
                <c:ptCount val="8"/>
                <c:pt idx="0">
                  <c:v>0.35</c:v>
                </c:pt>
                <c:pt idx="1">
                  <c:v>0.12</c:v>
                </c:pt>
                <c:pt idx="2">
                  <c:v>0.04</c:v>
                </c:pt>
                <c:pt idx="3">
                  <c:v>0.02</c:v>
                </c:pt>
                <c:pt idx="4">
                  <c:v>0.01</c:v>
                </c:pt>
                <c:pt idx="5">
                  <c:v>0.01</c:v>
                </c:pt>
                <c:pt idx="6">
                  <c:v>0.02</c:v>
                </c:pt>
                <c:pt idx="7">
                  <c:v>0.02</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32</c:f>
              <c:numCache>
                <c:formatCode>yyyy\-mm\-dd</c:formatCode>
                <c:ptCount val="31"/>
                <c:pt idx="0">
                  <c:v>45032</c:v>
                </c:pt>
                <c:pt idx="1">
                  <c:v>45039</c:v>
                </c:pt>
                <c:pt idx="2">
                  <c:v>45046</c:v>
                </c:pt>
                <c:pt idx="3">
                  <c:v>45053</c:v>
                </c:pt>
                <c:pt idx="4">
                  <c:v>45060</c:v>
                </c:pt>
                <c:pt idx="5">
                  <c:v>45067</c:v>
                </c:pt>
                <c:pt idx="6">
                  <c:v>45074</c:v>
                </c:pt>
                <c:pt idx="7">
                  <c:v>45081</c:v>
                </c:pt>
                <c:pt idx="8">
                  <c:v>45088</c:v>
                </c:pt>
                <c:pt idx="9">
                  <c:v>45095</c:v>
                </c:pt>
                <c:pt idx="10">
                  <c:v>45102</c:v>
                </c:pt>
                <c:pt idx="11">
                  <c:v>45109</c:v>
                </c:pt>
                <c:pt idx="12">
                  <c:v>45221</c:v>
                </c:pt>
                <c:pt idx="13">
                  <c:v>45228</c:v>
                </c:pt>
                <c:pt idx="14">
                  <c:v>45235</c:v>
                </c:pt>
                <c:pt idx="15">
                  <c:v>45256</c:v>
                </c:pt>
                <c:pt idx="16">
                  <c:v>45270</c:v>
                </c:pt>
                <c:pt idx="17">
                  <c:v>45277</c:v>
                </c:pt>
                <c:pt idx="18">
                  <c:v>45312</c:v>
                </c:pt>
                <c:pt idx="19">
                  <c:v>45333</c:v>
                </c:pt>
                <c:pt idx="20">
                  <c:v>45347</c:v>
                </c:pt>
                <c:pt idx="21">
                  <c:v>45368</c:v>
                </c:pt>
                <c:pt idx="22">
                  <c:v>45382</c:v>
                </c:pt>
                <c:pt idx="23">
                  <c:v>45564</c:v>
                </c:pt>
                <c:pt idx="24">
                  <c:v>45641</c:v>
                </c:pt>
                <c:pt idx="25">
                  <c:v>45648</c:v>
                </c:pt>
                <c:pt idx="26">
                  <c:v>45655</c:v>
                </c:pt>
                <c:pt idx="27">
                  <c:v>45662</c:v>
                </c:pt>
                <c:pt idx="28">
                  <c:v>45669</c:v>
                </c:pt>
                <c:pt idx="29">
                  <c:v>45676</c:v>
                </c:pt>
                <c:pt idx="30">
                  <c:v>45683</c:v>
                </c:pt>
              </c:numCache>
            </c:numRef>
          </c:cat>
          <c:val>
            <c:numRef>
              <c:f>Sheet1!$B$2:$B$32</c:f>
              <c:numCache>
                <c:formatCode>General</c:formatCode>
                <c:ptCount val="31"/>
                <c:pt idx="0">
                  <c:v>12324</c:v>
                </c:pt>
                <c:pt idx="1">
                  <c:v>11892</c:v>
                </c:pt>
                <c:pt idx="2">
                  <c:v>5416</c:v>
                </c:pt>
                <c:pt idx="3">
                  <c:v>4549</c:v>
                </c:pt>
                <c:pt idx="4">
                  <c:v>3435</c:v>
                </c:pt>
                <c:pt idx="5">
                  <c:v>2370</c:v>
                </c:pt>
                <c:pt idx="6">
                  <c:v>1967</c:v>
                </c:pt>
                <c:pt idx="7">
                  <c:v>1286</c:v>
                </c:pt>
                <c:pt idx="8">
                  <c:v>1503</c:v>
                </c:pt>
                <c:pt idx="9">
                  <c:v>764</c:v>
                </c:pt>
                <c:pt idx="10">
                  <c:v>914</c:v>
                </c:pt>
                <c:pt idx="11">
                  <c:v>551</c:v>
                </c:pt>
                <c:pt idx="12">
                  <c:v>1397</c:v>
                </c:pt>
                <c:pt idx="13">
                  <c:v>1484</c:v>
                </c:pt>
                <c:pt idx="14">
                  <c:v>1448</c:v>
                </c:pt>
                <c:pt idx="15">
                  <c:v>1495</c:v>
                </c:pt>
                <c:pt idx="16">
                  <c:v>1929</c:v>
                </c:pt>
                <c:pt idx="17">
                  <c:v>1583</c:v>
                </c:pt>
                <c:pt idx="18">
                  <c:v>1581</c:v>
                </c:pt>
                <c:pt idx="19">
                  <c:v>1623</c:v>
                </c:pt>
                <c:pt idx="20">
                  <c:v>2000</c:v>
                </c:pt>
                <c:pt idx="21">
                  <c:v>1625</c:v>
                </c:pt>
                <c:pt idx="22">
                  <c:v>1696</c:v>
                </c:pt>
                <c:pt idx="23">
                  <c:v>1122</c:v>
                </c:pt>
                <c:pt idx="24">
                  <c:v>26539</c:v>
                </c:pt>
                <c:pt idx="25">
                  <c:v>35808</c:v>
                </c:pt>
                <c:pt idx="26">
                  <c:v>21400</c:v>
                </c:pt>
                <c:pt idx="27">
                  <c:v>23633</c:v>
                </c:pt>
                <c:pt idx="28">
                  <c:v>12372</c:v>
                </c:pt>
                <c:pt idx="29">
                  <c:v>5743</c:v>
                </c:pt>
                <c:pt idx="30">
                  <c:v>2600</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32</c:f>
              <c:numCache>
                <c:formatCode>yyyy\-mm\-dd</c:formatCode>
                <c:ptCount val="31"/>
                <c:pt idx="0">
                  <c:v>45032</c:v>
                </c:pt>
                <c:pt idx="1">
                  <c:v>45039</c:v>
                </c:pt>
                <c:pt idx="2">
                  <c:v>45046</c:v>
                </c:pt>
                <c:pt idx="3">
                  <c:v>45053</c:v>
                </c:pt>
                <c:pt idx="4">
                  <c:v>45060</c:v>
                </c:pt>
                <c:pt idx="5">
                  <c:v>45067</c:v>
                </c:pt>
                <c:pt idx="6">
                  <c:v>45074</c:v>
                </c:pt>
                <c:pt idx="7">
                  <c:v>45081</c:v>
                </c:pt>
                <c:pt idx="8">
                  <c:v>45088</c:v>
                </c:pt>
                <c:pt idx="9">
                  <c:v>45095</c:v>
                </c:pt>
                <c:pt idx="10">
                  <c:v>45102</c:v>
                </c:pt>
                <c:pt idx="11">
                  <c:v>45109</c:v>
                </c:pt>
                <c:pt idx="12">
                  <c:v>45221</c:v>
                </c:pt>
                <c:pt idx="13">
                  <c:v>45228</c:v>
                </c:pt>
                <c:pt idx="14">
                  <c:v>45235</c:v>
                </c:pt>
                <c:pt idx="15">
                  <c:v>45256</c:v>
                </c:pt>
                <c:pt idx="16">
                  <c:v>45270</c:v>
                </c:pt>
                <c:pt idx="17">
                  <c:v>45277</c:v>
                </c:pt>
                <c:pt idx="18">
                  <c:v>45312</c:v>
                </c:pt>
                <c:pt idx="19">
                  <c:v>45333</c:v>
                </c:pt>
                <c:pt idx="20">
                  <c:v>45347</c:v>
                </c:pt>
                <c:pt idx="21">
                  <c:v>45368</c:v>
                </c:pt>
                <c:pt idx="22">
                  <c:v>45382</c:v>
                </c:pt>
                <c:pt idx="23">
                  <c:v>45564</c:v>
                </c:pt>
                <c:pt idx="24">
                  <c:v>45641</c:v>
                </c:pt>
                <c:pt idx="25">
                  <c:v>45648</c:v>
                </c:pt>
                <c:pt idx="26">
                  <c:v>45655</c:v>
                </c:pt>
                <c:pt idx="27">
                  <c:v>45662</c:v>
                </c:pt>
                <c:pt idx="28">
                  <c:v>45669</c:v>
                </c:pt>
                <c:pt idx="29">
                  <c:v>45676</c:v>
                </c:pt>
                <c:pt idx="30">
                  <c:v>45683</c:v>
                </c:pt>
              </c:numCache>
            </c:numRef>
          </c:cat>
          <c:val>
            <c:numRef>
              <c:f>Sheet1!$C$2:$C$32</c:f>
              <c:numCache>
                <c:formatCode>General</c:formatCode>
                <c:ptCount val="31"/>
                <c:pt idx="0">
                  <c:v>32205</c:v>
                </c:pt>
                <c:pt idx="1">
                  <c:v>78882</c:v>
                </c:pt>
                <c:pt idx="2">
                  <c:v>116390</c:v>
                </c:pt>
                <c:pt idx="3">
                  <c:v>131281</c:v>
                </c:pt>
                <c:pt idx="4">
                  <c:v>125683</c:v>
                </c:pt>
                <c:pt idx="5">
                  <c:v>124214</c:v>
                </c:pt>
                <c:pt idx="6">
                  <c:v>130499</c:v>
                </c:pt>
                <c:pt idx="7">
                  <c:v>138041</c:v>
                </c:pt>
                <c:pt idx="8">
                  <c:v>137895</c:v>
                </c:pt>
                <c:pt idx="9">
                  <c:v>135001</c:v>
                </c:pt>
                <c:pt idx="10">
                  <c:v>132195</c:v>
                </c:pt>
                <c:pt idx="11">
                  <c:v>138434</c:v>
                </c:pt>
                <c:pt idx="12">
                  <c:v>135826</c:v>
                </c:pt>
                <c:pt idx="13">
                  <c:v>136202</c:v>
                </c:pt>
                <c:pt idx="14">
                  <c:v>142563</c:v>
                </c:pt>
                <c:pt idx="15">
                  <c:v>131322</c:v>
                </c:pt>
                <c:pt idx="16">
                  <c:v>149716</c:v>
                </c:pt>
                <c:pt idx="17">
                  <c:v>145929</c:v>
                </c:pt>
                <c:pt idx="18">
                  <c:v>129754</c:v>
                </c:pt>
                <c:pt idx="19">
                  <c:v>139634</c:v>
                </c:pt>
                <c:pt idx="20">
                  <c:v>139741</c:v>
                </c:pt>
                <c:pt idx="21">
                  <c:v>141202</c:v>
                </c:pt>
                <c:pt idx="22">
                  <c:v>137958</c:v>
                </c:pt>
                <c:pt idx="23">
                  <c:v>137152</c:v>
                </c:pt>
                <c:pt idx="24">
                  <c:v>121691</c:v>
                </c:pt>
                <c:pt idx="25">
                  <c:v>112070</c:v>
                </c:pt>
                <c:pt idx="26">
                  <c:v>96392</c:v>
                </c:pt>
                <c:pt idx="27">
                  <c:v>100237</c:v>
                </c:pt>
                <c:pt idx="28">
                  <c:v>90398</c:v>
                </c:pt>
                <c:pt idx="29">
                  <c:v>110044</c:v>
                </c:pt>
                <c:pt idx="30">
                  <c:v>137316</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32</c:f>
              <c:numCache>
                <c:formatCode>yyyy\-mm\-dd</c:formatCode>
                <c:ptCount val="31"/>
                <c:pt idx="0">
                  <c:v>45032</c:v>
                </c:pt>
                <c:pt idx="1">
                  <c:v>45039</c:v>
                </c:pt>
                <c:pt idx="2">
                  <c:v>45046</c:v>
                </c:pt>
                <c:pt idx="3">
                  <c:v>45053</c:v>
                </c:pt>
                <c:pt idx="4">
                  <c:v>45060</c:v>
                </c:pt>
                <c:pt idx="5">
                  <c:v>45067</c:v>
                </c:pt>
                <c:pt idx="6">
                  <c:v>45074</c:v>
                </c:pt>
                <c:pt idx="7">
                  <c:v>45081</c:v>
                </c:pt>
                <c:pt idx="8">
                  <c:v>45088</c:v>
                </c:pt>
                <c:pt idx="9">
                  <c:v>45095</c:v>
                </c:pt>
                <c:pt idx="10">
                  <c:v>45102</c:v>
                </c:pt>
                <c:pt idx="11">
                  <c:v>45109</c:v>
                </c:pt>
                <c:pt idx="12">
                  <c:v>45221</c:v>
                </c:pt>
                <c:pt idx="13">
                  <c:v>45228</c:v>
                </c:pt>
                <c:pt idx="14">
                  <c:v>45235</c:v>
                </c:pt>
                <c:pt idx="15">
                  <c:v>45256</c:v>
                </c:pt>
                <c:pt idx="16">
                  <c:v>45270</c:v>
                </c:pt>
                <c:pt idx="17">
                  <c:v>45277</c:v>
                </c:pt>
                <c:pt idx="18">
                  <c:v>45312</c:v>
                </c:pt>
                <c:pt idx="19">
                  <c:v>45333</c:v>
                </c:pt>
                <c:pt idx="20">
                  <c:v>45347</c:v>
                </c:pt>
                <c:pt idx="21">
                  <c:v>45368</c:v>
                </c:pt>
                <c:pt idx="22">
                  <c:v>45382</c:v>
                </c:pt>
                <c:pt idx="23">
                  <c:v>45564</c:v>
                </c:pt>
                <c:pt idx="24">
                  <c:v>45641</c:v>
                </c:pt>
                <c:pt idx="25">
                  <c:v>45648</c:v>
                </c:pt>
                <c:pt idx="26">
                  <c:v>45655</c:v>
                </c:pt>
                <c:pt idx="27">
                  <c:v>45662</c:v>
                </c:pt>
                <c:pt idx="28">
                  <c:v>45669</c:v>
                </c:pt>
                <c:pt idx="29">
                  <c:v>45676</c:v>
                </c:pt>
                <c:pt idx="30">
                  <c:v>45683</c:v>
                </c:pt>
              </c:numCache>
            </c:numRef>
          </c:cat>
          <c:val>
            <c:numRef>
              <c:f>Sheet1!$D$2:$D$32</c:f>
              <c:numCache>
                <c:formatCode>General</c:formatCode>
                <c:ptCount val="31"/>
                <c:pt idx="0">
                  <c:v>44529</c:v>
                </c:pt>
                <c:pt idx="1">
                  <c:v>90774</c:v>
                </c:pt>
                <c:pt idx="2">
                  <c:v>121806</c:v>
                </c:pt>
                <c:pt idx="3">
                  <c:v>135830</c:v>
                </c:pt>
                <c:pt idx="4">
                  <c:v>129118</c:v>
                </c:pt>
                <c:pt idx="5">
                  <c:v>126584</c:v>
                </c:pt>
                <c:pt idx="6">
                  <c:v>132466</c:v>
                </c:pt>
                <c:pt idx="7">
                  <c:v>139327</c:v>
                </c:pt>
                <c:pt idx="8">
                  <c:v>139398</c:v>
                </c:pt>
                <c:pt idx="9">
                  <c:v>135765</c:v>
                </c:pt>
                <c:pt idx="10">
                  <c:v>133109</c:v>
                </c:pt>
                <c:pt idx="11">
                  <c:v>138985</c:v>
                </c:pt>
                <c:pt idx="12">
                  <c:v>137223</c:v>
                </c:pt>
                <c:pt idx="13">
                  <c:v>137686</c:v>
                </c:pt>
                <c:pt idx="14">
                  <c:v>144011</c:v>
                </c:pt>
                <c:pt idx="15">
                  <c:v>132817</c:v>
                </c:pt>
                <c:pt idx="16">
                  <c:v>151645</c:v>
                </c:pt>
                <c:pt idx="17">
                  <c:v>147512</c:v>
                </c:pt>
                <c:pt idx="18">
                  <c:v>131335</c:v>
                </c:pt>
                <c:pt idx="19">
                  <c:v>141257</c:v>
                </c:pt>
                <c:pt idx="20">
                  <c:v>141741</c:v>
                </c:pt>
                <c:pt idx="21">
                  <c:v>142827</c:v>
                </c:pt>
                <c:pt idx="22">
                  <c:v>139654</c:v>
                </c:pt>
                <c:pt idx="23">
                  <c:v>138274</c:v>
                </c:pt>
                <c:pt idx="24">
                  <c:v>148230</c:v>
                </c:pt>
                <c:pt idx="25">
                  <c:v>147878</c:v>
                </c:pt>
                <c:pt idx="26">
                  <c:v>117792</c:v>
                </c:pt>
                <c:pt idx="27">
                  <c:v>123870</c:v>
                </c:pt>
                <c:pt idx="28">
                  <c:v>102770</c:v>
                </c:pt>
                <c:pt idx="29">
                  <c:v>115787</c:v>
                </c:pt>
                <c:pt idx="30">
                  <c:v>139916</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32</c:f>
              <c:numCache>
                <c:formatCode>yyyy\-mm\-dd</c:formatCode>
                <c:ptCount val="31"/>
                <c:pt idx="0">
                  <c:v>45032</c:v>
                </c:pt>
                <c:pt idx="1">
                  <c:v>45039</c:v>
                </c:pt>
                <c:pt idx="2">
                  <c:v>45046</c:v>
                </c:pt>
                <c:pt idx="3">
                  <c:v>45053</c:v>
                </c:pt>
                <c:pt idx="4">
                  <c:v>45060</c:v>
                </c:pt>
                <c:pt idx="5">
                  <c:v>45067</c:v>
                </c:pt>
                <c:pt idx="6">
                  <c:v>45074</c:v>
                </c:pt>
                <c:pt idx="7">
                  <c:v>45081</c:v>
                </c:pt>
                <c:pt idx="8">
                  <c:v>45088</c:v>
                </c:pt>
                <c:pt idx="9">
                  <c:v>45095</c:v>
                </c:pt>
                <c:pt idx="10">
                  <c:v>45102</c:v>
                </c:pt>
                <c:pt idx="11">
                  <c:v>45109</c:v>
                </c:pt>
                <c:pt idx="12">
                  <c:v>45221</c:v>
                </c:pt>
                <c:pt idx="13">
                  <c:v>45228</c:v>
                </c:pt>
                <c:pt idx="14">
                  <c:v>45235</c:v>
                </c:pt>
                <c:pt idx="15">
                  <c:v>45256</c:v>
                </c:pt>
                <c:pt idx="16">
                  <c:v>45270</c:v>
                </c:pt>
                <c:pt idx="17">
                  <c:v>45277</c:v>
                </c:pt>
                <c:pt idx="18">
                  <c:v>45312</c:v>
                </c:pt>
                <c:pt idx="19">
                  <c:v>45333</c:v>
                </c:pt>
                <c:pt idx="20">
                  <c:v>45347</c:v>
                </c:pt>
                <c:pt idx="21">
                  <c:v>45368</c:v>
                </c:pt>
                <c:pt idx="22">
                  <c:v>45382</c:v>
                </c:pt>
                <c:pt idx="23">
                  <c:v>45564</c:v>
                </c:pt>
                <c:pt idx="24">
                  <c:v>45641</c:v>
                </c:pt>
                <c:pt idx="25">
                  <c:v>45648</c:v>
                </c:pt>
                <c:pt idx="26">
                  <c:v>45655</c:v>
                </c:pt>
                <c:pt idx="27">
                  <c:v>45662</c:v>
                </c:pt>
                <c:pt idx="28">
                  <c:v>45669</c:v>
                </c:pt>
                <c:pt idx="29">
                  <c:v>45676</c:v>
                </c:pt>
                <c:pt idx="30">
                  <c:v>45683</c:v>
                </c:pt>
              </c:numCache>
            </c:numRef>
          </c:cat>
          <c:val>
            <c:numRef>
              <c:f>Sheet1!$E$2:$E$32</c:f>
              <c:numCache>
                <c:formatCode>General</c:formatCode>
                <c:ptCount val="31"/>
                <c:pt idx="0">
                  <c:v>119250</c:v>
                </c:pt>
                <c:pt idx="1">
                  <c:v>120430</c:v>
                </c:pt>
                <c:pt idx="2">
                  <c:v>112980</c:v>
                </c:pt>
                <c:pt idx="3">
                  <c:v>114703</c:v>
                </c:pt>
                <c:pt idx="4">
                  <c:v>115231</c:v>
                </c:pt>
                <c:pt idx="5">
                  <c:v>128009</c:v>
                </c:pt>
                <c:pt idx="6">
                  <c:v>133967</c:v>
                </c:pt>
                <c:pt idx="7">
                  <c:v>134881</c:v>
                </c:pt>
                <c:pt idx="8">
                  <c:v>134955</c:v>
                </c:pt>
                <c:pt idx="9">
                  <c:v>136780</c:v>
                </c:pt>
                <c:pt idx="10">
                  <c:v>139006</c:v>
                </c:pt>
                <c:pt idx="11">
                  <c:v>139699</c:v>
                </c:pt>
                <c:pt idx="12">
                  <c:v>140729</c:v>
                </c:pt>
                <c:pt idx="13">
                  <c:v>141059</c:v>
                </c:pt>
                <c:pt idx="14">
                  <c:v>140456</c:v>
                </c:pt>
                <c:pt idx="15">
                  <c:v>143569</c:v>
                </c:pt>
                <c:pt idx="16">
                  <c:v>145560</c:v>
                </c:pt>
                <c:pt idx="17">
                  <c:v>145579</c:v>
                </c:pt>
                <c:pt idx="18">
                  <c:v>141815</c:v>
                </c:pt>
                <c:pt idx="19">
                  <c:v>139081</c:v>
                </c:pt>
                <c:pt idx="20">
                  <c:v>141606</c:v>
                </c:pt>
                <c:pt idx="21">
                  <c:v>142153</c:v>
                </c:pt>
                <c:pt idx="22">
                  <c:v>143997</c:v>
                </c:pt>
                <c:pt idx="23">
                  <c:v>145151</c:v>
                </c:pt>
                <c:pt idx="24">
                  <c:v>140867</c:v>
                </c:pt>
                <c:pt idx="25">
                  <c:v>140638</c:v>
                </c:pt>
                <c:pt idx="26">
                  <c:v>133788</c:v>
                </c:pt>
                <c:pt idx="27">
                  <c:v>133292</c:v>
                </c:pt>
                <c:pt idx="28">
                  <c:v>115117</c:v>
                </c:pt>
                <c:pt idx="29">
                  <c:v>144854</c:v>
                </c:pt>
                <c:pt idx="30">
                  <c:v>140080</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32</c:f>
              <c:numCache>
                <c:formatCode>yyyy\-mm\-dd</c:formatCode>
                <c:ptCount val="31"/>
                <c:pt idx="0">
                  <c:v>45032</c:v>
                </c:pt>
                <c:pt idx="1">
                  <c:v>45039</c:v>
                </c:pt>
                <c:pt idx="2">
                  <c:v>45046</c:v>
                </c:pt>
                <c:pt idx="3">
                  <c:v>45053</c:v>
                </c:pt>
                <c:pt idx="4">
                  <c:v>45060</c:v>
                </c:pt>
                <c:pt idx="5">
                  <c:v>45067</c:v>
                </c:pt>
                <c:pt idx="6">
                  <c:v>45074</c:v>
                </c:pt>
                <c:pt idx="7">
                  <c:v>45081</c:v>
                </c:pt>
                <c:pt idx="8">
                  <c:v>45088</c:v>
                </c:pt>
                <c:pt idx="9">
                  <c:v>45095</c:v>
                </c:pt>
                <c:pt idx="10">
                  <c:v>45102</c:v>
                </c:pt>
                <c:pt idx="11">
                  <c:v>45109</c:v>
                </c:pt>
                <c:pt idx="12">
                  <c:v>45221</c:v>
                </c:pt>
                <c:pt idx="13">
                  <c:v>45228</c:v>
                </c:pt>
                <c:pt idx="14">
                  <c:v>45235</c:v>
                </c:pt>
                <c:pt idx="15">
                  <c:v>45256</c:v>
                </c:pt>
                <c:pt idx="16">
                  <c:v>45270</c:v>
                </c:pt>
                <c:pt idx="17">
                  <c:v>45277</c:v>
                </c:pt>
                <c:pt idx="18">
                  <c:v>45312</c:v>
                </c:pt>
                <c:pt idx="19">
                  <c:v>45333</c:v>
                </c:pt>
                <c:pt idx="20">
                  <c:v>45347</c:v>
                </c:pt>
                <c:pt idx="21">
                  <c:v>45368</c:v>
                </c:pt>
                <c:pt idx="22">
                  <c:v>45382</c:v>
                </c:pt>
                <c:pt idx="23">
                  <c:v>45564</c:v>
                </c:pt>
                <c:pt idx="24">
                  <c:v>45641</c:v>
                </c:pt>
                <c:pt idx="25">
                  <c:v>45648</c:v>
                </c:pt>
                <c:pt idx="26">
                  <c:v>45655</c:v>
                </c:pt>
                <c:pt idx="27">
                  <c:v>45662</c:v>
                </c:pt>
                <c:pt idx="28">
                  <c:v>45669</c:v>
                </c:pt>
                <c:pt idx="29">
                  <c:v>45676</c:v>
                </c:pt>
                <c:pt idx="30">
                  <c:v>45683</c:v>
                </c:pt>
              </c:numCache>
            </c:numRef>
          </c:cat>
          <c:val>
            <c:numRef>
              <c:f>Sheet1!$F$2:$F$32</c:f>
              <c:numCache>
                <c:formatCode>General</c:formatCode>
                <c:ptCount val="31"/>
                <c:pt idx="0">
                  <c:v>0.47</c:v>
                </c:pt>
                <c:pt idx="1">
                  <c:v>0.32</c:v>
                </c:pt>
                <c:pt idx="2">
                  <c:v>0.13</c:v>
                </c:pt>
                <c:pt idx="3">
                  <c:v>0.1</c:v>
                </c:pt>
                <c:pt idx="4">
                  <c:v>7.0000000000000007E-2</c:v>
                </c:pt>
                <c:pt idx="5">
                  <c:v>0.05</c:v>
                </c:pt>
                <c:pt idx="6">
                  <c:v>0.04</c:v>
                </c:pt>
                <c:pt idx="7">
                  <c:v>0.03</c:v>
                </c:pt>
                <c:pt idx="8">
                  <c:v>0.03</c:v>
                </c:pt>
                <c:pt idx="9">
                  <c:v>0.02</c:v>
                </c:pt>
                <c:pt idx="10">
                  <c:v>0.01</c:v>
                </c:pt>
                <c:pt idx="11">
                  <c:v>0.01</c:v>
                </c:pt>
                <c:pt idx="12">
                  <c:v>0.01</c:v>
                </c:pt>
                <c:pt idx="13">
                  <c:v>0.01</c:v>
                </c:pt>
                <c:pt idx="14">
                  <c:v>0.01</c:v>
                </c:pt>
                <c:pt idx="15">
                  <c:v>0.01</c:v>
                </c:pt>
                <c:pt idx="16">
                  <c:v>0.02</c:v>
                </c:pt>
                <c:pt idx="17">
                  <c:v>0.01</c:v>
                </c:pt>
                <c:pt idx="18">
                  <c:v>0.01</c:v>
                </c:pt>
                <c:pt idx="19">
                  <c:v>0.01</c:v>
                </c:pt>
                <c:pt idx="20">
                  <c:v>0.02</c:v>
                </c:pt>
                <c:pt idx="21">
                  <c:v>0.01</c:v>
                </c:pt>
                <c:pt idx="22">
                  <c:v>0.01</c:v>
                </c:pt>
                <c:pt idx="23">
                  <c:v>0.01</c:v>
                </c:pt>
                <c:pt idx="24">
                  <c:v>0.24</c:v>
                </c:pt>
                <c:pt idx="25">
                  <c:v>0.34</c:v>
                </c:pt>
                <c:pt idx="26">
                  <c:v>0.26</c:v>
                </c:pt>
                <c:pt idx="27">
                  <c:v>0.33</c:v>
                </c:pt>
                <c:pt idx="28">
                  <c:v>0.27</c:v>
                </c:pt>
                <c:pt idx="29">
                  <c:v>0.12</c:v>
                </c:pt>
                <c:pt idx="30">
                  <c:v>0.04</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18</c:f>
              <c:numCache>
                <c:formatCode>yyyy\-mm\-dd</c:formatCode>
                <c:ptCount val="17"/>
                <c:pt idx="0">
                  <c:v>45235</c:v>
                </c:pt>
                <c:pt idx="1">
                  <c:v>45242</c:v>
                </c:pt>
                <c:pt idx="2">
                  <c:v>45249</c:v>
                </c:pt>
                <c:pt idx="3">
                  <c:v>45256</c:v>
                </c:pt>
                <c:pt idx="4">
                  <c:v>45270</c:v>
                </c:pt>
                <c:pt idx="5">
                  <c:v>45277</c:v>
                </c:pt>
                <c:pt idx="6">
                  <c:v>45284</c:v>
                </c:pt>
                <c:pt idx="7">
                  <c:v>45291</c:v>
                </c:pt>
                <c:pt idx="8">
                  <c:v>45298</c:v>
                </c:pt>
                <c:pt idx="9">
                  <c:v>45305</c:v>
                </c:pt>
                <c:pt idx="10">
                  <c:v>45312</c:v>
                </c:pt>
                <c:pt idx="11">
                  <c:v>45319</c:v>
                </c:pt>
                <c:pt idx="12">
                  <c:v>45326</c:v>
                </c:pt>
                <c:pt idx="13">
                  <c:v>45333</c:v>
                </c:pt>
                <c:pt idx="14">
                  <c:v>45340</c:v>
                </c:pt>
                <c:pt idx="15">
                  <c:v>45347</c:v>
                </c:pt>
                <c:pt idx="16">
                  <c:v>45354</c:v>
                </c:pt>
              </c:numCache>
            </c:numRef>
          </c:cat>
          <c:val>
            <c:numRef>
              <c:f>Sheet1!$B$2:$B$18</c:f>
              <c:numCache>
                <c:formatCode>General</c:formatCode>
                <c:ptCount val="17"/>
                <c:pt idx="0">
                  <c:v>13572</c:v>
                </c:pt>
                <c:pt idx="1">
                  <c:v>19654</c:v>
                </c:pt>
                <c:pt idx="2">
                  <c:v>20606</c:v>
                </c:pt>
                <c:pt idx="3">
                  <c:v>23727</c:v>
                </c:pt>
                <c:pt idx="4">
                  <c:v>22758</c:v>
                </c:pt>
                <c:pt idx="5">
                  <c:v>40918</c:v>
                </c:pt>
                <c:pt idx="6">
                  <c:v>123276</c:v>
                </c:pt>
                <c:pt idx="7">
                  <c:v>65933</c:v>
                </c:pt>
                <c:pt idx="8">
                  <c:v>33328</c:v>
                </c:pt>
                <c:pt idx="9">
                  <c:v>71915</c:v>
                </c:pt>
                <c:pt idx="10">
                  <c:v>49178</c:v>
                </c:pt>
                <c:pt idx="11">
                  <c:v>20389</c:v>
                </c:pt>
                <c:pt idx="12">
                  <c:v>5814</c:v>
                </c:pt>
                <c:pt idx="13">
                  <c:v>1961</c:v>
                </c:pt>
                <c:pt idx="14">
                  <c:v>775</c:v>
                </c:pt>
                <c:pt idx="15">
                  <c:v>473</c:v>
                </c:pt>
                <c:pt idx="16">
                  <c:v>350</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18</c:f>
              <c:numCache>
                <c:formatCode>yyyy\-mm\-dd</c:formatCode>
                <c:ptCount val="17"/>
                <c:pt idx="0">
                  <c:v>45235</c:v>
                </c:pt>
                <c:pt idx="1">
                  <c:v>45242</c:v>
                </c:pt>
                <c:pt idx="2">
                  <c:v>45249</c:v>
                </c:pt>
                <c:pt idx="3">
                  <c:v>45256</c:v>
                </c:pt>
                <c:pt idx="4">
                  <c:v>45270</c:v>
                </c:pt>
                <c:pt idx="5">
                  <c:v>45277</c:v>
                </c:pt>
                <c:pt idx="6">
                  <c:v>45284</c:v>
                </c:pt>
                <c:pt idx="7">
                  <c:v>45291</c:v>
                </c:pt>
                <c:pt idx="8">
                  <c:v>45298</c:v>
                </c:pt>
                <c:pt idx="9">
                  <c:v>45305</c:v>
                </c:pt>
                <c:pt idx="10">
                  <c:v>45312</c:v>
                </c:pt>
                <c:pt idx="11">
                  <c:v>45319</c:v>
                </c:pt>
                <c:pt idx="12">
                  <c:v>45326</c:v>
                </c:pt>
                <c:pt idx="13">
                  <c:v>45333</c:v>
                </c:pt>
                <c:pt idx="14">
                  <c:v>45340</c:v>
                </c:pt>
                <c:pt idx="15">
                  <c:v>45347</c:v>
                </c:pt>
                <c:pt idx="16">
                  <c:v>45354</c:v>
                </c:pt>
              </c:numCache>
            </c:numRef>
          </c:cat>
          <c:val>
            <c:numRef>
              <c:f>Sheet1!$C$2:$C$18</c:f>
              <c:numCache>
                <c:formatCode>General</c:formatCode>
                <c:ptCount val="17"/>
                <c:pt idx="0">
                  <c:v>842</c:v>
                </c:pt>
                <c:pt idx="1">
                  <c:v>103</c:v>
                </c:pt>
                <c:pt idx="2">
                  <c:v>40</c:v>
                </c:pt>
                <c:pt idx="3">
                  <c:v>154</c:v>
                </c:pt>
                <c:pt idx="4">
                  <c:v>1499</c:v>
                </c:pt>
                <c:pt idx="5">
                  <c:v>1824</c:v>
                </c:pt>
                <c:pt idx="6">
                  <c:v>0</c:v>
                </c:pt>
                <c:pt idx="7">
                  <c:v>0</c:v>
                </c:pt>
                <c:pt idx="8">
                  <c:v>0</c:v>
                </c:pt>
                <c:pt idx="9">
                  <c:v>0</c:v>
                </c:pt>
                <c:pt idx="10">
                  <c:v>0</c:v>
                </c:pt>
                <c:pt idx="11">
                  <c:v>0</c:v>
                </c:pt>
                <c:pt idx="12">
                  <c:v>0</c:v>
                </c:pt>
                <c:pt idx="13">
                  <c:v>0</c:v>
                </c:pt>
                <c:pt idx="14">
                  <c:v>4</c:v>
                </c:pt>
                <c:pt idx="15">
                  <c:v>31</c:v>
                </c:pt>
                <c:pt idx="16">
                  <c:v>48</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18</c:f>
              <c:numCache>
                <c:formatCode>yyyy\-mm\-dd</c:formatCode>
                <c:ptCount val="17"/>
                <c:pt idx="0">
                  <c:v>45235</c:v>
                </c:pt>
                <c:pt idx="1">
                  <c:v>45242</c:v>
                </c:pt>
                <c:pt idx="2">
                  <c:v>45249</c:v>
                </c:pt>
                <c:pt idx="3">
                  <c:v>45256</c:v>
                </c:pt>
                <c:pt idx="4">
                  <c:v>45270</c:v>
                </c:pt>
                <c:pt idx="5">
                  <c:v>45277</c:v>
                </c:pt>
                <c:pt idx="6">
                  <c:v>45284</c:v>
                </c:pt>
                <c:pt idx="7">
                  <c:v>45291</c:v>
                </c:pt>
                <c:pt idx="8">
                  <c:v>45298</c:v>
                </c:pt>
                <c:pt idx="9">
                  <c:v>45305</c:v>
                </c:pt>
                <c:pt idx="10">
                  <c:v>45312</c:v>
                </c:pt>
                <c:pt idx="11">
                  <c:v>45319</c:v>
                </c:pt>
                <c:pt idx="12">
                  <c:v>45326</c:v>
                </c:pt>
                <c:pt idx="13">
                  <c:v>45333</c:v>
                </c:pt>
                <c:pt idx="14">
                  <c:v>45340</c:v>
                </c:pt>
                <c:pt idx="15">
                  <c:v>45347</c:v>
                </c:pt>
                <c:pt idx="16">
                  <c:v>45354</c:v>
                </c:pt>
              </c:numCache>
            </c:numRef>
          </c:cat>
          <c:val>
            <c:numRef>
              <c:f>Sheet1!$D$2:$D$18</c:f>
              <c:numCache>
                <c:formatCode>General</c:formatCode>
                <c:ptCount val="17"/>
                <c:pt idx="0">
                  <c:v>14414</c:v>
                </c:pt>
                <c:pt idx="1">
                  <c:v>19757</c:v>
                </c:pt>
                <c:pt idx="2">
                  <c:v>20646</c:v>
                </c:pt>
                <c:pt idx="3">
                  <c:v>23881</c:v>
                </c:pt>
                <c:pt idx="4">
                  <c:v>24257</c:v>
                </c:pt>
                <c:pt idx="5">
                  <c:v>42742</c:v>
                </c:pt>
                <c:pt idx="6">
                  <c:v>123276</c:v>
                </c:pt>
                <c:pt idx="7">
                  <c:v>65933</c:v>
                </c:pt>
                <c:pt idx="8">
                  <c:v>33328</c:v>
                </c:pt>
                <c:pt idx="9">
                  <c:v>71915</c:v>
                </c:pt>
                <c:pt idx="10">
                  <c:v>49178</c:v>
                </c:pt>
                <c:pt idx="11">
                  <c:v>20389</c:v>
                </c:pt>
                <c:pt idx="12">
                  <c:v>5814</c:v>
                </c:pt>
                <c:pt idx="13">
                  <c:v>1961</c:v>
                </c:pt>
                <c:pt idx="14">
                  <c:v>779</c:v>
                </c:pt>
                <c:pt idx="15">
                  <c:v>504</c:v>
                </c:pt>
                <c:pt idx="16">
                  <c:v>398</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18</c:f>
              <c:numCache>
                <c:formatCode>yyyy\-mm\-dd</c:formatCode>
                <c:ptCount val="17"/>
                <c:pt idx="0">
                  <c:v>45235</c:v>
                </c:pt>
                <c:pt idx="1">
                  <c:v>45242</c:v>
                </c:pt>
                <c:pt idx="2">
                  <c:v>45249</c:v>
                </c:pt>
                <c:pt idx="3">
                  <c:v>45256</c:v>
                </c:pt>
                <c:pt idx="4">
                  <c:v>45270</c:v>
                </c:pt>
                <c:pt idx="5">
                  <c:v>45277</c:v>
                </c:pt>
                <c:pt idx="6">
                  <c:v>45284</c:v>
                </c:pt>
                <c:pt idx="7">
                  <c:v>45291</c:v>
                </c:pt>
                <c:pt idx="8">
                  <c:v>45298</c:v>
                </c:pt>
                <c:pt idx="9">
                  <c:v>45305</c:v>
                </c:pt>
                <c:pt idx="10">
                  <c:v>45312</c:v>
                </c:pt>
                <c:pt idx="11">
                  <c:v>45319</c:v>
                </c:pt>
                <c:pt idx="12">
                  <c:v>45326</c:v>
                </c:pt>
                <c:pt idx="13">
                  <c:v>45333</c:v>
                </c:pt>
                <c:pt idx="14">
                  <c:v>45340</c:v>
                </c:pt>
                <c:pt idx="15">
                  <c:v>45347</c:v>
                </c:pt>
                <c:pt idx="16">
                  <c:v>45354</c:v>
                </c:pt>
              </c:numCache>
            </c:numRef>
          </c:cat>
          <c:val>
            <c:numRef>
              <c:f>Sheet1!$E$2:$E$18</c:f>
              <c:numCache>
                <c:formatCode>General</c:formatCode>
                <c:ptCount val="17"/>
                <c:pt idx="0">
                  <c:v>15250</c:v>
                </c:pt>
                <c:pt idx="1">
                  <c:v>21575</c:v>
                </c:pt>
                <c:pt idx="2">
                  <c:v>21575</c:v>
                </c:pt>
                <c:pt idx="3">
                  <c:v>21575</c:v>
                </c:pt>
                <c:pt idx="4">
                  <c:v>21575</c:v>
                </c:pt>
                <c:pt idx="5">
                  <c:v>21575</c:v>
                </c:pt>
                <c:pt idx="6">
                  <c:v>21558</c:v>
                </c:pt>
                <c:pt idx="7">
                  <c:v>21558</c:v>
                </c:pt>
                <c:pt idx="8">
                  <c:v>21558</c:v>
                </c:pt>
                <c:pt idx="9">
                  <c:v>21523</c:v>
                </c:pt>
                <c:pt idx="10">
                  <c:v>21515</c:v>
                </c:pt>
                <c:pt idx="11">
                  <c:v>21515</c:v>
                </c:pt>
                <c:pt idx="12">
                  <c:v>18897</c:v>
                </c:pt>
                <c:pt idx="13">
                  <c:v>6432</c:v>
                </c:pt>
                <c:pt idx="14">
                  <c:v>2593</c:v>
                </c:pt>
                <c:pt idx="15">
                  <c:v>1695</c:v>
                </c:pt>
                <c:pt idx="16">
                  <c:v>1105</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18</c:f>
              <c:numCache>
                <c:formatCode>yyyy\-mm\-dd</c:formatCode>
                <c:ptCount val="17"/>
                <c:pt idx="0">
                  <c:v>45235</c:v>
                </c:pt>
                <c:pt idx="1">
                  <c:v>45242</c:v>
                </c:pt>
                <c:pt idx="2">
                  <c:v>45249</c:v>
                </c:pt>
                <c:pt idx="3">
                  <c:v>45256</c:v>
                </c:pt>
                <c:pt idx="4">
                  <c:v>45270</c:v>
                </c:pt>
                <c:pt idx="5">
                  <c:v>45277</c:v>
                </c:pt>
                <c:pt idx="6">
                  <c:v>45284</c:v>
                </c:pt>
                <c:pt idx="7">
                  <c:v>45291</c:v>
                </c:pt>
                <c:pt idx="8">
                  <c:v>45298</c:v>
                </c:pt>
                <c:pt idx="9">
                  <c:v>45305</c:v>
                </c:pt>
                <c:pt idx="10">
                  <c:v>45312</c:v>
                </c:pt>
                <c:pt idx="11">
                  <c:v>45319</c:v>
                </c:pt>
                <c:pt idx="12">
                  <c:v>45326</c:v>
                </c:pt>
                <c:pt idx="13">
                  <c:v>45333</c:v>
                </c:pt>
                <c:pt idx="14">
                  <c:v>45340</c:v>
                </c:pt>
                <c:pt idx="15">
                  <c:v>45347</c:v>
                </c:pt>
                <c:pt idx="16">
                  <c:v>45354</c:v>
                </c:pt>
              </c:numCache>
            </c:numRef>
          </c:cat>
          <c:val>
            <c:numRef>
              <c:f>Sheet1!$F$2:$F$18</c:f>
              <c:numCache>
                <c:formatCode>General</c:formatCode>
                <c:ptCount val="17"/>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pt idx="15">
                  <c:v>1</c:v>
                </c:pt>
                <c:pt idx="16">
                  <c:v>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19</c:f>
              <c:numCache>
                <c:formatCode>yyyy\-mm\-dd</c:formatCode>
                <c:ptCount val="18"/>
                <c:pt idx="0">
                  <c:v>44983</c:v>
                </c:pt>
                <c:pt idx="1">
                  <c:v>45214</c:v>
                </c:pt>
                <c:pt idx="2">
                  <c:v>45221</c:v>
                </c:pt>
                <c:pt idx="3">
                  <c:v>45228</c:v>
                </c:pt>
                <c:pt idx="4">
                  <c:v>45235</c:v>
                </c:pt>
                <c:pt idx="5">
                  <c:v>45242</c:v>
                </c:pt>
                <c:pt idx="6">
                  <c:v>45249</c:v>
                </c:pt>
                <c:pt idx="7">
                  <c:v>45256</c:v>
                </c:pt>
                <c:pt idx="8">
                  <c:v>45263</c:v>
                </c:pt>
                <c:pt idx="9">
                  <c:v>45270</c:v>
                </c:pt>
                <c:pt idx="10">
                  <c:v>45277</c:v>
                </c:pt>
                <c:pt idx="11">
                  <c:v>45284</c:v>
                </c:pt>
                <c:pt idx="12">
                  <c:v>45291</c:v>
                </c:pt>
                <c:pt idx="13">
                  <c:v>45298</c:v>
                </c:pt>
                <c:pt idx="14">
                  <c:v>45305</c:v>
                </c:pt>
                <c:pt idx="15">
                  <c:v>45312</c:v>
                </c:pt>
                <c:pt idx="16">
                  <c:v>45319</c:v>
                </c:pt>
                <c:pt idx="17">
                  <c:v>45326</c:v>
                </c:pt>
              </c:numCache>
            </c:numRef>
          </c:cat>
          <c:val>
            <c:numRef>
              <c:f>Sheet1!$B$2:$B$19</c:f>
              <c:numCache>
                <c:formatCode>General</c:formatCode>
                <c:ptCount val="18"/>
                <c:pt idx="0">
                  <c:v>336</c:v>
                </c:pt>
                <c:pt idx="1">
                  <c:v>5840</c:v>
                </c:pt>
                <c:pt idx="2">
                  <c:v>10128</c:v>
                </c:pt>
                <c:pt idx="3">
                  <c:v>11567</c:v>
                </c:pt>
                <c:pt idx="4">
                  <c:v>12777</c:v>
                </c:pt>
                <c:pt idx="5">
                  <c:v>16244</c:v>
                </c:pt>
                <c:pt idx="6">
                  <c:v>19817</c:v>
                </c:pt>
                <c:pt idx="7">
                  <c:v>37584</c:v>
                </c:pt>
                <c:pt idx="8">
                  <c:v>35732</c:v>
                </c:pt>
                <c:pt idx="9">
                  <c:v>55479</c:v>
                </c:pt>
                <c:pt idx="10">
                  <c:v>89738</c:v>
                </c:pt>
                <c:pt idx="11">
                  <c:v>220308</c:v>
                </c:pt>
                <c:pt idx="12">
                  <c:v>439869</c:v>
                </c:pt>
                <c:pt idx="13">
                  <c:v>60057</c:v>
                </c:pt>
                <c:pt idx="14">
                  <c:v>4681</c:v>
                </c:pt>
                <c:pt idx="15">
                  <c:v>1539</c:v>
                </c:pt>
                <c:pt idx="16">
                  <c:v>898</c:v>
                </c:pt>
                <c:pt idx="17">
                  <c:v>418</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19</c:f>
              <c:numCache>
                <c:formatCode>yyyy\-mm\-dd</c:formatCode>
                <c:ptCount val="18"/>
                <c:pt idx="0">
                  <c:v>44983</c:v>
                </c:pt>
                <c:pt idx="1">
                  <c:v>45214</c:v>
                </c:pt>
                <c:pt idx="2">
                  <c:v>45221</c:v>
                </c:pt>
                <c:pt idx="3">
                  <c:v>45228</c:v>
                </c:pt>
                <c:pt idx="4">
                  <c:v>45235</c:v>
                </c:pt>
                <c:pt idx="5">
                  <c:v>45242</c:v>
                </c:pt>
                <c:pt idx="6">
                  <c:v>45249</c:v>
                </c:pt>
                <c:pt idx="7">
                  <c:v>45256</c:v>
                </c:pt>
                <c:pt idx="8">
                  <c:v>45263</c:v>
                </c:pt>
                <c:pt idx="9">
                  <c:v>45270</c:v>
                </c:pt>
                <c:pt idx="10">
                  <c:v>45277</c:v>
                </c:pt>
                <c:pt idx="11">
                  <c:v>45284</c:v>
                </c:pt>
                <c:pt idx="12">
                  <c:v>45291</c:v>
                </c:pt>
                <c:pt idx="13">
                  <c:v>45298</c:v>
                </c:pt>
                <c:pt idx="14">
                  <c:v>45305</c:v>
                </c:pt>
                <c:pt idx="15">
                  <c:v>45312</c:v>
                </c:pt>
                <c:pt idx="16">
                  <c:v>45319</c:v>
                </c:pt>
                <c:pt idx="17">
                  <c:v>45326</c:v>
                </c:pt>
              </c:numCache>
            </c:numRef>
          </c:cat>
          <c:val>
            <c:numRef>
              <c:f>Sheet1!$C$2:$C$19</c:f>
              <c:numCache>
                <c:formatCode>General</c:formatCode>
                <c:ptCount val="18"/>
                <c:pt idx="0">
                  <c:v>9439</c:v>
                </c:pt>
                <c:pt idx="1">
                  <c:v>8294</c:v>
                </c:pt>
                <c:pt idx="2">
                  <c:v>8139</c:v>
                </c:pt>
                <c:pt idx="3">
                  <c:v>7766</c:v>
                </c:pt>
                <c:pt idx="4">
                  <c:v>7486</c:v>
                </c:pt>
                <c:pt idx="5">
                  <c:v>7667</c:v>
                </c:pt>
                <c:pt idx="6">
                  <c:v>7371</c:v>
                </c:pt>
                <c:pt idx="7">
                  <c:v>6286</c:v>
                </c:pt>
                <c:pt idx="8">
                  <c:v>6669</c:v>
                </c:pt>
                <c:pt idx="9">
                  <c:v>5818</c:v>
                </c:pt>
                <c:pt idx="10">
                  <c:v>4054</c:v>
                </c:pt>
                <c:pt idx="11">
                  <c:v>3195</c:v>
                </c:pt>
                <c:pt idx="12">
                  <c:v>4301</c:v>
                </c:pt>
                <c:pt idx="13">
                  <c:v>2397</c:v>
                </c:pt>
                <c:pt idx="14">
                  <c:v>489</c:v>
                </c:pt>
                <c:pt idx="15">
                  <c:v>177</c:v>
                </c:pt>
                <c:pt idx="16">
                  <c:v>21</c:v>
                </c:pt>
                <c:pt idx="17">
                  <c:v>37</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19</c:f>
              <c:numCache>
                <c:formatCode>yyyy\-mm\-dd</c:formatCode>
                <c:ptCount val="18"/>
                <c:pt idx="0">
                  <c:v>44983</c:v>
                </c:pt>
                <c:pt idx="1">
                  <c:v>45214</c:v>
                </c:pt>
                <c:pt idx="2">
                  <c:v>45221</c:v>
                </c:pt>
                <c:pt idx="3">
                  <c:v>45228</c:v>
                </c:pt>
                <c:pt idx="4">
                  <c:v>45235</c:v>
                </c:pt>
                <c:pt idx="5">
                  <c:v>45242</c:v>
                </c:pt>
                <c:pt idx="6">
                  <c:v>45249</c:v>
                </c:pt>
                <c:pt idx="7">
                  <c:v>45256</c:v>
                </c:pt>
                <c:pt idx="8">
                  <c:v>45263</c:v>
                </c:pt>
                <c:pt idx="9">
                  <c:v>45270</c:v>
                </c:pt>
                <c:pt idx="10">
                  <c:v>45277</c:v>
                </c:pt>
                <c:pt idx="11">
                  <c:v>45284</c:v>
                </c:pt>
                <c:pt idx="12">
                  <c:v>45291</c:v>
                </c:pt>
                <c:pt idx="13">
                  <c:v>45298</c:v>
                </c:pt>
                <c:pt idx="14">
                  <c:v>45305</c:v>
                </c:pt>
                <c:pt idx="15">
                  <c:v>45312</c:v>
                </c:pt>
                <c:pt idx="16">
                  <c:v>45319</c:v>
                </c:pt>
                <c:pt idx="17">
                  <c:v>45326</c:v>
                </c:pt>
              </c:numCache>
            </c:numRef>
          </c:cat>
          <c:val>
            <c:numRef>
              <c:f>Sheet1!$D$2:$D$19</c:f>
              <c:numCache>
                <c:formatCode>General</c:formatCode>
                <c:ptCount val="18"/>
                <c:pt idx="0">
                  <c:v>9775</c:v>
                </c:pt>
                <c:pt idx="1">
                  <c:v>14134</c:v>
                </c:pt>
                <c:pt idx="2">
                  <c:v>18267</c:v>
                </c:pt>
                <c:pt idx="3">
                  <c:v>19333</c:v>
                </c:pt>
                <c:pt idx="4">
                  <c:v>20263</c:v>
                </c:pt>
                <c:pt idx="5">
                  <c:v>23911</c:v>
                </c:pt>
                <c:pt idx="6">
                  <c:v>27188</c:v>
                </c:pt>
                <c:pt idx="7">
                  <c:v>43870</c:v>
                </c:pt>
                <c:pt idx="8">
                  <c:v>42401</c:v>
                </c:pt>
                <c:pt idx="9">
                  <c:v>61297</c:v>
                </c:pt>
                <c:pt idx="10">
                  <c:v>93792</c:v>
                </c:pt>
                <c:pt idx="11">
                  <c:v>223503</c:v>
                </c:pt>
                <c:pt idx="12">
                  <c:v>444170</c:v>
                </c:pt>
                <c:pt idx="13">
                  <c:v>62454</c:v>
                </c:pt>
                <c:pt idx="14">
                  <c:v>5170</c:v>
                </c:pt>
                <c:pt idx="15">
                  <c:v>1716</c:v>
                </c:pt>
                <c:pt idx="16">
                  <c:v>919</c:v>
                </c:pt>
                <c:pt idx="17">
                  <c:v>455</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19</c:f>
              <c:numCache>
                <c:formatCode>yyyy\-mm\-dd</c:formatCode>
                <c:ptCount val="18"/>
                <c:pt idx="0">
                  <c:v>44983</c:v>
                </c:pt>
                <c:pt idx="1">
                  <c:v>45214</c:v>
                </c:pt>
                <c:pt idx="2">
                  <c:v>45221</c:v>
                </c:pt>
                <c:pt idx="3">
                  <c:v>45228</c:v>
                </c:pt>
                <c:pt idx="4">
                  <c:v>45235</c:v>
                </c:pt>
                <c:pt idx="5">
                  <c:v>45242</c:v>
                </c:pt>
                <c:pt idx="6">
                  <c:v>45249</c:v>
                </c:pt>
                <c:pt idx="7">
                  <c:v>45256</c:v>
                </c:pt>
                <c:pt idx="8">
                  <c:v>45263</c:v>
                </c:pt>
                <c:pt idx="9">
                  <c:v>45270</c:v>
                </c:pt>
                <c:pt idx="10">
                  <c:v>45277</c:v>
                </c:pt>
                <c:pt idx="11">
                  <c:v>45284</c:v>
                </c:pt>
                <c:pt idx="12">
                  <c:v>45291</c:v>
                </c:pt>
                <c:pt idx="13">
                  <c:v>45298</c:v>
                </c:pt>
                <c:pt idx="14">
                  <c:v>45305</c:v>
                </c:pt>
                <c:pt idx="15">
                  <c:v>45312</c:v>
                </c:pt>
                <c:pt idx="16">
                  <c:v>45319</c:v>
                </c:pt>
                <c:pt idx="17">
                  <c:v>45326</c:v>
                </c:pt>
              </c:numCache>
            </c:numRef>
          </c:cat>
          <c:val>
            <c:numRef>
              <c:f>Sheet1!$E$2:$E$19</c:f>
              <c:numCache>
                <c:formatCode>General</c:formatCode>
                <c:ptCount val="18"/>
                <c:pt idx="0">
                  <c:v>9635</c:v>
                </c:pt>
                <c:pt idx="1">
                  <c:v>14172</c:v>
                </c:pt>
                <c:pt idx="2">
                  <c:v>18166</c:v>
                </c:pt>
                <c:pt idx="3">
                  <c:v>19575</c:v>
                </c:pt>
                <c:pt idx="4">
                  <c:v>20804</c:v>
                </c:pt>
                <c:pt idx="5">
                  <c:v>24044</c:v>
                </c:pt>
                <c:pt idx="6">
                  <c:v>27251</c:v>
                </c:pt>
                <c:pt idx="7">
                  <c:v>36700</c:v>
                </c:pt>
                <c:pt idx="8">
                  <c:v>36049</c:v>
                </c:pt>
                <c:pt idx="9">
                  <c:v>40467</c:v>
                </c:pt>
                <c:pt idx="10">
                  <c:v>40424</c:v>
                </c:pt>
                <c:pt idx="11">
                  <c:v>40899</c:v>
                </c:pt>
                <c:pt idx="12">
                  <c:v>39513</c:v>
                </c:pt>
                <c:pt idx="13">
                  <c:v>37355</c:v>
                </c:pt>
                <c:pt idx="14">
                  <c:v>16361</c:v>
                </c:pt>
                <c:pt idx="15">
                  <c:v>6076</c:v>
                </c:pt>
                <c:pt idx="16">
                  <c:v>3481</c:v>
                </c:pt>
                <c:pt idx="17">
                  <c:v>1054</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19</c:f>
              <c:numCache>
                <c:formatCode>yyyy\-mm\-dd</c:formatCode>
                <c:ptCount val="18"/>
                <c:pt idx="0">
                  <c:v>44983</c:v>
                </c:pt>
                <c:pt idx="1">
                  <c:v>45214</c:v>
                </c:pt>
                <c:pt idx="2">
                  <c:v>45221</c:v>
                </c:pt>
                <c:pt idx="3">
                  <c:v>45228</c:v>
                </c:pt>
                <c:pt idx="4">
                  <c:v>45235</c:v>
                </c:pt>
                <c:pt idx="5">
                  <c:v>45242</c:v>
                </c:pt>
                <c:pt idx="6">
                  <c:v>45249</c:v>
                </c:pt>
                <c:pt idx="7">
                  <c:v>45256</c:v>
                </c:pt>
                <c:pt idx="8">
                  <c:v>45263</c:v>
                </c:pt>
                <c:pt idx="9">
                  <c:v>45270</c:v>
                </c:pt>
                <c:pt idx="10">
                  <c:v>45277</c:v>
                </c:pt>
                <c:pt idx="11">
                  <c:v>45284</c:v>
                </c:pt>
                <c:pt idx="12">
                  <c:v>45291</c:v>
                </c:pt>
                <c:pt idx="13">
                  <c:v>45298</c:v>
                </c:pt>
                <c:pt idx="14">
                  <c:v>45305</c:v>
                </c:pt>
                <c:pt idx="15">
                  <c:v>45312</c:v>
                </c:pt>
                <c:pt idx="16">
                  <c:v>45319</c:v>
                </c:pt>
                <c:pt idx="17">
                  <c:v>45326</c:v>
                </c:pt>
              </c:numCache>
            </c:numRef>
          </c:cat>
          <c:val>
            <c:numRef>
              <c:f>Sheet1!$F$2:$F$19</c:f>
              <c:numCache>
                <c:formatCode>General</c:formatCode>
                <c:ptCount val="18"/>
                <c:pt idx="0">
                  <c:v>0.06</c:v>
                </c:pt>
                <c:pt idx="1">
                  <c:v>0.45</c:v>
                </c:pt>
                <c:pt idx="2">
                  <c:v>0.59</c:v>
                </c:pt>
                <c:pt idx="3">
                  <c:v>0.63</c:v>
                </c:pt>
                <c:pt idx="4">
                  <c:v>0.66</c:v>
                </c:pt>
                <c:pt idx="5">
                  <c:v>0.71</c:v>
                </c:pt>
                <c:pt idx="6">
                  <c:v>0.76</c:v>
                </c:pt>
                <c:pt idx="7">
                  <c:v>0.88</c:v>
                </c:pt>
                <c:pt idx="8">
                  <c:v>0.86</c:v>
                </c:pt>
                <c:pt idx="9">
                  <c:v>0.92</c:v>
                </c:pt>
                <c:pt idx="10">
                  <c:v>0.96</c:v>
                </c:pt>
                <c:pt idx="11">
                  <c:v>0.99</c:v>
                </c:pt>
                <c:pt idx="12">
                  <c:v>1</c:v>
                </c:pt>
                <c:pt idx="13">
                  <c:v>0.99</c:v>
                </c:pt>
                <c:pt idx="14">
                  <c:v>0.98</c:v>
                </c:pt>
                <c:pt idx="15">
                  <c:v>0.95</c:v>
                </c:pt>
                <c:pt idx="16">
                  <c:v>0.99</c:v>
                </c:pt>
                <c:pt idx="17">
                  <c:v>0.95</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B$1</c:f>
              <c:strCache>
                <c:ptCount val="1"/>
                <c:pt idx="0">
                  <c:v>Promo Value</c:v>
                </c:pt>
              </c:strCache>
            </c:strRef>
          </c:tx>
          <c:spPr>
            <a:solidFill>
              <a:schemeClr val="accent3"/>
            </a:solidFill>
            <a:ln w="3175">
              <a:solidFill>
                <a:schemeClr val="bg1"/>
              </a:solidFill>
            </a:ln>
            <a:effectLst/>
          </c:spPr>
          <c:invertIfNegative val="0"/>
          <c:cat>
            <c:numRef>
              <c:f>Sheet1!$A$2:$A$13</c:f>
              <c:numCache>
                <c:formatCode>yyyy\-mm\-dd</c:formatCode>
                <c:ptCount val="12"/>
                <c:pt idx="0">
                  <c:v>45277</c:v>
                </c:pt>
                <c:pt idx="1">
                  <c:v>45284</c:v>
                </c:pt>
                <c:pt idx="2">
                  <c:v>45291</c:v>
                </c:pt>
                <c:pt idx="3">
                  <c:v>45298</c:v>
                </c:pt>
                <c:pt idx="4">
                  <c:v>45305</c:v>
                </c:pt>
                <c:pt idx="5">
                  <c:v>45312</c:v>
                </c:pt>
                <c:pt idx="6">
                  <c:v>45319</c:v>
                </c:pt>
                <c:pt idx="7">
                  <c:v>45326</c:v>
                </c:pt>
                <c:pt idx="8">
                  <c:v>45333</c:v>
                </c:pt>
                <c:pt idx="9">
                  <c:v>45340</c:v>
                </c:pt>
                <c:pt idx="10">
                  <c:v>45347</c:v>
                </c:pt>
                <c:pt idx="11">
                  <c:v>45354</c:v>
                </c:pt>
              </c:numCache>
            </c:numRef>
          </c:cat>
          <c:val>
            <c:numRef>
              <c:f>Sheet1!$B$2:$B$13</c:f>
              <c:numCache>
                <c:formatCode>General</c:formatCode>
                <c:ptCount val="12"/>
                <c:pt idx="0">
                  <c:v>2398</c:v>
                </c:pt>
                <c:pt idx="1">
                  <c:v>4633</c:v>
                </c:pt>
                <c:pt idx="2">
                  <c:v>3451</c:v>
                </c:pt>
                <c:pt idx="3">
                  <c:v>2956</c:v>
                </c:pt>
                <c:pt idx="4">
                  <c:v>6004</c:v>
                </c:pt>
                <c:pt idx="5">
                  <c:v>4692</c:v>
                </c:pt>
                <c:pt idx="6">
                  <c:v>3709</c:v>
                </c:pt>
                <c:pt idx="7">
                  <c:v>1596</c:v>
                </c:pt>
                <c:pt idx="8">
                  <c:v>1103</c:v>
                </c:pt>
                <c:pt idx="9">
                  <c:v>569</c:v>
                </c:pt>
                <c:pt idx="10">
                  <c:v>540</c:v>
                </c:pt>
                <c:pt idx="11">
                  <c:v>475</c:v>
                </c:pt>
              </c:numCache>
            </c:numRef>
          </c:val>
          <c:extLst>
            <c:ext xmlns:c16="http://schemas.microsoft.com/office/drawing/2014/chart" uri="{C3380CC4-5D6E-409C-BE32-E72D297353CC}">
              <c16:uniqueId val="{00000000-2607-4594-924D-A7A362348187}"/>
            </c:ext>
          </c:extLst>
        </c:ser>
        <c:ser>
          <c:idx val="1"/>
          <c:order val="1"/>
          <c:tx>
            <c:strRef>
              <c:f>Sheet1!$C$1</c:f>
              <c:strCache>
                <c:ptCount val="1"/>
                <c:pt idx="0">
                  <c:v>Non Promo Value</c:v>
                </c:pt>
              </c:strCache>
            </c:strRef>
          </c:tx>
          <c:spPr>
            <a:solidFill>
              <a:schemeClr val="bg2">
                <a:lumMod val="90000"/>
              </a:schemeClr>
            </a:solidFill>
            <a:ln w="3175">
              <a:solidFill>
                <a:schemeClr val="bg1"/>
              </a:solidFill>
            </a:ln>
            <a:effectLst/>
          </c:spPr>
          <c:invertIfNegative val="0"/>
          <c:cat>
            <c:numRef>
              <c:f>Sheet1!$A$2:$A$13</c:f>
              <c:numCache>
                <c:formatCode>yyyy\-mm\-dd</c:formatCode>
                <c:ptCount val="12"/>
                <c:pt idx="0">
                  <c:v>45277</c:v>
                </c:pt>
                <c:pt idx="1">
                  <c:v>45284</c:v>
                </c:pt>
                <c:pt idx="2">
                  <c:v>45291</c:v>
                </c:pt>
                <c:pt idx="3">
                  <c:v>45298</c:v>
                </c:pt>
                <c:pt idx="4">
                  <c:v>45305</c:v>
                </c:pt>
                <c:pt idx="5">
                  <c:v>45312</c:v>
                </c:pt>
                <c:pt idx="6">
                  <c:v>45319</c:v>
                </c:pt>
                <c:pt idx="7">
                  <c:v>45326</c:v>
                </c:pt>
                <c:pt idx="8">
                  <c:v>45333</c:v>
                </c:pt>
                <c:pt idx="9">
                  <c:v>45340</c:v>
                </c:pt>
                <c:pt idx="10">
                  <c:v>45347</c:v>
                </c:pt>
                <c:pt idx="11">
                  <c:v>45354</c:v>
                </c:pt>
              </c:numCache>
            </c:numRef>
          </c:cat>
          <c:val>
            <c:numRef>
              <c:f>Sheet1!$C$2:$C$13</c:f>
              <c:numCache>
                <c:formatCode>General</c:formatCode>
                <c:ptCount val="12"/>
                <c:pt idx="0">
                  <c:v>3291</c:v>
                </c:pt>
                <c:pt idx="1">
                  <c:v>1821</c:v>
                </c:pt>
                <c:pt idx="2">
                  <c:v>1097</c:v>
                </c:pt>
                <c:pt idx="3">
                  <c:v>857</c:v>
                </c:pt>
                <c:pt idx="4">
                  <c:v>859</c:v>
                </c:pt>
                <c:pt idx="5">
                  <c:v>373</c:v>
                </c:pt>
                <c:pt idx="6">
                  <c:v>199</c:v>
                </c:pt>
                <c:pt idx="7">
                  <c:v>169</c:v>
                </c:pt>
                <c:pt idx="8">
                  <c:v>95</c:v>
                </c:pt>
                <c:pt idx="9">
                  <c:v>155</c:v>
                </c:pt>
                <c:pt idx="10">
                  <c:v>188</c:v>
                </c:pt>
                <c:pt idx="11">
                  <c:v>228</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D$1</c:f>
              <c:strCache>
                <c:ptCount val="1"/>
                <c:pt idx="0">
                  <c:v>Value Sales</c:v>
                </c:pt>
              </c:strCache>
            </c:strRef>
          </c:tx>
          <c:spPr>
            <a:ln w="28575" cap="rnd">
              <a:solidFill>
                <a:schemeClr val="accent3"/>
              </a:solidFill>
              <a:round/>
            </a:ln>
            <a:effectLst/>
          </c:spPr>
          <c:marker>
            <c:symbol val="none"/>
          </c:marker>
          <c:cat>
            <c:numRef>
              <c:f>Sheet1!$A$2:$A$13</c:f>
              <c:numCache>
                <c:formatCode>yyyy\-mm\-dd</c:formatCode>
                <c:ptCount val="12"/>
                <c:pt idx="0">
                  <c:v>45277</c:v>
                </c:pt>
                <c:pt idx="1">
                  <c:v>45284</c:v>
                </c:pt>
                <c:pt idx="2">
                  <c:v>45291</c:v>
                </c:pt>
                <c:pt idx="3">
                  <c:v>45298</c:v>
                </c:pt>
                <c:pt idx="4">
                  <c:v>45305</c:v>
                </c:pt>
                <c:pt idx="5">
                  <c:v>45312</c:v>
                </c:pt>
                <c:pt idx="6">
                  <c:v>45319</c:v>
                </c:pt>
                <c:pt idx="7">
                  <c:v>45326</c:v>
                </c:pt>
                <c:pt idx="8">
                  <c:v>45333</c:v>
                </c:pt>
                <c:pt idx="9">
                  <c:v>45340</c:v>
                </c:pt>
                <c:pt idx="10">
                  <c:v>45347</c:v>
                </c:pt>
                <c:pt idx="11">
                  <c:v>45354</c:v>
                </c:pt>
              </c:numCache>
            </c:numRef>
          </c:cat>
          <c:val>
            <c:numRef>
              <c:f>Sheet1!$D$2:$D$13</c:f>
              <c:numCache>
                <c:formatCode>General</c:formatCode>
                <c:ptCount val="12"/>
                <c:pt idx="0">
                  <c:v>5689</c:v>
                </c:pt>
                <c:pt idx="1">
                  <c:v>6454</c:v>
                </c:pt>
                <c:pt idx="2">
                  <c:v>4548</c:v>
                </c:pt>
                <c:pt idx="3">
                  <c:v>3813</c:v>
                </c:pt>
                <c:pt idx="4">
                  <c:v>6863</c:v>
                </c:pt>
                <c:pt idx="5">
                  <c:v>5065</c:v>
                </c:pt>
                <c:pt idx="6">
                  <c:v>3908</c:v>
                </c:pt>
                <c:pt idx="7">
                  <c:v>1765</c:v>
                </c:pt>
                <c:pt idx="8">
                  <c:v>1198</c:v>
                </c:pt>
                <c:pt idx="9">
                  <c:v>724</c:v>
                </c:pt>
                <c:pt idx="10">
                  <c:v>728</c:v>
                </c:pt>
                <c:pt idx="11">
                  <c:v>703</c:v>
                </c:pt>
              </c:numCache>
            </c:numRef>
          </c:val>
          <c:smooth val="0"/>
          <c:extLst>
            <c:ext xmlns:c16="http://schemas.microsoft.com/office/drawing/2014/chart" uri="{C3380CC4-5D6E-409C-BE32-E72D297353CC}">
              <c16:uniqueId val="{00000002-2607-4594-924D-A7A362348187}"/>
            </c:ext>
          </c:extLst>
        </c:ser>
        <c:ser>
          <c:idx val="3"/>
          <c:order val="3"/>
          <c:tx>
            <c:strRef>
              <c:f>Sheet1!$E$1</c:f>
              <c:strCache>
                <c:ptCount val="1"/>
                <c:pt idx="0">
                  <c:v>Base Sales</c:v>
                </c:pt>
              </c:strCache>
            </c:strRef>
          </c:tx>
          <c:spPr>
            <a:ln w="25400">
              <a:solidFill>
                <a:schemeClr val="tx2"/>
              </a:solidFill>
              <a:prstDash val="sysDot"/>
            </a:ln>
            <a:effectLst/>
          </c:spPr>
          <c:marker>
            <c:symbol val="none"/>
          </c:marker>
          <c:cat>
            <c:numRef>
              <c:f>Sheet1!$A$2:$A$13</c:f>
              <c:numCache>
                <c:formatCode>yyyy\-mm\-dd</c:formatCode>
                <c:ptCount val="12"/>
                <c:pt idx="0">
                  <c:v>45277</c:v>
                </c:pt>
                <c:pt idx="1">
                  <c:v>45284</c:v>
                </c:pt>
                <c:pt idx="2">
                  <c:v>45291</c:v>
                </c:pt>
                <c:pt idx="3">
                  <c:v>45298</c:v>
                </c:pt>
                <c:pt idx="4">
                  <c:v>45305</c:v>
                </c:pt>
                <c:pt idx="5">
                  <c:v>45312</c:v>
                </c:pt>
                <c:pt idx="6">
                  <c:v>45319</c:v>
                </c:pt>
                <c:pt idx="7">
                  <c:v>45326</c:v>
                </c:pt>
                <c:pt idx="8">
                  <c:v>45333</c:v>
                </c:pt>
                <c:pt idx="9">
                  <c:v>45340</c:v>
                </c:pt>
                <c:pt idx="10">
                  <c:v>45347</c:v>
                </c:pt>
                <c:pt idx="11">
                  <c:v>45354</c:v>
                </c:pt>
              </c:numCache>
            </c:numRef>
          </c:cat>
          <c:val>
            <c:numRef>
              <c:f>Sheet1!$E$2:$E$13</c:f>
              <c:numCache>
                <c:formatCode>General</c:formatCode>
                <c:ptCount val="12"/>
                <c:pt idx="0">
                  <c:v>5536</c:v>
                </c:pt>
                <c:pt idx="1">
                  <c:v>5401</c:v>
                </c:pt>
                <c:pt idx="2">
                  <c:v>5521</c:v>
                </c:pt>
                <c:pt idx="3">
                  <c:v>4831</c:v>
                </c:pt>
                <c:pt idx="4">
                  <c:v>5596</c:v>
                </c:pt>
                <c:pt idx="5">
                  <c:v>5596</c:v>
                </c:pt>
                <c:pt idx="6">
                  <c:v>5596</c:v>
                </c:pt>
                <c:pt idx="7">
                  <c:v>5611</c:v>
                </c:pt>
                <c:pt idx="8">
                  <c:v>5041</c:v>
                </c:pt>
                <c:pt idx="9">
                  <c:v>2506</c:v>
                </c:pt>
                <c:pt idx="10">
                  <c:v>2865</c:v>
                </c:pt>
                <c:pt idx="11">
                  <c:v>2253</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VSOD</c:v>
                </c:pt>
              </c:strCache>
            </c:strRef>
          </c:tx>
          <c:spPr>
            <a:ln w="28575" cap="rnd">
              <a:solidFill>
                <a:schemeClr val="accent5"/>
              </a:solidFill>
              <a:round/>
            </a:ln>
            <a:effectLst/>
          </c:spPr>
          <c:marker>
            <c:symbol val="none"/>
          </c:marker>
          <c:cat>
            <c:numRef>
              <c:f>Sheet1!$A$2:$A$13</c:f>
              <c:numCache>
                <c:formatCode>yyyy\-mm\-dd</c:formatCode>
                <c:ptCount val="12"/>
                <c:pt idx="0">
                  <c:v>45277</c:v>
                </c:pt>
                <c:pt idx="1">
                  <c:v>45284</c:v>
                </c:pt>
                <c:pt idx="2">
                  <c:v>45291</c:v>
                </c:pt>
                <c:pt idx="3">
                  <c:v>45298</c:v>
                </c:pt>
                <c:pt idx="4">
                  <c:v>45305</c:v>
                </c:pt>
                <c:pt idx="5">
                  <c:v>45312</c:v>
                </c:pt>
                <c:pt idx="6">
                  <c:v>45319</c:v>
                </c:pt>
                <c:pt idx="7">
                  <c:v>45326</c:v>
                </c:pt>
                <c:pt idx="8">
                  <c:v>45333</c:v>
                </c:pt>
                <c:pt idx="9">
                  <c:v>45340</c:v>
                </c:pt>
                <c:pt idx="10">
                  <c:v>45347</c:v>
                </c:pt>
                <c:pt idx="11">
                  <c:v>45354</c:v>
                </c:pt>
              </c:numCache>
            </c:numRef>
          </c:cat>
          <c:val>
            <c:numRef>
              <c:f>Sheet1!$F$2:$F$13</c:f>
              <c:numCache>
                <c:formatCode>General</c:formatCode>
                <c:ptCount val="12"/>
                <c:pt idx="0">
                  <c:v>0.47</c:v>
                </c:pt>
                <c:pt idx="1">
                  <c:v>0.76</c:v>
                </c:pt>
                <c:pt idx="2">
                  <c:v>0.76</c:v>
                </c:pt>
                <c:pt idx="3">
                  <c:v>0.81</c:v>
                </c:pt>
                <c:pt idx="4">
                  <c:v>0.9</c:v>
                </c:pt>
                <c:pt idx="5">
                  <c:v>0.94</c:v>
                </c:pt>
                <c:pt idx="6">
                  <c:v>0.97</c:v>
                </c:pt>
                <c:pt idx="7">
                  <c:v>0.94</c:v>
                </c:pt>
                <c:pt idx="8">
                  <c:v>0.95</c:v>
                </c:pt>
                <c:pt idx="9">
                  <c:v>0.83</c:v>
                </c:pt>
                <c:pt idx="10">
                  <c:v>0.81</c:v>
                </c:pt>
                <c:pt idx="11">
                  <c:v>0.72</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dateAx>
        <c:axId val="253167887"/>
        <c:scaling>
          <c:orientation val="minMax"/>
        </c:scaling>
        <c:delete val="1"/>
        <c:axPos val="b"/>
        <c:numFmt formatCode="yyyy\-mm\-dd" sourceLinked="1"/>
        <c:majorTickMark val="out"/>
        <c:minorTickMark val="none"/>
        <c:tickLblPos val="nextTo"/>
        <c:crossAx val="253170383"/>
        <c:crosses val="autoZero"/>
        <c:auto val="1"/>
        <c:lblOffset val="100"/>
        <c:baseTimeUnit val="day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219792786125353E-2"/>
          <c:y val="0.22555108645669017"/>
          <c:w val="0.96766497516299987"/>
          <c:h val="0.76466540290122786"/>
        </c:manualLayout>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23</c:f>
              <c:numCache>
                <c:formatCode>yyyy\-mm\-dd</c:formatCode>
                <c:ptCount val="22"/>
                <c:pt idx="0">
                  <c:v>44983</c:v>
                </c:pt>
                <c:pt idx="1">
                  <c:v>45214</c:v>
                </c:pt>
                <c:pt idx="2">
                  <c:v>45221</c:v>
                </c:pt>
                <c:pt idx="3">
                  <c:v>45228</c:v>
                </c:pt>
                <c:pt idx="4">
                  <c:v>45235</c:v>
                </c:pt>
                <c:pt idx="5">
                  <c:v>45242</c:v>
                </c:pt>
                <c:pt idx="6">
                  <c:v>45249</c:v>
                </c:pt>
                <c:pt idx="7">
                  <c:v>45256</c:v>
                </c:pt>
                <c:pt idx="8">
                  <c:v>45263</c:v>
                </c:pt>
                <c:pt idx="9">
                  <c:v>45270</c:v>
                </c:pt>
                <c:pt idx="10">
                  <c:v>45277</c:v>
                </c:pt>
                <c:pt idx="11">
                  <c:v>45284</c:v>
                </c:pt>
                <c:pt idx="12">
                  <c:v>45291</c:v>
                </c:pt>
                <c:pt idx="13">
                  <c:v>45298</c:v>
                </c:pt>
                <c:pt idx="14">
                  <c:v>45305</c:v>
                </c:pt>
                <c:pt idx="15">
                  <c:v>45312</c:v>
                </c:pt>
                <c:pt idx="16">
                  <c:v>45319</c:v>
                </c:pt>
                <c:pt idx="17">
                  <c:v>45326</c:v>
                </c:pt>
                <c:pt idx="18">
                  <c:v>45333</c:v>
                </c:pt>
                <c:pt idx="19">
                  <c:v>45340</c:v>
                </c:pt>
                <c:pt idx="20">
                  <c:v>45347</c:v>
                </c:pt>
                <c:pt idx="21">
                  <c:v>45354</c:v>
                </c:pt>
              </c:numCache>
            </c:numRef>
          </c:cat>
          <c:val>
            <c:numRef>
              <c:f>Sheet1!$B$2:$B$23</c:f>
              <c:numCache>
                <c:formatCode>General</c:formatCode>
                <c:ptCount val="22"/>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numCache>
            </c:numRef>
          </c:val>
          <c:extLst>
            <c:ext xmlns:c16="http://schemas.microsoft.com/office/drawing/2014/chart" uri="{C3380CC4-5D6E-409C-BE32-E72D297353CC}">
              <c16:uniqueId val="{00000001-E3C4-46BC-AA3D-A3795B7CC7BA}"/>
            </c:ext>
          </c:extLst>
        </c:ser>
        <c:ser>
          <c:idx val="0"/>
          <c:order val="1"/>
          <c:tx>
            <c:strRef>
              <c:f>Sheet1!$C$1</c:f>
              <c:strCache>
                <c:ptCount val="1"/>
                <c:pt idx="0">
                  <c:v>Promo Volume</c:v>
                </c:pt>
              </c:strCache>
            </c:strRef>
          </c:tx>
          <c:spPr>
            <a:solidFill>
              <a:schemeClr val="accent3"/>
            </a:solidFill>
            <a:ln>
              <a:noFill/>
            </a:ln>
            <a:effectLst/>
          </c:spPr>
          <c:invertIfNegative val="0"/>
          <c:cat>
            <c:numRef>
              <c:f>Sheet1!$A$2:$A$23</c:f>
              <c:numCache>
                <c:formatCode>yyyy\-mm\-dd</c:formatCode>
                <c:ptCount val="22"/>
                <c:pt idx="0">
                  <c:v>44983</c:v>
                </c:pt>
                <c:pt idx="1">
                  <c:v>45214</c:v>
                </c:pt>
                <c:pt idx="2">
                  <c:v>45221</c:v>
                </c:pt>
                <c:pt idx="3">
                  <c:v>45228</c:v>
                </c:pt>
                <c:pt idx="4">
                  <c:v>45235</c:v>
                </c:pt>
                <c:pt idx="5">
                  <c:v>45242</c:v>
                </c:pt>
                <c:pt idx="6">
                  <c:v>45249</c:v>
                </c:pt>
                <c:pt idx="7">
                  <c:v>45256</c:v>
                </c:pt>
                <c:pt idx="8">
                  <c:v>45263</c:v>
                </c:pt>
                <c:pt idx="9">
                  <c:v>45270</c:v>
                </c:pt>
                <c:pt idx="10">
                  <c:v>45277</c:v>
                </c:pt>
                <c:pt idx="11">
                  <c:v>45284</c:v>
                </c:pt>
                <c:pt idx="12">
                  <c:v>45291</c:v>
                </c:pt>
                <c:pt idx="13">
                  <c:v>45298</c:v>
                </c:pt>
                <c:pt idx="14">
                  <c:v>45305</c:v>
                </c:pt>
                <c:pt idx="15">
                  <c:v>45312</c:v>
                </c:pt>
                <c:pt idx="16">
                  <c:v>45319</c:v>
                </c:pt>
                <c:pt idx="17">
                  <c:v>45326</c:v>
                </c:pt>
                <c:pt idx="18">
                  <c:v>45333</c:v>
                </c:pt>
                <c:pt idx="19">
                  <c:v>45340</c:v>
                </c:pt>
                <c:pt idx="20">
                  <c:v>45347</c:v>
                </c:pt>
                <c:pt idx="21">
                  <c:v>45354</c:v>
                </c:pt>
              </c:numCache>
            </c:numRef>
          </c:cat>
          <c:val>
            <c:numRef>
              <c:f>Sheet1!$C$2:$C$23</c:f>
              <c:numCache>
                <c:formatCode>General</c:formatCode>
                <c:ptCount val="22"/>
                <c:pt idx="0">
                  <c:v>0</c:v>
                </c:pt>
                <c:pt idx="1">
                  <c:v>0</c:v>
                </c:pt>
                <c:pt idx="2">
                  <c:v>0</c:v>
                </c:pt>
                <c:pt idx="3">
                  <c:v>0</c:v>
                </c:pt>
                <c:pt idx="4">
                  <c:v>3050</c:v>
                </c:pt>
                <c:pt idx="5">
                  <c:v>4675</c:v>
                </c:pt>
                <c:pt idx="6">
                  <c:v>4890</c:v>
                </c:pt>
                <c:pt idx="7">
                  <c:v>5500</c:v>
                </c:pt>
                <c:pt idx="8">
                  <c:v>0</c:v>
                </c:pt>
                <c:pt idx="9">
                  <c:v>4865</c:v>
                </c:pt>
                <c:pt idx="10">
                  <c:v>10250</c:v>
                </c:pt>
                <c:pt idx="11">
                  <c:v>41340</c:v>
                </c:pt>
                <c:pt idx="12">
                  <c:v>22155</c:v>
                </c:pt>
                <c:pt idx="13">
                  <c:v>12445</c:v>
                </c:pt>
                <c:pt idx="14">
                  <c:v>38375</c:v>
                </c:pt>
                <c:pt idx="15">
                  <c:v>31810</c:v>
                </c:pt>
                <c:pt idx="16">
                  <c:v>13205</c:v>
                </c:pt>
                <c:pt idx="17">
                  <c:v>3790</c:v>
                </c:pt>
                <c:pt idx="18">
                  <c:v>1290</c:v>
                </c:pt>
                <c:pt idx="19">
                  <c:v>520</c:v>
                </c:pt>
                <c:pt idx="20">
                  <c:v>340</c:v>
                </c:pt>
                <c:pt idx="21">
                  <c:v>265</c:v>
                </c:pt>
              </c:numCache>
            </c:numRef>
          </c:val>
          <c:extLst>
            <c:ext xmlns:c16="http://schemas.microsoft.com/office/drawing/2014/chart" uri="{C3380CC4-5D6E-409C-BE32-E72D297353CC}">
              <c16:uniqueId val="{00000000-E3C4-46BC-AA3D-A3795B7CC7B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yyyy\-mm\-dd"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23</c:f>
              <c:numCache>
                <c:formatCode>yyyy\-mm\-dd</c:formatCode>
                <c:ptCount val="22"/>
                <c:pt idx="0">
                  <c:v>44983</c:v>
                </c:pt>
                <c:pt idx="1">
                  <c:v>45214</c:v>
                </c:pt>
                <c:pt idx="2">
                  <c:v>45221</c:v>
                </c:pt>
                <c:pt idx="3">
                  <c:v>45228</c:v>
                </c:pt>
                <c:pt idx="4">
                  <c:v>45235</c:v>
                </c:pt>
                <c:pt idx="5">
                  <c:v>45242</c:v>
                </c:pt>
                <c:pt idx="6">
                  <c:v>45249</c:v>
                </c:pt>
                <c:pt idx="7">
                  <c:v>45256</c:v>
                </c:pt>
                <c:pt idx="8">
                  <c:v>45263</c:v>
                </c:pt>
                <c:pt idx="9">
                  <c:v>45270</c:v>
                </c:pt>
                <c:pt idx="10">
                  <c:v>45277</c:v>
                </c:pt>
                <c:pt idx="11">
                  <c:v>45284</c:v>
                </c:pt>
                <c:pt idx="12">
                  <c:v>45291</c:v>
                </c:pt>
                <c:pt idx="13">
                  <c:v>45298</c:v>
                </c:pt>
                <c:pt idx="14">
                  <c:v>45305</c:v>
                </c:pt>
                <c:pt idx="15">
                  <c:v>45312</c:v>
                </c:pt>
                <c:pt idx="16">
                  <c:v>45319</c:v>
                </c:pt>
                <c:pt idx="17">
                  <c:v>45326</c:v>
                </c:pt>
                <c:pt idx="18">
                  <c:v>45333</c:v>
                </c:pt>
                <c:pt idx="19">
                  <c:v>45340</c:v>
                </c:pt>
                <c:pt idx="20">
                  <c:v>45347</c:v>
                </c:pt>
                <c:pt idx="21">
                  <c:v>45354</c:v>
                </c:pt>
              </c:numCache>
            </c:numRef>
          </c:cat>
          <c:val>
            <c:numRef>
              <c:f>Sheet1!$B$2:$B$23</c:f>
              <c:numCache>
                <c:formatCode>General</c:formatCode>
                <c:ptCount val="22"/>
                <c:pt idx="0">
                  <c:v>1778</c:v>
                </c:pt>
                <c:pt idx="1">
                  <c:v>2448</c:v>
                </c:pt>
                <c:pt idx="2">
                  <c:v>2440</c:v>
                </c:pt>
                <c:pt idx="3">
                  <c:v>2252</c:v>
                </c:pt>
                <c:pt idx="4">
                  <c:v>2448</c:v>
                </c:pt>
                <c:pt idx="5">
                  <c:v>2442</c:v>
                </c:pt>
                <c:pt idx="6">
                  <c:v>2402</c:v>
                </c:pt>
                <c:pt idx="7">
                  <c:v>2106</c:v>
                </c:pt>
                <c:pt idx="8">
                  <c:v>2224</c:v>
                </c:pt>
                <c:pt idx="9">
                  <c:v>2168</c:v>
                </c:pt>
                <c:pt idx="10">
                  <c:v>1368</c:v>
                </c:pt>
                <c:pt idx="11">
                  <c:v>886</c:v>
                </c:pt>
                <c:pt idx="12">
                  <c:v>632</c:v>
                </c:pt>
                <c:pt idx="13">
                  <c:v>390</c:v>
                </c:pt>
                <c:pt idx="14">
                  <c:v>632</c:v>
                </c:pt>
                <c:pt idx="15">
                  <c:v>380</c:v>
                </c:pt>
                <c:pt idx="16">
                  <c:v>148</c:v>
                </c:pt>
                <c:pt idx="17">
                  <c:v>142</c:v>
                </c:pt>
                <c:pt idx="18">
                  <c:v>72</c:v>
                </c:pt>
                <c:pt idx="19">
                  <c:v>150</c:v>
                </c:pt>
                <c:pt idx="20">
                  <c:v>164</c:v>
                </c:pt>
                <c:pt idx="21">
                  <c:v>200</c:v>
                </c:pt>
              </c:numCache>
            </c:numRef>
          </c:val>
          <c:extLst>
            <c:ext xmlns:c16="http://schemas.microsoft.com/office/drawing/2014/chart" uri="{C3380CC4-5D6E-409C-BE32-E72D297353CC}">
              <c16:uniqueId val="{00000000-72A7-4D08-96D7-E73109FBDC9A}"/>
            </c:ext>
          </c:extLst>
        </c:ser>
        <c:ser>
          <c:idx val="0"/>
          <c:order val="1"/>
          <c:tx>
            <c:strRef>
              <c:f>Sheet1!$C$1</c:f>
              <c:strCache>
                <c:ptCount val="1"/>
                <c:pt idx="0">
                  <c:v>Promo Volume</c:v>
                </c:pt>
              </c:strCache>
            </c:strRef>
          </c:tx>
          <c:spPr>
            <a:solidFill>
              <a:schemeClr val="accent3"/>
            </a:solidFill>
            <a:ln>
              <a:noFill/>
            </a:ln>
            <a:effectLst/>
          </c:spPr>
          <c:invertIfNegative val="0"/>
          <c:cat>
            <c:numRef>
              <c:f>Sheet1!$A$2:$A$23</c:f>
              <c:numCache>
                <c:formatCode>yyyy\-mm\-dd</c:formatCode>
                <c:ptCount val="22"/>
                <c:pt idx="0">
                  <c:v>44983</c:v>
                </c:pt>
                <c:pt idx="1">
                  <c:v>45214</c:v>
                </c:pt>
                <c:pt idx="2">
                  <c:v>45221</c:v>
                </c:pt>
                <c:pt idx="3">
                  <c:v>45228</c:v>
                </c:pt>
                <c:pt idx="4">
                  <c:v>45235</c:v>
                </c:pt>
                <c:pt idx="5">
                  <c:v>45242</c:v>
                </c:pt>
                <c:pt idx="6">
                  <c:v>45249</c:v>
                </c:pt>
                <c:pt idx="7">
                  <c:v>45256</c:v>
                </c:pt>
                <c:pt idx="8">
                  <c:v>45263</c:v>
                </c:pt>
                <c:pt idx="9">
                  <c:v>45270</c:v>
                </c:pt>
                <c:pt idx="10">
                  <c:v>45277</c:v>
                </c:pt>
                <c:pt idx="11">
                  <c:v>45284</c:v>
                </c:pt>
                <c:pt idx="12">
                  <c:v>45291</c:v>
                </c:pt>
                <c:pt idx="13">
                  <c:v>45298</c:v>
                </c:pt>
                <c:pt idx="14">
                  <c:v>45305</c:v>
                </c:pt>
                <c:pt idx="15">
                  <c:v>45312</c:v>
                </c:pt>
                <c:pt idx="16">
                  <c:v>45319</c:v>
                </c:pt>
                <c:pt idx="17">
                  <c:v>45326</c:v>
                </c:pt>
                <c:pt idx="18">
                  <c:v>45333</c:v>
                </c:pt>
                <c:pt idx="19">
                  <c:v>45340</c:v>
                </c:pt>
                <c:pt idx="20">
                  <c:v>45347</c:v>
                </c:pt>
                <c:pt idx="21">
                  <c:v>45354</c:v>
                </c:pt>
              </c:numCache>
            </c:numRef>
          </c:cat>
          <c:val>
            <c:numRef>
              <c:f>Sheet1!$C$2:$C$23</c:f>
              <c:numCache>
                <c:formatCode>General</c:formatCode>
                <c:ptCount val="22"/>
                <c:pt idx="0">
                  <c:v>176</c:v>
                </c:pt>
                <c:pt idx="1">
                  <c:v>880</c:v>
                </c:pt>
                <c:pt idx="2">
                  <c:v>1438</c:v>
                </c:pt>
                <c:pt idx="3">
                  <c:v>1648</c:v>
                </c:pt>
                <c:pt idx="4">
                  <c:v>1730</c:v>
                </c:pt>
                <c:pt idx="5">
                  <c:v>2172</c:v>
                </c:pt>
                <c:pt idx="6">
                  <c:v>2672</c:v>
                </c:pt>
                <c:pt idx="7">
                  <c:v>5026</c:v>
                </c:pt>
                <c:pt idx="8">
                  <c:v>4780</c:v>
                </c:pt>
                <c:pt idx="9">
                  <c:v>7410</c:v>
                </c:pt>
                <c:pt idx="10">
                  <c:v>12784</c:v>
                </c:pt>
                <c:pt idx="11">
                  <c:v>31090</c:v>
                </c:pt>
                <c:pt idx="12">
                  <c:v>101588</c:v>
                </c:pt>
                <c:pt idx="13">
                  <c:v>25656</c:v>
                </c:pt>
                <c:pt idx="14">
                  <c:v>7244</c:v>
                </c:pt>
                <c:pt idx="15">
                  <c:v>5920</c:v>
                </c:pt>
                <c:pt idx="16">
                  <c:v>4752</c:v>
                </c:pt>
                <c:pt idx="17">
                  <c:v>2256</c:v>
                </c:pt>
                <c:pt idx="18">
                  <c:v>1500</c:v>
                </c:pt>
                <c:pt idx="19">
                  <c:v>790</c:v>
                </c:pt>
                <c:pt idx="20">
                  <c:v>712</c:v>
                </c:pt>
                <c:pt idx="21">
                  <c:v>528</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219792786125353E-2"/>
          <c:y val="0.22555108645669017"/>
          <c:w val="0.96766497516299987"/>
          <c:h val="0.76466540290122786"/>
        </c:manualLayout>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7</c:f>
              <c:numCache>
                <c:formatCode>yyyy\-mm\-dd</c:formatCode>
                <c:ptCount val="106"/>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51</c:v>
                </c:pt>
                <c:pt idx="30">
                  <c:v>45158</c:v>
                </c:pt>
                <c:pt idx="31">
                  <c:v>45165</c:v>
                </c:pt>
                <c:pt idx="32">
                  <c:v>45172</c:v>
                </c:pt>
                <c:pt idx="33">
                  <c:v>45179</c:v>
                </c:pt>
                <c:pt idx="34">
                  <c:v>45186</c:v>
                </c:pt>
                <c:pt idx="35">
                  <c:v>45193</c:v>
                </c:pt>
                <c:pt idx="36">
                  <c:v>45200</c:v>
                </c:pt>
                <c:pt idx="37">
                  <c:v>45207</c:v>
                </c:pt>
                <c:pt idx="38">
                  <c:v>45214</c:v>
                </c:pt>
                <c:pt idx="39">
                  <c:v>45221</c:v>
                </c:pt>
                <c:pt idx="40">
                  <c:v>45228</c:v>
                </c:pt>
                <c:pt idx="41">
                  <c:v>45235</c:v>
                </c:pt>
                <c:pt idx="42">
                  <c:v>45242</c:v>
                </c:pt>
                <c:pt idx="43">
                  <c:v>45249</c:v>
                </c:pt>
                <c:pt idx="44">
                  <c:v>45256</c:v>
                </c:pt>
                <c:pt idx="45">
                  <c:v>45263</c:v>
                </c:pt>
                <c:pt idx="46">
                  <c:v>45270</c:v>
                </c:pt>
                <c:pt idx="47">
                  <c:v>45277</c:v>
                </c:pt>
                <c:pt idx="48">
                  <c:v>45284</c:v>
                </c:pt>
                <c:pt idx="49">
                  <c:v>45291</c:v>
                </c:pt>
                <c:pt idx="50">
                  <c:v>45298</c:v>
                </c:pt>
                <c:pt idx="51">
                  <c:v>45305</c:v>
                </c:pt>
                <c:pt idx="52">
                  <c:v>45312</c:v>
                </c:pt>
                <c:pt idx="53">
                  <c:v>45319</c:v>
                </c:pt>
                <c:pt idx="54">
                  <c:v>45326</c:v>
                </c:pt>
                <c:pt idx="55">
                  <c:v>45333</c:v>
                </c:pt>
                <c:pt idx="56">
                  <c:v>45340</c:v>
                </c:pt>
                <c:pt idx="57">
                  <c:v>45347</c:v>
                </c:pt>
                <c:pt idx="58">
                  <c:v>45354</c:v>
                </c:pt>
                <c:pt idx="59">
                  <c:v>45361</c:v>
                </c:pt>
                <c:pt idx="60">
                  <c:v>45368</c:v>
                </c:pt>
                <c:pt idx="61">
                  <c:v>45375</c:v>
                </c:pt>
                <c:pt idx="62">
                  <c:v>45382</c:v>
                </c:pt>
                <c:pt idx="63">
                  <c:v>45389</c:v>
                </c:pt>
                <c:pt idx="64">
                  <c:v>45396</c:v>
                </c:pt>
                <c:pt idx="65">
                  <c:v>45403</c:v>
                </c:pt>
                <c:pt idx="66">
                  <c:v>45410</c:v>
                </c:pt>
                <c:pt idx="67">
                  <c:v>45417</c:v>
                </c:pt>
                <c:pt idx="68">
                  <c:v>45424</c:v>
                </c:pt>
                <c:pt idx="69">
                  <c:v>45431</c:v>
                </c:pt>
                <c:pt idx="70">
                  <c:v>45438</c:v>
                </c:pt>
                <c:pt idx="71">
                  <c:v>45445</c:v>
                </c:pt>
                <c:pt idx="72">
                  <c:v>45452</c:v>
                </c:pt>
                <c:pt idx="73">
                  <c:v>45459</c:v>
                </c:pt>
                <c:pt idx="74">
                  <c:v>45466</c:v>
                </c:pt>
                <c:pt idx="75">
                  <c:v>45473</c:v>
                </c:pt>
                <c:pt idx="76">
                  <c:v>45480</c:v>
                </c:pt>
                <c:pt idx="77">
                  <c:v>45487</c:v>
                </c:pt>
                <c:pt idx="78">
                  <c:v>45494</c:v>
                </c:pt>
                <c:pt idx="79">
                  <c:v>45501</c:v>
                </c:pt>
                <c:pt idx="80">
                  <c:v>45508</c:v>
                </c:pt>
                <c:pt idx="81">
                  <c:v>45515</c:v>
                </c:pt>
                <c:pt idx="82">
                  <c:v>45522</c:v>
                </c:pt>
                <c:pt idx="83">
                  <c:v>45529</c:v>
                </c:pt>
                <c:pt idx="84">
                  <c:v>45536</c:v>
                </c:pt>
                <c:pt idx="85">
                  <c:v>45543</c:v>
                </c:pt>
                <c:pt idx="86">
                  <c:v>45550</c:v>
                </c:pt>
                <c:pt idx="87">
                  <c:v>45557</c:v>
                </c:pt>
                <c:pt idx="88">
                  <c:v>45564</c:v>
                </c:pt>
                <c:pt idx="89">
                  <c:v>45571</c:v>
                </c:pt>
                <c:pt idx="90">
                  <c:v>45578</c:v>
                </c:pt>
                <c:pt idx="91">
                  <c:v>45585</c:v>
                </c:pt>
                <c:pt idx="92">
                  <c:v>45592</c:v>
                </c:pt>
                <c:pt idx="93">
                  <c:v>45599</c:v>
                </c:pt>
                <c:pt idx="94">
                  <c:v>45606</c:v>
                </c:pt>
                <c:pt idx="95">
                  <c:v>45613</c:v>
                </c:pt>
                <c:pt idx="96">
                  <c:v>45620</c:v>
                </c:pt>
                <c:pt idx="97">
                  <c:v>45627</c:v>
                </c:pt>
                <c:pt idx="98">
                  <c:v>45634</c:v>
                </c:pt>
                <c:pt idx="99">
                  <c:v>45641</c:v>
                </c:pt>
                <c:pt idx="100">
                  <c:v>45648</c:v>
                </c:pt>
                <c:pt idx="101">
                  <c:v>45655</c:v>
                </c:pt>
                <c:pt idx="102">
                  <c:v>45662</c:v>
                </c:pt>
                <c:pt idx="103">
                  <c:v>45669</c:v>
                </c:pt>
                <c:pt idx="104">
                  <c:v>45676</c:v>
                </c:pt>
                <c:pt idx="105">
                  <c:v>45683</c:v>
                </c:pt>
              </c:numCache>
            </c:numRef>
          </c:cat>
          <c:val>
            <c:numRef>
              <c:f>Sheet1!$B$2:$B$107</c:f>
              <c:numCache>
                <c:formatCode>General</c:formatCode>
                <c:ptCount val="106"/>
                <c:pt idx="0">
                  <c:v>156680</c:v>
                </c:pt>
                <c:pt idx="1">
                  <c:v>232060</c:v>
                </c:pt>
                <c:pt idx="2">
                  <c:v>238860</c:v>
                </c:pt>
                <c:pt idx="3">
                  <c:v>189020</c:v>
                </c:pt>
                <c:pt idx="4">
                  <c:v>0</c:v>
                </c:pt>
                <c:pt idx="5">
                  <c:v>0</c:v>
                </c:pt>
                <c:pt idx="6">
                  <c:v>0</c:v>
                </c:pt>
                <c:pt idx="7">
                  <c:v>0</c:v>
                </c:pt>
                <c:pt idx="8">
                  <c:v>0</c:v>
                </c:pt>
                <c:pt idx="9">
                  <c:v>205060</c:v>
                </c:pt>
                <c:pt idx="10">
                  <c:v>191945</c:v>
                </c:pt>
                <c:pt idx="11">
                  <c:v>201600</c:v>
                </c:pt>
                <c:pt idx="12">
                  <c:v>176060</c:v>
                </c:pt>
                <c:pt idx="13">
                  <c:v>213540</c:v>
                </c:pt>
                <c:pt idx="14">
                  <c:v>173500</c:v>
                </c:pt>
                <c:pt idx="15">
                  <c:v>212560</c:v>
                </c:pt>
                <c:pt idx="16">
                  <c:v>273145</c:v>
                </c:pt>
                <c:pt idx="17">
                  <c:v>0</c:v>
                </c:pt>
                <c:pt idx="18">
                  <c:v>0</c:v>
                </c:pt>
                <c:pt idx="19">
                  <c:v>188080</c:v>
                </c:pt>
                <c:pt idx="20">
                  <c:v>192880</c:v>
                </c:pt>
                <c:pt idx="21">
                  <c:v>20960</c:v>
                </c:pt>
                <c:pt idx="22">
                  <c:v>12760</c:v>
                </c:pt>
                <c:pt idx="23">
                  <c:v>14740</c:v>
                </c:pt>
                <c:pt idx="24">
                  <c:v>9060</c:v>
                </c:pt>
                <c:pt idx="25">
                  <c:v>36440</c:v>
                </c:pt>
                <c:pt idx="26">
                  <c:v>205220</c:v>
                </c:pt>
                <c:pt idx="27">
                  <c:v>200100</c:v>
                </c:pt>
                <c:pt idx="28">
                  <c:v>0</c:v>
                </c:pt>
                <c:pt idx="29">
                  <c:v>0</c:v>
                </c:pt>
                <c:pt idx="30">
                  <c:v>0</c:v>
                </c:pt>
                <c:pt idx="31">
                  <c:v>199540</c:v>
                </c:pt>
                <c:pt idx="32">
                  <c:v>221300</c:v>
                </c:pt>
                <c:pt idx="33">
                  <c:v>194440</c:v>
                </c:pt>
                <c:pt idx="34">
                  <c:v>203620</c:v>
                </c:pt>
                <c:pt idx="35">
                  <c:v>0</c:v>
                </c:pt>
                <c:pt idx="36">
                  <c:v>230625</c:v>
                </c:pt>
                <c:pt idx="37">
                  <c:v>245640</c:v>
                </c:pt>
                <c:pt idx="38">
                  <c:v>244195</c:v>
                </c:pt>
                <c:pt idx="39">
                  <c:v>186640</c:v>
                </c:pt>
                <c:pt idx="40">
                  <c:v>180980</c:v>
                </c:pt>
                <c:pt idx="41">
                  <c:v>248520</c:v>
                </c:pt>
                <c:pt idx="42">
                  <c:v>0</c:v>
                </c:pt>
                <c:pt idx="43">
                  <c:v>0</c:v>
                </c:pt>
                <c:pt idx="44">
                  <c:v>320</c:v>
                </c:pt>
                <c:pt idx="45">
                  <c:v>166900</c:v>
                </c:pt>
                <c:pt idx="46">
                  <c:v>205340</c:v>
                </c:pt>
                <c:pt idx="47">
                  <c:v>205760</c:v>
                </c:pt>
                <c:pt idx="48">
                  <c:v>205740</c:v>
                </c:pt>
                <c:pt idx="49">
                  <c:v>780</c:v>
                </c:pt>
                <c:pt idx="50">
                  <c:v>120</c:v>
                </c:pt>
                <c:pt idx="51">
                  <c:v>60</c:v>
                </c:pt>
                <c:pt idx="52">
                  <c:v>125</c:v>
                </c:pt>
                <c:pt idx="53">
                  <c:v>9080</c:v>
                </c:pt>
                <c:pt idx="54">
                  <c:v>229645</c:v>
                </c:pt>
                <c:pt idx="55">
                  <c:v>214320</c:v>
                </c:pt>
                <c:pt idx="56">
                  <c:v>197435</c:v>
                </c:pt>
                <c:pt idx="57">
                  <c:v>222350</c:v>
                </c:pt>
                <c:pt idx="58">
                  <c:v>202860</c:v>
                </c:pt>
                <c:pt idx="59">
                  <c:v>198540</c:v>
                </c:pt>
                <c:pt idx="60">
                  <c:v>216920</c:v>
                </c:pt>
                <c:pt idx="61">
                  <c:v>229880</c:v>
                </c:pt>
                <c:pt idx="62">
                  <c:v>242400</c:v>
                </c:pt>
                <c:pt idx="63">
                  <c:v>164320</c:v>
                </c:pt>
                <c:pt idx="64">
                  <c:v>120800</c:v>
                </c:pt>
                <c:pt idx="65">
                  <c:v>131820</c:v>
                </c:pt>
                <c:pt idx="66">
                  <c:v>157060</c:v>
                </c:pt>
                <c:pt idx="67">
                  <c:v>169650</c:v>
                </c:pt>
                <c:pt idx="68">
                  <c:v>173060</c:v>
                </c:pt>
                <c:pt idx="69">
                  <c:v>137660</c:v>
                </c:pt>
                <c:pt idx="70">
                  <c:v>158280</c:v>
                </c:pt>
                <c:pt idx="71">
                  <c:v>16600</c:v>
                </c:pt>
                <c:pt idx="72">
                  <c:v>3440</c:v>
                </c:pt>
                <c:pt idx="73">
                  <c:v>2560</c:v>
                </c:pt>
                <c:pt idx="74">
                  <c:v>3640</c:v>
                </c:pt>
                <c:pt idx="75">
                  <c:v>14530</c:v>
                </c:pt>
                <c:pt idx="76">
                  <c:v>20560</c:v>
                </c:pt>
                <c:pt idx="77">
                  <c:v>161840</c:v>
                </c:pt>
                <c:pt idx="78">
                  <c:v>0</c:v>
                </c:pt>
                <c:pt idx="79">
                  <c:v>0</c:v>
                </c:pt>
                <c:pt idx="80">
                  <c:v>148260</c:v>
                </c:pt>
                <c:pt idx="81">
                  <c:v>168920</c:v>
                </c:pt>
                <c:pt idx="82">
                  <c:v>148060</c:v>
                </c:pt>
                <c:pt idx="83">
                  <c:v>158980</c:v>
                </c:pt>
                <c:pt idx="84">
                  <c:v>180370</c:v>
                </c:pt>
                <c:pt idx="85">
                  <c:v>169620</c:v>
                </c:pt>
                <c:pt idx="86">
                  <c:v>169590</c:v>
                </c:pt>
                <c:pt idx="87">
                  <c:v>164760</c:v>
                </c:pt>
                <c:pt idx="88">
                  <c:v>170300</c:v>
                </c:pt>
                <c:pt idx="89">
                  <c:v>0</c:v>
                </c:pt>
                <c:pt idx="90">
                  <c:v>185160</c:v>
                </c:pt>
                <c:pt idx="91">
                  <c:v>154620</c:v>
                </c:pt>
                <c:pt idx="92">
                  <c:v>166860</c:v>
                </c:pt>
                <c:pt idx="93">
                  <c:v>0</c:v>
                </c:pt>
                <c:pt idx="94">
                  <c:v>175</c:v>
                </c:pt>
                <c:pt idx="95">
                  <c:v>500</c:v>
                </c:pt>
                <c:pt idx="96">
                  <c:v>20</c:v>
                </c:pt>
                <c:pt idx="97">
                  <c:v>40</c:v>
                </c:pt>
                <c:pt idx="98">
                  <c:v>30580</c:v>
                </c:pt>
                <c:pt idx="99">
                  <c:v>169160</c:v>
                </c:pt>
                <c:pt idx="100">
                  <c:v>163120</c:v>
                </c:pt>
                <c:pt idx="101">
                  <c:v>137480</c:v>
                </c:pt>
                <c:pt idx="102">
                  <c:v>17980</c:v>
                </c:pt>
                <c:pt idx="103">
                  <c:v>0</c:v>
                </c:pt>
                <c:pt idx="104">
                  <c:v>140</c:v>
                </c:pt>
                <c:pt idx="105">
                  <c:v>180</c:v>
                </c:pt>
              </c:numCache>
            </c:numRef>
          </c:val>
          <c:extLst>
            <c:ext xmlns:c16="http://schemas.microsoft.com/office/drawing/2014/chart" uri="{C3380CC4-5D6E-409C-BE32-E72D297353CC}">
              <c16:uniqueId val="{00000001-E3C4-46BC-AA3D-A3795B7CC7BA}"/>
            </c:ext>
          </c:extLst>
        </c:ser>
        <c:ser>
          <c:idx val="0"/>
          <c:order val="1"/>
          <c:tx>
            <c:strRef>
              <c:f>Sheet1!$C$1</c:f>
              <c:strCache>
                <c:ptCount val="1"/>
                <c:pt idx="0">
                  <c:v>Promo Volume</c:v>
                </c:pt>
              </c:strCache>
            </c:strRef>
          </c:tx>
          <c:spPr>
            <a:solidFill>
              <a:schemeClr val="accent3"/>
            </a:solidFill>
            <a:ln>
              <a:noFill/>
            </a:ln>
            <a:effectLst/>
          </c:spPr>
          <c:invertIfNegative val="0"/>
          <c:cat>
            <c:numRef>
              <c:f>Sheet1!$A$2:$A$107</c:f>
              <c:numCache>
                <c:formatCode>yyyy\-mm\-dd</c:formatCode>
                <c:ptCount val="106"/>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51</c:v>
                </c:pt>
                <c:pt idx="30">
                  <c:v>45158</c:v>
                </c:pt>
                <c:pt idx="31">
                  <c:v>45165</c:v>
                </c:pt>
                <c:pt idx="32">
                  <c:v>45172</c:v>
                </c:pt>
                <c:pt idx="33">
                  <c:v>45179</c:v>
                </c:pt>
                <c:pt idx="34">
                  <c:v>45186</c:v>
                </c:pt>
                <c:pt idx="35">
                  <c:v>45193</c:v>
                </c:pt>
                <c:pt idx="36">
                  <c:v>45200</c:v>
                </c:pt>
                <c:pt idx="37">
                  <c:v>45207</c:v>
                </c:pt>
                <c:pt idx="38">
                  <c:v>45214</c:v>
                </c:pt>
                <c:pt idx="39">
                  <c:v>45221</c:v>
                </c:pt>
                <c:pt idx="40">
                  <c:v>45228</c:v>
                </c:pt>
                <c:pt idx="41">
                  <c:v>45235</c:v>
                </c:pt>
                <c:pt idx="42">
                  <c:v>45242</c:v>
                </c:pt>
                <c:pt idx="43">
                  <c:v>45249</c:v>
                </c:pt>
                <c:pt idx="44">
                  <c:v>45256</c:v>
                </c:pt>
                <c:pt idx="45">
                  <c:v>45263</c:v>
                </c:pt>
                <c:pt idx="46">
                  <c:v>45270</c:v>
                </c:pt>
                <c:pt idx="47">
                  <c:v>45277</c:v>
                </c:pt>
                <c:pt idx="48">
                  <c:v>45284</c:v>
                </c:pt>
                <c:pt idx="49">
                  <c:v>45291</c:v>
                </c:pt>
                <c:pt idx="50">
                  <c:v>45298</c:v>
                </c:pt>
                <c:pt idx="51">
                  <c:v>45305</c:v>
                </c:pt>
                <c:pt idx="52">
                  <c:v>45312</c:v>
                </c:pt>
                <c:pt idx="53">
                  <c:v>45319</c:v>
                </c:pt>
                <c:pt idx="54">
                  <c:v>45326</c:v>
                </c:pt>
                <c:pt idx="55">
                  <c:v>45333</c:v>
                </c:pt>
                <c:pt idx="56">
                  <c:v>45340</c:v>
                </c:pt>
                <c:pt idx="57">
                  <c:v>45347</c:v>
                </c:pt>
                <c:pt idx="58">
                  <c:v>45354</c:v>
                </c:pt>
                <c:pt idx="59">
                  <c:v>45361</c:v>
                </c:pt>
                <c:pt idx="60">
                  <c:v>45368</c:v>
                </c:pt>
                <c:pt idx="61">
                  <c:v>45375</c:v>
                </c:pt>
                <c:pt idx="62">
                  <c:v>45382</c:v>
                </c:pt>
                <c:pt idx="63">
                  <c:v>45389</c:v>
                </c:pt>
                <c:pt idx="64">
                  <c:v>45396</c:v>
                </c:pt>
                <c:pt idx="65">
                  <c:v>45403</c:v>
                </c:pt>
                <c:pt idx="66">
                  <c:v>45410</c:v>
                </c:pt>
                <c:pt idx="67">
                  <c:v>45417</c:v>
                </c:pt>
                <c:pt idx="68">
                  <c:v>45424</c:v>
                </c:pt>
                <c:pt idx="69">
                  <c:v>45431</c:v>
                </c:pt>
                <c:pt idx="70">
                  <c:v>45438</c:v>
                </c:pt>
                <c:pt idx="71">
                  <c:v>45445</c:v>
                </c:pt>
                <c:pt idx="72">
                  <c:v>45452</c:v>
                </c:pt>
                <c:pt idx="73">
                  <c:v>45459</c:v>
                </c:pt>
                <c:pt idx="74">
                  <c:v>45466</c:v>
                </c:pt>
                <c:pt idx="75">
                  <c:v>45473</c:v>
                </c:pt>
                <c:pt idx="76">
                  <c:v>45480</c:v>
                </c:pt>
                <c:pt idx="77">
                  <c:v>45487</c:v>
                </c:pt>
                <c:pt idx="78">
                  <c:v>45494</c:v>
                </c:pt>
                <c:pt idx="79">
                  <c:v>45501</c:v>
                </c:pt>
                <c:pt idx="80">
                  <c:v>45508</c:v>
                </c:pt>
                <c:pt idx="81">
                  <c:v>45515</c:v>
                </c:pt>
                <c:pt idx="82">
                  <c:v>45522</c:v>
                </c:pt>
                <c:pt idx="83">
                  <c:v>45529</c:v>
                </c:pt>
                <c:pt idx="84">
                  <c:v>45536</c:v>
                </c:pt>
                <c:pt idx="85">
                  <c:v>45543</c:v>
                </c:pt>
                <c:pt idx="86">
                  <c:v>45550</c:v>
                </c:pt>
                <c:pt idx="87">
                  <c:v>45557</c:v>
                </c:pt>
                <c:pt idx="88">
                  <c:v>45564</c:v>
                </c:pt>
                <c:pt idx="89">
                  <c:v>45571</c:v>
                </c:pt>
                <c:pt idx="90">
                  <c:v>45578</c:v>
                </c:pt>
                <c:pt idx="91">
                  <c:v>45585</c:v>
                </c:pt>
                <c:pt idx="92">
                  <c:v>45592</c:v>
                </c:pt>
                <c:pt idx="93">
                  <c:v>45599</c:v>
                </c:pt>
                <c:pt idx="94">
                  <c:v>45606</c:v>
                </c:pt>
                <c:pt idx="95">
                  <c:v>45613</c:v>
                </c:pt>
                <c:pt idx="96">
                  <c:v>45620</c:v>
                </c:pt>
                <c:pt idx="97">
                  <c:v>45627</c:v>
                </c:pt>
                <c:pt idx="98">
                  <c:v>45634</c:v>
                </c:pt>
                <c:pt idx="99">
                  <c:v>45641</c:v>
                </c:pt>
                <c:pt idx="100">
                  <c:v>45648</c:v>
                </c:pt>
                <c:pt idx="101">
                  <c:v>45655</c:v>
                </c:pt>
                <c:pt idx="102">
                  <c:v>45662</c:v>
                </c:pt>
                <c:pt idx="103">
                  <c:v>45669</c:v>
                </c:pt>
                <c:pt idx="104">
                  <c:v>45676</c:v>
                </c:pt>
                <c:pt idx="105">
                  <c:v>45683</c:v>
                </c:pt>
              </c:numCache>
            </c:numRef>
          </c:cat>
          <c:val>
            <c:numRef>
              <c:f>Sheet1!$C$2:$C$107</c:f>
              <c:numCache>
                <c:formatCode>General</c:formatCode>
                <c:ptCount val="106"/>
                <c:pt idx="0">
                  <c:v>82385</c:v>
                </c:pt>
                <c:pt idx="1">
                  <c:v>37785</c:v>
                </c:pt>
                <c:pt idx="2">
                  <c:v>32565</c:v>
                </c:pt>
                <c:pt idx="3">
                  <c:v>80990</c:v>
                </c:pt>
                <c:pt idx="4">
                  <c:v>0</c:v>
                </c:pt>
                <c:pt idx="5">
                  <c:v>0</c:v>
                </c:pt>
                <c:pt idx="6">
                  <c:v>0</c:v>
                </c:pt>
                <c:pt idx="7">
                  <c:v>0</c:v>
                </c:pt>
                <c:pt idx="8">
                  <c:v>0</c:v>
                </c:pt>
                <c:pt idx="9">
                  <c:v>85445</c:v>
                </c:pt>
                <c:pt idx="10">
                  <c:v>131080</c:v>
                </c:pt>
                <c:pt idx="11">
                  <c:v>106425</c:v>
                </c:pt>
                <c:pt idx="12">
                  <c:v>94670</c:v>
                </c:pt>
                <c:pt idx="13">
                  <c:v>81835</c:v>
                </c:pt>
                <c:pt idx="14">
                  <c:v>89265</c:v>
                </c:pt>
                <c:pt idx="15">
                  <c:v>107720</c:v>
                </c:pt>
                <c:pt idx="16">
                  <c:v>2820</c:v>
                </c:pt>
                <c:pt idx="17">
                  <c:v>0</c:v>
                </c:pt>
                <c:pt idx="18">
                  <c:v>0</c:v>
                </c:pt>
                <c:pt idx="19">
                  <c:v>78975</c:v>
                </c:pt>
                <c:pt idx="20">
                  <c:v>94165</c:v>
                </c:pt>
                <c:pt idx="21">
                  <c:v>293260</c:v>
                </c:pt>
                <c:pt idx="22">
                  <c:v>374525</c:v>
                </c:pt>
                <c:pt idx="23">
                  <c:v>375095</c:v>
                </c:pt>
                <c:pt idx="24">
                  <c:v>369045</c:v>
                </c:pt>
                <c:pt idx="25">
                  <c:v>337830</c:v>
                </c:pt>
                <c:pt idx="26">
                  <c:v>74925</c:v>
                </c:pt>
                <c:pt idx="27">
                  <c:v>61380</c:v>
                </c:pt>
                <c:pt idx="28">
                  <c:v>0</c:v>
                </c:pt>
                <c:pt idx="29">
                  <c:v>0</c:v>
                </c:pt>
                <c:pt idx="30">
                  <c:v>0</c:v>
                </c:pt>
                <c:pt idx="31">
                  <c:v>92610</c:v>
                </c:pt>
                <c:pt idx="32">
                  <c:v>70190</c:v>
                </c:pt>
                <c:pt idx="33">
                  <c:v>90505</c:v>
                </c:pt>
                <c:pt idx="34">
                  <c:v>59355</c:v>
                </c:pt>
                <c:pt idx="35">
                  <c:v>0</c:v>
                </c:pt>
                <c:pt idx="36">
                  <c:v>15275</c:v>
                </c:pt>
                <c:pt idx="37">
                  <c:v>9580</c:v>
                </c:pt>
                <c:pt idx="38">
                  <c:v>7685</c:v>
                </c:pt>
                <c:pt idx="39">
                  <c:v>83775</c:v>
                </c:pt>
                <c:pt idx="40">
                  <c:v>103745</c:v>
                </c:pt>
                <c:pt idx="41">
                  <c:v>86010</c:v>
                </c:pt>
                <c:pt idx="42">
                  <c:v>375390</c:v>
                </c:pt>
                <c:pt idx="43">
                  <c:v>352690</c:v>
                </c:pt>
                <c:pt idx="44">
                  <c:v>311690</c:v>
                </c:pt>
                <c:pt idx="45">
                  <c:v>90585</c:v>
                </c:pt>
                <c:pt idx="46">
                  <c:v>74385</c:v>
                </c:pt>
                <c:pt idx="47">
                  <c:v>75465</c:v>
                </c:pt>
                <c:pt idx="48">
                  <c:v>136740</c:v>
                </c:pt>
                <c:pt idx="49">
                  <c:v>279025</c:v>
                </c:pt>
                <c:pt idx="50">
                  <c:v>374830</c:v>
                </c:pt>
                <c:pt idx="51">
                  <c:v>417605</c:v>
                </c:pt>
                <c:pt idx="52">
                  <c:v>380750</c:v>
                </c:pt>
                <c:pt idx="53">
                  <c:v>313225</c:v>
                </c:pt>
                <c:pt idx="54">
                  <c:v>22670</c:v>
                </c:pt>
                <c:pt idx="55">
                  <c:v>23190</c:v>
                </c:pt>
                <c:pt idx="56">
                  <c:v>19260</c:v>
                </c:pt>
                <c:pt idx="57">
                  <c:v>23280</c:v>
                </c:pt>
                <c:pt idx="58">
                  <c:v>70145</c:v>
                </c:pt>
                <c:pt idx="59">
                  <c:v>90260</c:v>
                </c:pt>
                <c:pt idx="60">
                  <c:v>65280</c:v>
                </c:pt>
                <c:pt idx="61">
                  <c:v>24365</c:v>
                </c:pt>
                <c:pt idx="62">
                  <c:v>10500</c:v>
                </c:pt>
                <c:pt idx="63">
                  <c:v>86360</c:v>
                </c:pt>
                <c:pt idx="64">
                  <c:v>200880</c:v>
                </c:pt>
                <c:pt idx="65">
                  <c:v>188065</c:v>
                </c:pt>
                <c:pt idx="66">
                  <c:v>104430</c:v>
                </c:pt>
                <c:pt idx="67">
                  <c:v>54480</c:v>
                </c:pt>
                <c:pt idx="68">
                  <c:v>37470</c:v>
                </c:pt>
                <c:pt idx="69">
                  <c:v>63420</c:v>
                </c:pt>
                <c:pt idx="70">
                  <c:v>56850</c:v>
                </c:pt>
                <c:pt idx="71">
                  <c:v>213700</c:v>
                </c:pt>
                <c:pt idx="72">
                  <c:v>288130</c:v>
                </c:pt>
                <c:pt idx="73">
                  <c:v>286385</c:v>
                </c:pt>
                <c:pt idx="74">
                  <c:v>280445</c:v>
                </c:pt>
                <c:pt idx="75">
                  <c:v>278165</c:v>
                </c:pt>
                <c:pt idx="76">
                  <c:v>257200</c:v>
                </c:pt>
                <c:pt idx="77">
                  <c:v>26585</c:v>
                </c:pt>
                <c:pt idx="78">
                  <c:v>0</c:v>
                </c:pt>
                <c:pt idx="79">
                  <c:v>0</c:v>
                </c:pt>
                <c:pt idx="80">
                  <c:v>53250</c:v>
                </c:pt>
                <c:pt idx="81">
                  <c:v>66230</c:v>
                </c:pt>
                <c:pt idx="82">
                  <c:v>77510</c:v>
                </c:pt>
                <c:pt idx="83">
                  <c:v>63095</c:v>
                </c:pt>
                <c:pt idx="84">
                  <c:v>13520</c:v>
                </c:pt>
                <c:pt idx="85">
                  <c:v>14580</c:v>
                </c:pt>
                <c:pt idx="86">
                  <c:v>13440</c:v>
                </c:pt>
                <c:pt idx="87">
                  <c:v>14505</c:v>
                </c:pt>
                <c:pt idx="88">
                  <c:v>15360</c:v>
                </c:pt>
                <c:pt idx="89">
                  <c:v>0</c:v>
                </c:pt>
                <c:pt idx="90">
                  <c:v>910</c:v>
                </c:pt>
                <c:pt idx="91">
                  <c:v>53165</c:v>
                </c:pt>
                <c:pt idx="92">
                  <c:v>68325</c:v>
                </c:pt>
                <c:pt idx="93">
                  <c:v>285870</c:v>
                </c:pt>
                <c:pt idx="94">
                  <c:v>313980</c:v>
                </c:pt>
                <c:pt idx="95">
                  <c:v>296770</c:v>
                </c:pt>
                <c:pt idx="96">
                  <c:v>289345</c:v>
                </c:pt>
                <c:pt idx="97">
                  <c:v>266660</c:v>
                </c:pt>
                <c:pt idx="98">
                  <c:v>205270</c:v>
                </c:pt>
                <c:pt idx="99">
                  <c:v>58290</c:v>
                </c:pt>
                <c:pt idx="100">
                  <c:v>84180</c:v>
                </c:pt>
                <c:pt idx="101">
                  <c:v>76160</c:v>
                </c:pt>
                <c:pt idx="102">
                  <c:v>232055</c:v>
                </c:pt>
                <c:pt idx="103">
                  <c:v>404225</c:v>
                </c:pt>
                <c:pt idx="104">
                  <c:v>424985</c:v>
                </c:pt>
                <c:pt idx="105">
                  <c:v>386300</c:v>
                </c:pt>
              </c:numCache>
            </c:numRef>
          </c:val>
          <c:extLst>
            <c:ext xmlns:c16="http://schemas.microsoft.com/office/drawing/2014/chart" uri="{C3380CC4-5D6E-409C-BE32-E72D297353CC}">
              <c16:uniqueId val="{00000000-E3C4-46BC-AA3D-A3795B7CC7B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yyyy\-mm\-dd"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7</c:f>
              <c:numCache>
                <c:formatCode>yyyy\-mm\-dd</c:formatCode>
                <c:ptCount val="106"/>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51</c:v>
                </c:pt>
                <c:pt idx="30">
                  <c:v>45158</c:v>
                </c:pt>
                <c:pt idx="31">
                  <c:v>45165</c:v>
                </c:pt>
                <c:pt idx="32">
                  <c:v>45172</c:v>
                </c:pt>
                <c:pt idx="33">
                  <c:v>45179</c:v>
                </c:pt>
                <c:pt idx="34">
                  <c:v>45186</c:v>
                </c:pt>
                <c:pt idx="35">
                  <c:v>45193</c:v>
                </c:pt>
                <c:pt idx="36">
                  <c:v>45200</c:v>
                </c:pt>
                <c:pt idx="37">
                  <c:v>45207</c:v>
                </c:pt>
                <c:pt idx="38">
                  <c:v>45214</c:v>
                </c:pt>
                <c:pt idx="39">
                  <c:v>45221</c:v>
                </c:pt>
                <c:pt idx="40">
                  <c:v>45228</c:v>
                </c:pt>
                <c:pt idx="41">
                  <c:v>45235</c:v>
                </c:pt>
                <c:pt idx="42">
                  <c:v>45242</c:v>
                </c:pt>
                <c:pt idx="43">
                  <c:v>45249</c:v>
                </c:pt>
                <c:pt idx="44">
                  <c:v>45256</c:v>
                </c:pt>
                <c:pt idx="45">
                  <c:v>45263</c:v>
                </c:pt>
                <c:pt idx="46">
                  <c:v>45270</c:v>
                </c:pt>
                <c:pt idx="47">
                  <c:v>45277</c:v>
                </c:pt>
                <c:pt idx="48">
                  <c:v>45284</c:v>
                </c:pt>
                <c:pt idx="49">
                  <c:v>45291</c:v>
                </c:pt>
                <c:pt idx="50">
                  <c:v>45298</c:v>
                </c:pt>
                <c:pt idx="51">
                  <c:v>45305</c:v>
                </c:pt>
                <c:pt idx="52">
                  <c:v>45312</c:v>
                </c:pt>
                <c:pt idx="53">
                  <c:v>45319</c:v>
                </c:pt>
                <c:pt idx="54">
                  <c:v>45326</c:v>
                </c:pt>
                <c:pt idx="55">
                  <c:v>45333</c:v>
                </c:pt>
                <c:pt idx="56">
                  <c:v>45340</c:v>
                </c:pt>
                <c:pt idx="57">
                  <c:v>45347</c:v>
                </c:pt>
                <c:pt idx="58">
                  <c:v>45354</c:v>
                </c:pt>
                <c:pt idx="59">
                  <c:v>45361</c:v>
                </c:pt>
                <c:pt idx="60">
                  <c:v>45368</c:v>
                </c:pt>
                <c:pt idx="61">
                  <c:v>45375</c:v>
                </c:pt>
                <c:pt idx="62">
                  <c:v>45382</c:v>
                </c:pt>
                <c:pt idx="63">
                  <c:v>45389</c:v>
                </c:pt>
                <c:pt idx="64">
                  <c:v>45396</c:v>
                </c:pt>
                <c:pt idx="65">
                  <c:v>45403</c:v>
                </c:pt>
                <c:pt idx="66">
                  <c:v>45410</c:v>
                </c:pt>
                <c:pt idx="67">
                  <c:v>45417</c:v>
                </c:pt>
                <c:pt idx="68">
                  <c:v>45424</c:v>
                </c:pt>
                <c:pt idx="69">
                  <c:v>45431</c:v>
                </c:pt>
                <c:pt idx="70">
                  <c:v>45438</c:v>
                </c:pt>
                <c:pt idx="71">
                  <c:v>45445</c:v>
                </c:pt>
                <c:pt idx="72">
                  <c:v>45452</c:v>
                </c:pt>
                <c:pt idx="73">
                  <c:v>45459</c:v>
                </c:pt>
                <c:pt idx="74">
                  <c:v>45466</c:v>
                </c:pt>
                <c:pt idx="75">
                  <c:v>45473</c:v>
                </c:pt>
                <c:pt idx="76">
                  <c:v>45480</c:v>
                </c:pt>
                <c:pt idx="77">
                  <c:v>45487</c:v>
                </c:pt>
                <c:pt idx="78">
                  <c:v>45494</c:v>
                </c:pt>
                <c:pt idx="79">
                  <c:v>45501</c:v>
                </c:pt>
                <c:pt idx="80">
                  <c:v>45508</c:v>
                </c:pt>
                <c:pt idx="81">
                  <c:v>45515</c:v>
                </c:pt>
                <c:pt idx="82">
                  <c:v>45522</c:v>
                </c:pt>
                <c:pt idx="83">
                  <c:v>45529</c:v>
                </c:pt>
                <c:pt idx="84">
                  <c:v>45536</c:v>
                </c:pt>
                <c:pt idx="85">
                  <c:v>45543</c:v>
                </c:pt>
                <c:pt idx="86">
                  <c:v>45550</c:v>
                </c:pt>
                <c:pt idx="87">
                  <c:v>45557</c:v>
                </c:pt>
                <c:pt idx="88">
                  <c:v>45564</c:v>
                </c:pt>
                <c:pt idx="89">
                  <c:v>45571</c:v>
                </c:pt>
                <c:pt idx="90">
                  <c:v>45578</c:v>
                </c:pt>
                <c:pt idx="91">
                  <c:v>45585</c:v>
                </c:pt>
                <c:pt idx="92">
                  <c:v>45592</c:v>
                </c:pt>
                <c:pt idx="93">
                  <c:v>45599</c:v>
                </c:pt>
                <c:pt idx="94">
                  <c:v>45606</c:v>
                </c:pt>
                <c:pt idx="95">
                  <c:v>45613</c:v>
                </c:pt>
                <c:pt idx="96">
                  <c:v>45620</c:v>
                </c:pt>
                <c:pt idx="97">
                  <c:v>45627</c:v>
                </c:pt>
                <c:pt idx="98">
                  <c:v>45634</c:v>
                </c:pt>
                <c:pt idx="99">
                  <c:v>45641</c:v>
                </c:pt>
                <c:pt idx="100">
                  <c:v>45648</c:v>
                </c:pt>
                <c:pt idx="101">
                  <c:v>45655</c:v>
                </c:pt>
                <c:pt idx="102">
                  <c:v>45662</c:v>
                </c:pt>
                <c:pt idx="103">
                  <c:v>45669</c:v>
                </c:pt>
                <c:pt idx="104">
                  <c:v>45676</c:v>
                </c:pt>
                <c:pt idx="105">
                  <c:v>45683</c:v>
                </c:pt>
              </c:numCache>
            </c:numRef>
          </c:cat>
          <c:val>
            <c:numRef>
              <c:f>Sheet1!$B$2:$B$107</c:f>
              <c:numCache>
                <c:formatCode>General</c:formatCode>
                <c:ptCount val="106"/>
                <c:pt idx="0">
                  <c:v>446057</c:v>
                </c:pt>
                <c:pt idx="1">
                  <c:v>442659</c:v>
                </c:pt>
                <c:pt idx="2">
                  <c:v>435021</c:v>
                </c:pt>
                <c:pt idx="3">
                  <c:v>418958</c:v>
                </c:pt>
                <c:pt idx="4">
                  <c:v>433072</c:v>
                </c:pt>
                <c:pt idx="5">
                  <c:v>436611</c:v>
                </c:pt>
                <c:pt idx="6">
                  <c:v>417681</c:v>
                </c:pt>
                <c:pt idx="7">
                  <c:v>421511</c:v>
                </c:pt>
                <c:pt idx="8">
                  <c:v>451128</c:v>
                </c:pt>
                <c:pt idx="9">
                  <c:v>425080</c:v>
                </c:pt>
                <c:pt idx="10">
                  <c:v>406292</c:v>
                </c:pt>
                <c:pt idx="11">
                  <c:v>413572</c:v>
                </c:pt>
                <c:pt idx="12">
                  <c:v>444633</c:v>
                </c:pt>
                <c:pt idx="13">
                  <c:v>453778</c:v>
                </c:pt>
                <c:pt idx="14">
                  <c:v>388208</c:v>
                </c:pt>
                <c:pt idx="15">
                  <c:v>434713</c:v>
                </c:pt>
                <c:pt idx="16">
                  <c:v>444538</c:v>
                </c:pt>
                <c:pt idx="17">
                  <c:v>483818</c:v>
                </c:pt>
                <c:pt idx="18">
                  <c:v>454497</c:v>
                </c:pt>
                <c:pt idx="19">
                  <c:v>450862</c:v>
                </c:pt>
                <c:pt idx="20">
                  <c:v>480885</c:v>
                </c:pt>
                <c:pt idx="21">
                  <c:v>500228</c:v>
                </c:pt>
                <c:pt idx="22">
                  <c:v>508566</c:v>
                </c:pt>
                <c:pt idx="23">
                  <c:v>491944</c:v>
                </c:pt>
                <c:pt idx="24">
                  <c:v>479619</c:v>
                </c:pt>
                <c:pt idx="25">
                  <c:v>495654</c:v>
                </c:pt>
                <c:pt idx="26">
                  <c:v>0</c:v>
                </c:pt>
                <c:pt idx="27">
                  <c:v>0</c:v>
                </c:pt>
                <c:pt idx="28">
                  <c:v>427538</c:v>
                </c:pt>
                <c:pt idx="29">
                  <c:v>337795</c:v>
                </c:pt>
                <c:pt idx="30">
                  <c:v>122581</c:v>
                </c:pt>
                <c:pt idx="31">
                  <c:v>104402</c:v>
                </c:pt>
                <c:pt idx="32">
                  <c:v>103453</c:v>
                </c:pt>
                <c:pt idx="33">
                  <c:v>110014</c:v>
                </c:pt>
                <c:pt idx="34">
                  <c:v>106970</c:v>
                </c:pt>
                <c:pt idx="35">
                  <c:v>107095</c:v>
                </c:pt>
                <c:pt idx="36">
                  <c:v>109487</c:v>
                </c:pt>
                <c:pt idx="37">
                  <c:v>114742</c:v>
                </c:pt>
                <c:pt idx="38">
                  <c:v>106748</c:v>
                </c:pt>
                <c:pt idx="39">
                  <c:v>109020</c:v>
                </c:pt>
                <c:pt idx="40">
                  <c:v>111062</c:v>
                </c:pt>
                <c:pt idx="41">
                  <c:v>499409</c:v>
                </c:pt>
                <c:pt idx="42">
                  <c:v>495786</c:v>
                </c:pt>
                <c:pt idx="43">
                  <c:v>451024</c:v>
                </c:pt>
                <c:pt idx="44">
                  <c:v>412809</c:v>
                </c:pt>
                <c:pt idx="45">
                  <c:v>450147</c:v>
                </c:pt>
                <c:pt idx="46">
                  <c:v>450957</c:v>
                </c:pt>
                <c:pt idx="47">
                  <c:v>460031</c:v>
                </c:pt>
                <c:pt idx="48">
                  <c:v>498974</c:v>
                </c:pt>
                <c:pt idx="49">
                  <c:v>379504</c:v>
                </c:pt>
                <c:pt idx="50">
                  <c:v>432751</c:v>
                </c:pt>
                <c:pt idx="51">
                  <c:v>382857</c:v>
                </c:pt>
                <c:pt idx="52">
                  <c:v>402662</c:v>
                </c:pt>
                <c:pt idx="53">
                  <c:v>437665</c:v>
                </c:pt>
                <c:pt idx="54">
                  <c:v>445577</c:v>
                </c:pt>
                <c:pt idx="55">
                  <c:v>435703</c:v>
                </c:pt>
                <c:pt idx="56">
                  <c:v>369956</c:v>
                </c:pt>
                <c:pt idx="57">
                  <c:v>345109</c:v>
                </c:pt>
                <c:pt idx="58">
                  <c:v>400243</c:v>
                </c:pt>
                <c:pt idx="59">
                  <c:v>431477</c:v>
                </c:pt>
                <c:pt idx="60">
                  <c:v>413684</c:v>
                </c:pt>
                <c:pt idx="61">
                  <c:v>343963</c:v>
                </c:pt>
                <c:pt idx="62">
                  <c:v>378356</c:v>
                </c:pt>
                <c:pt idx="63">
                  <c:v>376953</c:v>
                </c:pt>
                <c:pt idx="64">
                  <c:v>357645</c:v>
                </c:pt>
                <c:pt idx="65">
                  <c:v>350505</c:v>
                </c:pt>
                <c:pt idx="66">
                  <c:v>358441</c:v>
                </c:pt>
                <c:pt idx="67">
                  <c:v>380820</c:v>
                </c:pt>
                <c:pt idx="68">
                  <c:v>383764</c:v>
                </c:pt>
                <c:pt idx="69">
                  <c:v>354351</c:v>
                </c:pt>
                <c:pt idx="70">
                  <c:v>389579</c:v>
                </c:pt>
                <c:pt idx="71">
                  <c:v>457551</c:v>
                </c:pt>
                <c:pt idx="72">
                  <c:v>496556</c:v>
                </c:pt>
                <c:pt idx="73">
                  <c:v>461523</c:v>
                </c:pt>
                <c:pt idx="74">
                  <c:v>462623</c:v>
                </c:pt>
                <c:pt idx="75">
                  <c:v>461025</c:v>
                </c:pt>
                <c:pt idx="76">
                  <c:v>497459</c:v>
                </c:pt>
                <c:pt idx="77">
                  <c:v>450347</c:v>
                </c:pt>
                <c:pt idx="78">
                  <c:v>440161</c:v>
                </c:pt>
                <c:pt idx="79">
                  <c:v>434008</c:v>
                </c:pt>
                <c:pt idx="80">
                  <c:v>454367</c:v>
                </c:pt>
                <c:pt idx="81">
                  <c:v>461400</c:v>
                </c:pt>
                <c:pt idx="82">
                  <c:v>457344</c:v>
                </c:pt>
                <c:pt idx="83">
                  <c:v>453510</c:v>
                </c:pt>
                <c:pt idx="84">
                  <c:v>451003</c:v>
                </c:pt>
                <c:pt idx="85">
                  <c:v>462931</c:v>
                </c:pt>
                <c:pt idx="86">
                  <c:v>432425</c:v>
                </c:pt>
                <c:pt idx="87">
                  <c:v>432253</c:v>
                </c:pt>
                <c:pt idx="88">
                  <c:v>413381</c:v>
                </c:pt>
                <c:pt idx="89">
                  <c:v>448850</c:v>
                </c:pt>
                <c:pt idx="90">
                  <c:v>347988</c:v>
                </c:pt>
                <c:pt idx="91">
                  <c:v>342622</c:v>
                </c:pt>
                <c:pt idx="92">
                  <c:v>380486</c:v>
                </c:pt>
                <c:pt idx="93">
                  <c:v>436497</c:v>
                </c:pt>
                <c:pt idx="94">
                  <c:v>450677</c:v>
                </c:pt>
                <c:pt idx="95">
                  <c:v>408292</c:v>
                </c:pt>
                <c:pt idx="96">
                  <c:v>353364</c:v>
                </c:pt>
                <c:pt idx="97">
                  <c:v>287673</c:v>
                </c:pt>
                <c:pt idx="98">
                  <c:v>303099</c:v>
                </c:pt>
                <c:pt idx="99">
                  <c:v>346763</c:v>
                </c:pt>
                <c:pt idx="100">
                  <c:v>395538</c:v>
                </c:pt>
                <c:pt idx="101">
                  <c:v>339252</c:v>
                </c:pt>
                <c:pt idx="102">
                  <c:v>358046</c:v>
                </c:pt>
                <c:pt idx="103">
                  <c:v>337519</c:v>
                </c:pt>
                <c:pt idx="104">
                  <c:v>356182</c:v>
                </c:pt>
                <c:pt idx="105">
                  <c:v>320935</c:v>
                </c:pt>
              </c:numCache>
            </c:numRef>
          </c:val>
          <c:extLst>
            <c:ext xmlns:c16="http://schemas.microsoft.com/office/drawing/2014/chart" uri="{C3380CC4-5D6E-409C-BE32-E72D297353CC}">
              <c16:uniqueId val="{00000000-72A7-4D08-96D7-E73109FBDC9A}"/>
            </c:ext>
          </c:extLst>
        </c:ser>
        <c:ser>
          <c:idx val="0"/>
          <c:order val="1"/>
          <c:tx>
            <c:strRef>
              <c:f>Sheet1!$C$1</c:f>
              <c:strCache>
                <c:ptCount val="1"/>
                <c:pt idx="0">
                  <c:v>Promo Volume</c:v>
                </c:pt>
              </c:strCache>
            </c:strRef>
          </c:tx>
          <c:spPr>
            <a:solidFill>
              <a:schemeClr val="accent3"/>
            </a:solidFill>
            <a:ln>
              <a:noFill/>
            </a:ln>
            <a:effectLst/>
          </c:spPr>
          <c:invertIfNegative val="0"/>
          <c:cat>
            <c:numRef>
              <c:f>Sheet1!$A$2:$A$107</c:f>
              <c:numCache>
                <c:formatCode>yyyy\-mm\-dd</c:formatCode>
                <c:ptCount val="106"/>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51</c:v>
                </c:pt>
                <c:pt idx="30">
                  <c:v>45158</c:v>
                </c:pt>
                <c:pt idx="31">
                  <c:v>45165</c:v>
                </c:pt>
                <c:pt idx="32">
                  <c:v>45172</c:v>
                </c:pt>
                <c:pt idx="33">
                  <c:v>45179</c:v>
                </c:pt>
                <c:pt idx="34">
                  <c:v>45186</c:v>
                </c:pt>
                <c:pt idx="35">
                  <c:v>45193</c:v>
                </c:pt>
                <c:pt idx="36">
                  <c:v>45200</c:v>
                </c:pt>
                <c:pt idx="37">
                  <c:v>45207</c:v>
                </c:pt>
                <c:pt idx="38">
                  <c:v>45214</c:v>
                </c:pt>
                <c:pt idx="39">
                  <c:v>45221</c:v>
                </c:pt>
                <c:pt idx="40">
                  <c:v>45228</c:v>
                </c:pt>
                <c:pt idx="41">
                  <c:v>45235</c:v>
                </c:pt>
                <c:pt idx="42">
                  <c:v>45242</c:v>
                </c:pt>
                <c:pt idx="43">
                  <c:v>45249</c:v>
                </c:pt>
                <c:pt idx="44">
                  <c:v>45256</c:v>
                </c:pt>
                <c:pt idx="45">
                  <c:v>45263</c:v>
                </c:pt>
                <c:pt idx="46">
                  <c:v>45270</c:v>
                </c:pt>
                <c:pt idx="47">
                  <c:v>45277</c:v>
                </c:pt>
                <c:pt idx="48">
                  <c:v>45284</c:v>
                </c:pt>
                <c:pt idx="49">
                  <c:v>45291</c:v>
                </c:pt>
                <c:pt idx="50">
                  <c:v>45298</c:v>
                </c:pt>
                <c:pt idx="51">
                  <c:v>45305</c:v>
                </c:pt>
                <c:pt idx="52">
                  <c:v>45312</c:v>
                </c:pt>
                <c:pt idx="53">
                  <c:v>45319</c:v>
                </c:pt>
                <c:pt idx="54">
                  <c:v>45326</c:v>
                </c:pt>
                <c:pt idx="55">
                  <c:v>45333</c:v>
                </c:pt>
                <c:pt idx="56">
                  <c:v>45340</c:v>
                </c:pt>
                <c:pt idx="57">
                  <c:v>45347</c:v>
                </c:pt>
                <c:pt idx="58">
                  <c:v>45354</c:v>
                </c:pt>
                <c:pt idx="59">
                  <c:v>45361</c:v>
                </c:pt>
                <c:pt idx="60">
                  <c:v>45368</c:v>
                </c:pt>
                <c:pt idx="61">
                  <c:v>45375</c:v>
                </c:pt>
                <c:pt idx="62">
                  <c:v>45382</c:v>
                </c:pt>
                <c:pt idx="63">
                  <c:v>45389</c:v>
                </c:pt>
                <c:pt idx="64">
                  <c:v>45396</c:v>
                </c:pt>
                <c:pt idx="65">
                  <c:v>45403</c:v>
                </c:pt>
                <c:pt idx="66">
                  <c:v>45410</c:v>
                </c:pt>
                <c:pt idx="67">
                  <c:v>45417</c:v>
                </c:pt>
                <c:pt idx="68">
                  <c:v>45424</c:v>
                </c:pt>
                <c:pt idx="69">
                  <c:v>45431</c:v>
                </c:pt>
                <c:pt idx="70">
                  <c:v>45438</c:v>
                </c:pt>
                <c:pt idx="71">
                  <c:v>45445</c:v>
                </c:pt>
                <c:pt idx="72">
                  <c:v>45452</c:v>
                </c:pt>
                <c:pt idx="73">
                  <c:v>45459</c:v>
                </c:pt>
                <c:pt idx="74">
                  <c:v>45466</c:v>
                </c:pt>
                <c:pt idx="75">
                  <c:v>45473</c:v>
                </c:pt>
                <c:pt idx="76">
                  <c:v>45480</c:v>
                </c:pt>
                <c:pt idx="77">
                  <c:v>45487</c:v>
                </c:pt>
                <c:pt idx="78">
                  <c:v>45494</c:v>
                </c:pt>
                <c:pt idx="79">
                  <c:v>45501</c:v>
                </c:pt>
                <c:pt idx="80">
                  <c:v>45508</c:v>
                </c:pt>
                <c:pt idx="81">
                  <c:v>45515</c:v>
                </c:pt>
                <c:pt idx="82">
                  <c:v>45522</c:v>
                </c:pt>
                <c:pt idx="83">
                  <c:v>45529</c:v>
                </c:pt>
                <c:pt idx="84">
                  <c:v>45536</c:v>
                </c:pt>
                <c:pt idx="85">
                  <c:v>45543</c:v>
                </c:pt>
                <c:pt idx="86">
                  <c:v>45550</c:v>
                </c:pt>
                <c:pt idx="87">
                  <c:v>45557</c:v>
                </c:pt>
                <c:pt idx="88">
                  <c:v>45564</c:v>
                </c:pt>
                <c:pt idx="89">
                  <c:v>45571</c:v>
                </c:pt>
                <c:pt idx="90">
                  <c:v>45578</c:v>
                </c:pt>
                <c:pt idx="91">
                  <c:v>45585</c:v>
                </c:pt>
                <c:pt idx="92">
                  <c:v>45592</c:v>
                </c:pt>
                <c:pt idx="93">
                  <c:v>45599</c:v>
                </c:pt>
                <c:pt idx="94">
                  <c:v>45606</c:v>
                </c:pt>
                <c:pt idx="95">
                  <c:v>45613</c:v>
                </c:pt>
                <c:pt idx="96">
                  <c:v>45620</c:v>
                </c:pt>
                <c:pt idx="97">
                  <c:v>45627</c:v>
                </c:pt>
                <c:pt idx="98">
                  <c:v>45634</c:v>
                </c:pt>
                <c:pt idx="99">
                  <c:v>45641</c:v>
                </c:pt>
                <c:pt idx="100">
                  <c:v>45648</c:v>
                </c:pt>
                <c:pt idx="101">
                  <c:v>45655</c:v>
                </c:pt>
                <c:pt idx="102">
                  <c:v>45662</c:v>
                </c:pt>
                <c:pt idx="103">
                  <c:v>45669</c:v>
                </c:pt>
                <c:pt idx="104">
                  <c:v>45676</c:v>
                </c:pt>
                <c:pt idx="105">
                  <c:v>45683</c:v>
                </c:pt>
              </c:numCache>
            </c:numRef>
          </c:cat>
          <c:val>
            <c:numRef>
              <c:f>Sheet1!$C$2:$C$107</c:f>
              <c:numCache>
                <c:formatCode>General</c:formatCode>
                <c:ptCount val="106"/>
                <c:pt idx="0">
                  <c:v>112239</c:v>
                </c:pt>
                <c:pt idx="1">
                  <c:v>80758</c:v>
                </c:pt>
                <c:pt idx="2">
                  <c:v>82044</c:v>
                </c:pt>
                <c:pt idx="3">
                  <c:v>54816</c:v>
                </c:pt>
                <c:pt idx="4">
                  <c:v>44755</c:v>
                </c:pt>
                <c:pt idx="5">
                  <c:v>53094</c:v>
                </c:pt>
                <c:pt idx="6">
                  <c:v>58282</c:v>
                </c:pt>
                <c:pt idx="7">
                  <c:v>99699</c:v>
                </c:pt>
                <c:pt idx="8">
                  <c:v>75872</c:v>
                </c:pt>
                <c:pt idx="9">
                  <c:v>70683</c:v>
                </c:pt>
                <c:pt idx="10">
                  <c:v>74763</c:v>
                </c:pt>
                <c:pt idx="11">
                  <c:v>85584</c:v>
                </c:pt>
                <c:pt idx="12">
                  <c:v>14338</c:v>
                </c:pt>
                <c:pt idx="13">
                  <c:v>48571</c:v>
                </c:pt>
                <c:pt idx="14">
                  <c:v>68032</c:v>
                </c:pt>
                <c:pt idx="15">
                  <c:v>68867</c:v>
                </c:pt>
                <c:pt idx="16">
                  <c:v>18568</c:v>
                </c:pt>
                <c:pt idx="17">
                  <c:v>5261</c:v>
                </c:pt>
                <c:pt idx="18">
                  <c:v>3553</c:v>
                </c:pt>
                <c:pt idx="19">
                  <c:v>2821</c:v>
                </c:pt>
                <c:pt idx="20">
                  <c:v>3507</c:v>
                </c:pt>
                <c:pt idx="21">
                  <c:v>2558</c:v>
                </c:pt>
                <c:pt idx="22">
                  <c:v>2209</c:v>
                </c:pt>
                <c:pt idx="23">
                  <c:v>1762</c:v>
                </c:pt>
                <c:pt idx="24">
                  <c:v>2669</c:v>
                </c:pt>
                <c:pt idx="25">
                  <c:v>3372</c:v>
                </c:pt>
                <c:pt idx="26">
                  <c:v>0</c:v>
                </c:pt>
                <c:pt idx="27">
                  <c:v>0</c:v>
                </c:pt>
                <c:pt idx="28">
                  <c:v>96283</c:v>
                </c:pt>
                <c:pt idx="29">
                  <c:v>180689</c:v>
                </c:pt>
                <c:pt idx="30">
                  <c:v>430624</c:v>
                </c:pt>
                <c:pt idx="31">
                  <c:v>436877</c:v>
                </c:pt>
                <c:pt idx="32">
                  <c:v>436804</c:v>
                </c:pt>
                <c:pt idx="33">
                  <c:v>429366</c:v>
                </c:pt>
                <c:pt idx="34">
                  <c:v>407868</c:v>
                </c:pt>
                <c:pt idx="35">
                  <c:v>397975</c:v>
                </c:pt>
                <c:pt idx="36">
                  <c:v>398977</c:v>
                </c:pt>
                <c:pt idx="37">
                  <c:v>424678</c:v>
                </c:pt>
                <c:pt idx="38">
                  <c:v>440855</c:v>
                </c:pt>
                <c:pt idx="39">
                  <c:v>434826</c:v>
                </c:pt>
                <c:pt idx="40">
                  <c:v>413473</c:v>
                </c:pt>
                <c:pt idx="41">
                  <c:v>47036</c:v>
                </c:pt>
                <c:pt idx="42">
                  <c:v>43815</c:v>
                </c:pt>
                <c:pt idx="43">
                  <c:v>54121</c:v>
                </c:pt>
                <c:pt idx="44">
                  <c:v>83431</c:v>
                </c:pt>
                <c:pt idx="45">
                  <c:v>94523</c:v>
                </c:pt>
                <c:pt idx="46">
                  <c:v>154534</c:v>
                </c:pt>
                <c:pt idx="47">
                  <c:v>183883</c:v>
                </c:pt>
                <c:pt idx="48">
                  <c:v>308309</c:v>
                </c:pt>
                <c:pt idx="49">
                  <c:v>565784</c:v>
                </c:pt>
                <c:pt idx="50">
                  <c:v>46192</c:v>
                </c:pt>
                <c:pt idx="51">
                  <c:v>48478</c:v>
                </c:pt>
                <c:pt idx="52">
                  <c:v>27801</c:v>
                </c:pt>
                <c:pt idx="53">
                  <c:v>14945</c:v>
                </c:pt>
                <c:pt idx="54">
                  <c:v>23250</c:v>
                </c:pt>
                <c:pt idx="55">
                  <c:v>36615</c:v>
                </c:pt>
                <c:pt idx="56">
                  <c:v>73143</c:v>
                </c:pt>
                <c:pt idx="57">
                  <c:v>181681</c:v>
                </c:pt>
                <c:pt idx="58">
                  <c:v>95268</c:v>
                </c:pt>
                <c:pt idx="59">
                  <c:v>50965</c:v>
                </c:pt>
                <c:pt idx="60">
                  <c:v>39514</c:v>
                </c:pt>
                <c:pt idx="61">
                  <c:v>150345</c:v>
                </c:pt>
                <c:pt idx="62">
                  <c:v>106157</c:v>
                </c:pt>
                <c:pt idx="63">
                  <c:v>98650</c:v>
                </c:pt>
                <c:pt idx="64">
                  <c:v>103985</c:v>
                </c:pt>
                <c:pt idx="65">
                  <c:v>147148</c:v>
                </c:pt>
                <c:pt idx="66">
                  <c:v>96549</c:v>
                </c:pt>
                <c:pt idx="67">
                  <c:v>98655</c:v>
                </c:pt>
                <c:pt idx="68">
                  <c:v>88148</c:v>
                </c:pt>
                <c:pt idx="69">
                  <c:v>97637</c:v>
                </c:pt>
                <c:pt idx="70">
                  <c:v>108644</c:v>
                </c:pt>
                <c:pt idx="71">
                  <c:v>1054</c:v>
                </c:pt>
                <c:pt idx="72">
                  <c:v>1382</c:v>
                </c:pt>
                <c:pt idx="73">
                  <c:v>1474</c:v>
                </c:pt>
                <c:pt idx="74">
                  <c:v>2436</c:v>
                </c:pt>
                <c:pt idx="75">
                  <c:v>906</c:v>
                </c:pt>
                <c:pt idx="76">
                  <c:v>2026</c:v>
                </c:pt>
                <c:pt idx="77">
                  <c:v>12851</c:v>
                </c:pt>
                <c:pt idx="78">
                  <c:v>23197</c:v>
                </c:pt>
                <c:pt idx="79">
                  <c:v>23542</c:v>
                </c:pt>
                <c:pt idx="80">
                  <c:v>21764</c:v>
                </c:pt>
                <c:pt idx="81">
                  <c:v>6950</c:v>
                </c:pt>
                <c:pt idx="82">
                  <c:v>6490</c:v>
                </c:pt>
                <c:pt idx="83">
                  <c:v>1049</c:v>
                </c:pt>
                <c:pt idx="84">
                  <c:v>4642</c:v>
                </c:pt>
                <c:pt idx="85">
                  <c:v>1131</c:v>
                </c:pt>
                <c:pt idx="86">
                  <c:v>1465</c:v>
                </c:pt>
                <c:pt idx="87">
                  <c:v>1185</c:v>
                </c:pt>
                <c:pt idx="88">
                  <c:v>17283</c:v>
                </c:pt>
                <c:pt idx="89">
                  <c:v>52297</c:v>
                </c:pt>
                <c:pt idx="90">
                  <c:v>109877</c:v>
                </c:pt>
                <c:pt idx="91">
                  <c:v>141043</c:v>
                </c:pt>
                <c:pt idx="92">
                  <c:v>91803</c:v>
                </c:pt>
                <c:pt idx="93">
                  <c:v>40955</c:v>
                </c:pt>
                <c:pt idx="94">
                  <c:v>52260</c:v>
                </c:pt>
                <c:pt idx="95">
                  <c:v>87202</c:v>
                </c:pt>
                <c:pt idx="96">
                  <c:v>149154</c:v>
                </c:pt>
                <c:pt idx="97">
                  <c:v>226282</c:v>
                </c:pt>
                <c:pt idx="98">
                  <c:v>304207</c:v>
                </c:pt>
                <c:pt idx="99">
                  <c:v>288955</c:v>
                </c:pt>
                <c:pt idx="100">
                  <c:v>325250</c:v>
                </c:pt>
                <c:pt idx="101">
                  <c:v>609797</c:v>
                </c:pt>
                <c:pt idx="102">
                  <c:v>91957</c:v>
                </c:pt>
                <c:pt idx="103">
                  <c:v>75393</c:v>
                </c:pt>
                <c:pt idx="104">
                  <c:v>72457</c:v>
                </c:pt>
                <c:pt idx="105">
                  <c:v>65045</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3-3C16-4125-B97A-D0EBA9D0B1CF}"/>
              </c:ext>
            </c:extLst>
          </c:dPt>
          <c:dPt>
            <c:idx val="1"/>
            <c:invertIfNegative val="0"/>
            <c:bubble3D val="0"/>
            <c:spPr>
              <a:solidFill>
                <a:srgbClr val="FFBFBF"/>
              </a:solidFill>
            </c:spPr>
            <c:extLst>
              <c:ext xmlns:c16="http://schemas.microsoft.com/office/drawing/2014/chart" uri="{C3380CC4-5D6E-409C-BE32-E72D297353CC}">
                <c16:uniqueId val="{00000001-615A-458F-B49B-C3992C8CBC6B}"/>
              </c:ext>
            </c:extLst>
          </c:dPt>
          <c:dPt>
            <c:idx val="2"/>
            <c:invertIfNegative val="0"/>
            <c:bubble3D val="0"/>
            <c:extLst>
              <c:ext xmlns:c16="http://schemas.microsoft.com/office/drawing/2014/chart" uri="{C3380CC4-5D6E-409C-BE32-E72D297353CC}">
                <c16:uniqueId val="{00000004-3C16-4125-B97A-D0EBA9D0B1CF}"/>
              </c:ext>
            </c:extLst>
          </c:dPt>
          <c:dPt>
            <c:idx val="3"/>
            <c:invertIfNegative val="0"/>
            <c:bubble3D val="0"/>
            <c:spPr>
              <a:solidFill>
                <a:srgbClr val="FF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Schick</c:v>
                </c:pt>
                <c:pt idx="1">
                  <c:v>Bic</c:v>
                </c:pt>
                <c:pt idx="2">
                  <c:v>Equate</c:v>
                </c:pt>
                <c:pt idx="3">
                  <c:v>Gillette</c:v>
                </c:pt>
              </c:strCache>
            </c:strRef>
          </c:cat>
          <c:val>
            <c:numRef>
              <c:f>Sheet1!$B$2:$B$5</c:f>
              <c:numCache>
                <c:formatCode>General</c:formatCode>
                <c:ptCount val="4"/>
                <c:pt idx="0">
                  <c:v>-0.621</c:v>
                </c:pt>
                <c:pt idx="1">
                  <c:v>-0.25</c:v>
                </c:pt>
                <c:pt idx="2">
                  <c:v>5</c:v>
                </c:pt>
                <c:pt idx="3">
                  <c:v>-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84</c:f>
              <c:numCache>
                <c:formatCode>yyyy\-mm\-dd</c:formatCode>
                <c:ptCount val="83"/>
                <c:pt idx="0">
                  <c:v>44934</c:v>
                </c:pt>
                <c:pt idx="1">
                  <c:v>44941</c:v>
                </c:pt>
                <c:pt idx="2">
                  <c:v>44948</c:v>
                </c:pt>
                <c:pt idx="3">
                  <c:v>44955</c:v>
                </c:pt>
                <c:pt idx="4">
                  <c:v>44962</c:v>
                </c:pt>
                <c:pt idx="5">
                  <c:v>44969</c:v>
                </c:pt>
                <c:pt idx="6">
                  <c:v>44976</c:v>
                </c:pt>
                <c:pt idx="7">
                  <c:v>44983</c:v>
                </c:pt>
                <c:pt idx="8">
                  <c:v>44990</c:v>
                </c:pt>
                <c:pt idx="9">
                  <c:v>44997</c:v>
                </c:pt>
                <c:pt idx="10">
                  <c:v>45011</c:v>
                </c:pt>
                <c:pt idx="11">
                  <c:v>45018</c:v>
                </c:pt>
                <c:pt idx="12">
                  <c:v>45025</c:v>
                </c:pt>
                <c:pt idx="13">
                  <c:v>45032</c:v>
                </c:pt>
                <c:pt idx="14">
                  <c:v>45039</c:v>
                </c:pt>
                <c:pt idx="15">
                  <c:v>45046</c:v>
                </c:pt>
                <c:pt idx="16">
                  <c:v>45053</c:v>
                </c:pt>
                <c:pt idx="17">
                  <c:v>45060</c:v>
                </c:pt>
                <c:pt idx="18">
                  <c:v>45067</c:v>
                </c:pt>
                <c:pt idx="19">
                  <c:v>45074</c:v>
                </c:pt>
                <c:pt idx="20">
                  <c:v>45081</c:v>
                </c:pt>
                <c:pt idx="21">
                  <c:v>45088</c:v>
                </c:pt>
                <c:pt idx="22">
                  <c:v>45095</c:v>
                </c:pt>
                <c:pt idx="23">
                  <c:v>45102</c:v>
                </c:pt>
                <c:pt idx="24">
                  <c:v>45109</c:v>
                </c:pt>
                <c:pt idx="25">
                  <c:v>45116</c:v>
                </c:pt>
                <c:pt idx="26">
                  <c:v>45123</c:v>
                </c:pt>
                <c:pt idx="27">
                  <c:v>45130</c:v>
                </c:pt>
                <c:pt idx="28">
                  <c:v>45137</c:v>
                </c:pt>
                <c:pt idx="29">
                  <c:v>45144</c:v>
                </c:pt>
                <c:pt idx="30">
                  <c:v>45151</c:v>
                </c:pt>
                <c:pt idx="31">
                  <c:v>45165</c:v>
                </c:pt>
                <c:pt idx="32">
                  <c:v>45172</c:v>
                </c:pt>
                <c:pt idx="33">
                  <c:v>45179</c:v>
                </c:pt>
                <c:pt idx="34">
                  <c:v>45186</c:v>
                </c:pt>
                <c:pt idx="35">
                  <c:v>45200</c:v>
                </c:pt>
                <c:pt idx="36">
                  <c:v>45207</c:v>
                </c:pt>
                <c:pt idx="37">
                  <c:v>45214</c:v>
                </c:pt>
                <c:pt idx="38">
                  <c:v>45221</c:v>
                </c:pt>
                <c:pt idx="39">
                  <c:v>45228</c:v>
                </c:pt>
                <c:pt idx="40">
                  <c:v>45235</c:v>
                </c:pt>
                <c:pt idx="41">
                  <c:v>45256</c:v>
                </c:pt>
                <c:pt idx="42">
                  <c:v>45270</c:v>
                </c:pt>
                <c:pt idx="43">
                  <c:v>45277</c:v>
                </c:pt>
                <c:pt idx="44">
                  <c:v>45284</c:v>
                </c:pt>
                <c:pt idx="45">
                  <c:v>45291</c:v>
                </c:pt>
                <c:pt idx="46">
                  <c:v>45298</c:v>
                </c:pt>
                <c:pt idx="47">
                  <c:v>45305</c:v>
                </c:pt>
                <c:pt idx="48">
                  <c:v>45312</c:v>
                </c:pt>
                <c:pt idx="49">
                  <c:v>45319</c:v>
                </c:pt>
                <c:pt idx="50">
                  <c:v>45326</c:v>
                </c:pt>
                <c:pt idx="51">
                  <c:v>45333</c:v>
                </c:pt>
                <c:pt idx="52">
                  <c:v>45340</c:v>
                </c:pt>
                <c:pt idx="53">
                  <c:v>45347</c:v>
                </c:pt>
                <c:pt idx="54">
                  <c:v>45354</c:v>
                </c:pt>
                <c:pt idx="55">
                  <c:v>45361</c:v>
                </c:pt>
                <c:pt idx="56">
                  <c:v>45368</c:v>
                </c:pt>
                <c:pt idx="57">
                  <c:v>45375</c:v>
                </c:pt>
                <c:pt idx="58">
                  <c:v>45382</c:v>
                </c:pt>
                <c:pt idx="59">
                  <c:v>45389</c:v>
                </c:pt>
                <c:pt idx="60">
                  <c:v>45396</c:v>
                </c:pt>
                <c:pt idx="61">
                  <c:v>45403</c:v>
                </c:pt>
                <c:pt idx="62">
                  <c:v>45410</c:v>
                </c:pt>
                <c:pt idx="63">
                  <c:v>45417</c:v>
                </c:pt>
                <c:pt idx="64">
                  <c:v>45424</c:v>
                </c:pt>
                <c:pt idx="65">
                  <c:v>45431</c:v>
                </c:pt>
                <c:pt idx="66">
                  <c:v>45438</c:v>
                </c:pt>
                <c:pt idx="67">
                  <c:v>45445</c:v>
                </c:pt>
                <c:pt idx="68">
                  <c:v>45452</c:v>
                </c:pt>
                <c:pt idx="69">
                  <c:v>45459</c:v>
                </c:pt>
                <c:pt idx="70">
                  <c:v>45466</c:v>
                </c:pt>
                <c:pt idx="71">
                  <c:v>45494</c:v>
                </c:pt>
                <c:pt idx="72">
                  <c:v>45522</c:v>
                </c:pt>
                <c:pt idx="73">
                  <c:v>45564</c:v>
                </c:pt>
                <c:pt idx="74">
                  <c:v>45592</c:v>
                </c:pt>
                <c:pt idx="75">
                  <c:v>45613</c:v>
                </c:pt>
                <c:pt idx="76">
                  <c:v>45641</c:v>
                </c:pt>
                <c:pt idx="77">
                  <c:v>45648</c:v>
                </c:pt>
                <c:pt idx="78">
                  <c:v>45655</c:v>
                </c:pt>
                <c:pt idx="79">
                  <c:v>45662</c:v>
                </c:pt>
                <c:pt idx="80">
                  <c:v>45669</c:v>
                </c:pt>
                <c:pt idx="81">
                  <c:v>45676</c:v>
                </c:pt>
                <c:pt idx="82">
                  <c:v>45683</c:v>
                </c:pt>
              </c:numCache>
            </c:numRef>
          </c:cat>
          <c:val>
            <c:numRef>
              <c:f>Sheet1!$B$2:$B$84</c:f>
              <c:numCache>
                <c:formatCode>General</c:formatCode>
                <c:ptCount val="83"/>
                <c:pt idx="0">
                  <c:v>883294</c:v>
                </c:pt>
                <c:pt idx="1">
                  <c:v>894944</c:v>
                </c:pt>
                <c:pt idx="2">
                  <c:v>911854</c:v>
                </c:pt>
                <c:pt idx="3">
                  <c:v>887858</c:v>
                </c:pt>
                <c:pt idx="4">
                  <c:v>942843</c:v>
                </c:pt>
                <c:pt idx="5">
                  <c:v>952782</c:v>
                </c:pt>
                <c:pt idx="6">
                  <c:v>902035</c:v>
                </c:pt>
                <c:pt idx="7">
                  <c:v>947146</c:v>
                </c:pt>
                <c:pt idx="8">
                  <c:v>1001615</c:v>
                </c:pt>
                <c:pt idx="9">
                  <c:v>981067</c:v>
                </c:pt>
                <c:pt idx="10">
                  <c:v>905084</c:v>
                </c:pt>
                <c:pt idx="11">
                  <c:v>888212</c:v>
                </c:pt>
                <c:pt idx="12">
                  <c:v>974473</c:v>
                </c:pt>
                <c:pt idx="13">
                  <c:v>875418</c:v>
                </c:pt>
                <c:pt idx="14">
                  <c:v>929827</c:v>
                </c:pt>
                <c:pt idx="15">
                  <c:v>934088</c:v>
                </c:pt>
                <c:pt idx="16">
                  <c:v>1025071</c:v>
                </c:pt>
                <c:pt idx="17">
                  <c:v>969591</c:v>
                </c:pt>
                <c:pt idx="18">
                  <c:v>958315</c:v>
                </c:pt>
                <c:pt idx="19">
                  <c:v>984330</c:v>
                </c:pt>
                <c:pt idx="20">
                  <c:v>1042956</c:v>
                </c:pt>
                <c:pt idx="21">
                  <c:v>1060263</c:v>
                </c:pt>
                <c:pt idx="22">
                  <c:v>1014721</c:v>
                </c:pt>
                <c:pt idx="23">
                  <c:v>973551</c:v>
                </c:pt>
                <c:pt idx="24">
                  <c:v>1001173</c:v>
                </c:pt>
                <c:pt idx="25">
                  <c:v>994129</c:v>
                </c:pt>
                <c:pt idx="26">
                  <c:v>902575</c:v>
                </c:pt>
                <c:pt idx="27">
                  <c:v>925815</c:v>
                </c:pt>
                <c:pt idx="28">
                  <c:v>991622</c:v>
                </c:pt>
                <c:pt idx="29">
                  <c:v>1090041</c:v>
                </c:pt>
                <c:pt idx="30">
                  <c:v>1030135</c:v>
                </c:pt>
                <c:pt idx="31">
                  <c:v>972754</c:v>
                </c:pt>
                <c:pt idx="32">
                  <c:v>1000693</c:v>
                </c:pt>
                <c:pt idx="33">
                  <c:v>991932</c:v>
                </c:pt>
                <c:pt idx="34">
                  <c:v>936982</c:v>
                </c:pt>
                <c:pt idx="35">
                  <c:v>922669</c:v>
                </c:pt>
                <c:pt idx="36">
                  <c:v>974484</c:v>
                </c:pt>
                <c:pt idx="37">
                  <c:v>927648</c:v>
                </c:pt>
                <c:pt idx="38">
                  <c:v>911977</c:v>
                </c:pt>
                <c:pt idx="39">
                  <c:v>901112</c:v>
                </c:pt>
                <c:pt idx="40">
                  <c:v>930692</c:v>
                </c:pt>
                <c:pt idx="41">
                  <c:v>821283</c:v>
                </c:pt>
                <c:pt idx="42">
                  <c:v>981533</c:v>
                </c:pt>
                <c:pt idx="43">
                  <c:v>938639</c:v>
                </c:pt>
                <c:pt idx="44">
                  <c:v>1003778</c:v>
                </c:pt>
                <c:pt idx="45">
                  <c:v>800659</c:v>
                </c:pt>
                <c:pt idx="46">
                  <c:v>907039</c:v>
                </c:pt>
                <c:pt idx="47">
                  <c:v>859053</c:v>
                </c:pt>
                <c:pt idx="48">
                  <c:v>819752</c:v>
                </c:pt>
                <c:pt idx="49">
                  <c:v>871990</c:v>
                </c:pt>
                <c:pt idx="50">
                  <c:v>928260</c:v>
                </c:pt>
                <c:pt idx="51">
                  <c:v>907603</c:v>
                </c:pt>
                <c:pt idx="52">
                  <c:v>863715</c:v>
                </c:pt>
                <c:pt idx="53">
                  <c:v>936430</c:v>
                </c:pt>
                <c:pt idx="54">
                  <c:v>990780</c:v>
                </c:pt>
                <c:pt idx="55">
                  <c:v>987775</c:v>
                </c:pt>
                <c:pt idx="56">
                  <c:v>939722</c:v>
                </c:pt>
                <c:pt idx="57">
                  <c:v>922170</c:v>
                </c:pt>
                <c:pt idx="58">
                  <c:v>943802</c:v>
                </c:pt>
                <c:pt idx="59">
                  <c:v>916012</c:v>
                </c:pt>
                <c:pt idx="60">
                  <c:v>798917</c:v>
                </c:pt>
                <c:pt idx="61">
                  <c:v>772919</c:v>
                </c:pt>
                <c:pt idx="62">
                  <c:v>738960</c:v>
                </c:pt>
                <c:pt idx="63">
                  <c:v>792139</c:v>
                </c:pt>
                <c:pt idx="64">
                  <c:v>795848</c:v>
                </c:pt>
                <c:pt idx="65">
                  <c:v>781153</c:v>
                </c:pt>
                <c:pt idx="66">
                  <c:v>817269</c:v>
                </c:pt>
                <c:pt idx="67">
                  <c:v>811997</c:v>
                </c:pt>
                <c:pt idx="68">
                  <c:v>906209</c:v>
                </c:pt>
                <c:pt idx="69">
                  <c:v>838415</c:v>
                </c:pt>
                <c:pt idx="70">
                  <c:v>858390</c:v>
                </c:pt>
                <c:pt idx="71">
                  <c:v>1018155</c:v>
                </c:pt>
                <c:pt idx="72">
                  <c:v>1007505</c:v>
                </c:pt>
                <c:pt idx="73">
                  <c:v>930181</c:v>
                </c:pt>
                <c:pt idx="74">
                  <c:v>910372</c:v>
                </c:pt>
                <c:pt idx="75">
                  <c:v>890415</c:v>
                </c:pt>
                <c:pt idx="76">
                  <c:v>922201</c:v>
                </c:pt>
                <c:pt idx="77">
                  <c:v>940763</c:v>
                </c:pt>
                <c:pt idx="78">
                  <c:v>805062</c:v>
                </c:pt>
                <c:pt idx="79">
                  <c:v>827647</c:v>
                </c:pt>
                <c:pt idx="80">
                  <c:v>783404</c:v>
                </c:pt>
                <c:pt idx="81">
                  <c:v>829574</c:v>
                </c:pt>
                <c:pt idx="82">
                  <c:v>776082</c:v>
                </c:pt>
              </c:numCache>
            </c:numRef>
          </c:val>
          <c:extLst>
            <c:ext xmlns:c16="http://schemas.microsoft.com/office/drawing/2014/chart" uri="{C3380CC4-5D6E-409C-BE32-E72D297353CC}">
              <c16:uniqueId val="{00000000-72A7-4D08-96D7-E73109FBDC9A}"/>
            </c:ext>
          </c:extLst>
        </c:ser>
        <c:ser>
          <c:idx val="0"/>
          <c:order val="1"/>
          <c:tx>
            <c:strRef>
              <c:f>Sheet1!$C$1</c:f>
              <c:strCache>
                <c:ptCount val="1"/>
                <c:pt idx="0">
                  <c:v>Promo Volume</c:v>
                </c:pt>
              </c:strCache>
            </c:strRef>
          </c:tx>
          <c:spPr>
            <a:solidFill>
              <a:schemeClr val="accent3"/>
            </a:solidFill>
            <a:ln>
              <a:noFill/>
            </a:ln>
            <a:effectLst/>
          </c:spPr>
          <c:invertIfNegative val="0"/>
          <c:cat>
            <c:numRef>
              <c:f>Sheet1!$A$2:$A$84</c:f>
              <c:numCache>
                <c:formatCode>yyyy\-mm\-dd</c:formatCode>
                <c:ptCount val="83"/>
                <c:pt idx="0">
                  <c:v>44934</c:v>
                </c:pt>
                <c:pt idx="1">
                  <c:v>44941</c:v>
                </c:pt>
                <c:pt idx="2">
                  <c:v>44948</c:v>
                </c:pt>
                <c:pt idx="3">
                  <c:v>44955</c:v>
                </c:pt>
                <c:pt idx="4">
                  <c:v>44962</c:v>
                </c:pt>
                <c:pt idx="5">
                  <c:v>44969</c:v>
                </c:pt>
                <c:pt idx="6">
                  <c:v>44976</c:v>
                </c:pt>
                <c:pt idx="7">
                  <c:v>44983</c:v>
                </c:pt>
                <c:pt idx="8">
                  <c:v>44990</c:v>
                </c:pt>
                <c:pt idx="9">
                  <c:v>44997</c:v>
                </c:pt>
                <c:pt idx="10">
                  <c:v>45011</c:v>
                </c:pt>
                <c:pt idx="11">
                  <c:v>45018</c:v>
                </c:pt>
                <c:pt idx="12">
                  <c:v>45025</c:v>
                </c:pt>
                <c:pt idx="13">
                  <c:v>45032</c:v>
                </c:pt>
                <c:pt idx="14">
                  <c:v>45039</c:v>
                </c:pt>
                <c:pt idx="15">
                  <c:v>45046</c:v>
                </c:pt>
                <c:pt idx="16">
                  <c:v>45053</c:v>
                </c:pt>
                <c:pt idx="17">
                  <c:v>45060</c:v>
                </c:pt>
                <c:pt idx="18">
                  <c:v>45067</c:v>
                </c:pt>
                <c:pt idx="19">
                  <c:v>45074</c:v>
                </c:pt>
                <c:pt idx="20">
                  <c:v>45081</c:v>
                </c:pt>
                <c:pt idx="21">
                  <c:v>45088</c:v>
                </c:pt>
                <c:pt idx="22">
                  <c:v>45095</c:v>
                </c:pt>
                <c:pt idx="23">
                  <c:v>45102</c:v>
                </c:pt>
                <c:pt idx="24">
                  <c:v>45109</c:v>
                </c:pt>
                <c:pt idx="25">
                  <c:v>45116</c:v>
                </c:pt>
                <c:pt idx="26">
                  <c:v>45123</c:v>
                </c:pt>
                <c:pt idx="27">
                  <c:v>45130</c:v>
                </c:pt>
                <c:pt idx="28">
                  <c:v>45137</c:v>
                </c:pt>
                <c:pt idx="29">
                  <c:v>45144</c:v>
                </c:pt>
                <c:pt idx="30">
                  <c:v>45151</c:v>
                </c:pt>
                <c:pt idx="31">
                  <c:v>45165</c:v>
                </c:pt>
                <c:pt idx="32">
                  <c:v>45172</c:v>
                </c:pt>
                <c:pt idx="33">
                  <c:v>45179</c:v>
                </c:pt>
                <c:pt idx="34">
                  <c:v>45186</c:v>
                </c:pt>
                <c:pt idx="35">
                  <c:v>45200</c:v>
                </c:pt>
                <c:pt idx="36">
                  <c:v>45207</c:v>
                </c:pt>
                <c:pt idx="37">
                  <c:v>45214</c:v>
                </c:pt>
                <c:pt idx="38">
                  <c:v>45221</c:v>
                </c:pt>
                <c:pt idx="39">
                  <c:v>45228</c:v>
                </c:pt>
                <c:pt idx="40">
                  <c:v>45235</c:v>
                </c:pt>
                <c:pt idx="41">
                  <c:v>45256</c:v>
                </c:pt>
                <c:pt idx="42">
                  <c:v>45270</c:v>
                </c:pt>
                <c:pt idx="43">
                  <c:v>45277</c:v>
                </c:pt>
                <c:pt idx="44">
                  <c:v>45284</c:v>
                </c:pt>
                <c:pt idx="45">
                  <c:v>45291</c:v>
                </c:pt>
                <c:pt idx="46">
                  <c:v>45298</c:v>
                </c:pt>
                <c:pt idx="47">
                  <c:v>45305</c:v>
                </c:pt>
                <c:pt idx="48">
                  <c:v>45312</c:v>
                </c:pt>
                <c:pt idx="49">
                  <c:v>45319</c:v>
                </c:pt>
                <c:pt idx="50">
                  <c:v>45326</c:v>
                </c:pt>
                <c:pt idx="51">
                  <c:v>45333</c:v>
                </c:pt>
                <c:pt idx="52">
                  <c:v>45340</c:v>
                </c:pt>
                <c:pt idx="53">
                  <c:v>45347</c:v>
                </c:pt>
                <c:pt idx="54">
                  <c:v>45354</c:v>
                </c:pt>
                <c:pt idx="55">
                  <c:v>45361</c:v>
                </c:pt>
                <c:pt idx="56">
                  <c:v>45368</c:v>
                </c:pt>
                <c:pt idx="57">
                  <c:v>45375</c:v>
                </c:pt>
                <c:pt idx="58">
                  <c:v>45382</c:v>
                </c:pt>
                <c:pt idx="59">
                  <c:v>45389</c:v>
                </c:pt>
                <c:pt idx="60">
                  <c:v>45396</c:v>
                </c:pt>
                <c:pt idx="61">
                  <c:v>45403</c:v>
                </c:pt>
                <c:pt idx="62">
                  <c:v>45410</c:v>
                </c:pt>
                <c:pt idx="63">
                  <c:v>45417</c:v>
                </c:pt>
                <c:pt idx="64">
                  <c:v>45424</c:v>
                </c:pt>
                <c:pt idx="65">
                  <c:v>45431</c:v>
                </c:pt>
                <c:pt idx="66">
                  <c:v>45438</c:v>
                </c:pt>
                <c:pt idx="67">
                  <c:v>45445</c:v>
                </c:pt>
                <c:pt idx="68">
                  <c:v>45452</c:v>
                </c:pt>
                <c:pt idx="69">
                  <c:v>45459</c:v>
                </c:pt>
                <c:pt idx="70">
                  <c:v>45466</c:v>
                </c:pt>
                <c:pt idx="71">
                  <c:v>45494</c:v>
                </c:pt>
                <c:pt idx="72">
                  <c:v>45522</c:v>
                </c:pt>
                <c:pt idx="73">
                  <c:v>45564</c:v>
                </c:pt>
                <c:pt idx="74">
                  <c:v>45592</c:v>
                </c:pt>
                <c:pt idx="75">
                  <c:v>45613</c:v>
                </c:pt>
                <c:pt idx="76">
                  <c:v>45641</c:v>
                </c:pt>
                <c:pt idx="77">
                  <c:v>45648</c:v>
                </c:pt>
                <c:pt idx="78">
                  <c:v>45655</c:v>
                </c:pt>
                <c:pt idx="79">
                  <c:v>45662</c:v>
                </c:pt>
                <c:pt idx="80">
                  <c:v>45669</c:v>
                </c:pt>
                <c:pt idx="81">
                  <c:v>45676</c:v>
                </c:pt>
                <c:pt idx="82">
                  <c:v>45683</c:v>
                </c:pt>
              </c:numCache>
            </c:numRef>
          </c:cat>
          <c:val>
            <c:numRef>
              <c:f>Sheet1!$C$2:$C$84</c:f>
              <c:numCache>
                <c:formatCode>General</c:formatCode>
                <c:ptCount val="83"/>
                <c:pt idx="0">
                  <c:v>13046</c:v>
                </c:pt>
                <c:pt idx="1">
                  <c:v>17005</c:v>
                </c:pt>
                <c:pt idx="2">
                  <c:v>11212</c:v>
                </c:pt>
                <c:pt idx="3">
                  <c:v>5307</c:v>
                </c:pt>
                <c:pt idx="4">
                  <c:v>4215</c:v>
                </c:pt>
                <c:pt idx="5">
                  <c:v>2404</c:v>
                </c:pt>
                <c:pt idx="6">
                  <c:v>3055</c:v>
                </c:pt>
                <c:pt idx="7">
                  <c:v>3169</c:v>
                </c:pt>
                <c:pt idx="8">
                  <c:v>1953</c:v>
                </c:pt>
                <c:pt idx="9">
                  <c:v>2014</c:v>
                </c:pt>
                <c:pt idx="10">
                  <c:v>2748</c:v>
                </c:pt>
                <c:pt idx="11">
                  <c:v>2361</c:v>
                </c:pt>
                <c:pt idx="12">
                  <c:v>1127</c:v>
                </c:pt>
                <c:pt idx="13">
                  <c:v>18920</c:v>
                </c:pt>
                <c:pt idx="14">
                  <c:v>20094</c:v>
                </c:pt>
                <c:pt idx="15">
                  <c:v>9375</c:v>
                </c:pt>
                <c:pt idx="16">
                  <c:v>7406</c:v>
                </c:pt>
                <c:pt idx="17">
                  <c:v>5340</c:v>
                </c:pt>
                <c:pt idx="18">
                  <c:v>3679</c:v>
                </c:pt>
                <c:pt idx="19">
                  <c:v>3698</c:v>
                </c:pt>
                <c:pt idx="20">
                  <c:v>7834</c:v>
                </c:pt>
                <c:pt idx="21">
                  <c:v>3499</c:v>
                </c:pt>
                <c:pt idx="22">
                  <c:v>3432</c:v>
                </c:pt>
                <c:pt idx="23">
                  <c:v>9276</c:v>
                </c:pt>
                <c:pt idx="24">
                  <c:v>3153</c:v>
                </c:pt>
                <c:pt idx="25">
                  <c:v>1925</c:v>
                </c:pt>
                <c:pt idx="26">
                  <c:v>2517</c:v>
                </c:pt>
                <c:pt idx="27">
                  <c:v>13233</c:v>
                </c:pt>
                <c:pt idx="28">
                  <c:v>10838</c:v>
                </c:pt>
                <c:pt idx="29">
                  <c:v>7803</c:v>
                </c:pt>
                <c:pt idx="30">
                  <c:v>6722</c:v>
                </c:pt>
                <c:pt idx="31">
                  <c:v>7981</c:v>
                </c:pt>
                <c:pt idx="32">
                  <c:v>7211</c:v>
                </c:pt>
                <c:pt idx="33">
                  <c:v>7865</c:v>
                </c:pt>
                <c:pt idx="34">
                  <c:v>11100</c:v>
                </c:pt>
                <c:pt idx="35">
                  <c:v>15024</c:v>
                </c:pt>
                <c:pt idx="36">
                  <c:v>14472</c:v>
                </c:pt>
                <c:pt idx="37">
                  <c:v>11562</c:v>
                </c:pt>
                <c:pt idx="38">
                  <c:v>10472</c:v>
                </c:pt>
                <c:pt idx="39">
                  <c:v>9737</c:v>
                </c:pt>
                <c:pt idx="40">
                  <c:v>8311</c:v>
                </c:pt>
                <c:pt idx="41">
                  <c:v>4191</c:v>
                </c:pt>
                <c:pt idx="42">
                  <c:v>4391</c:v>
                </c:pt>
                <c:pt idx="43">
                  <c:v>8000</c:v>
                </c:pt>
                <c:pt idx="44">
                  <c:v>11736</c:v>
                </c:pt>
                <c:pt idx="45">
                  <c:v>7645</c:v>
                </c:pt>
                <c:pt idx="46">
                  <c:v>20146</c:v>
                </c:pt>
                <c:pt idx="47">
                  <c:v>39037</c:v>
                </c:pt>
                <c:pt idx="48">
                  <c:v>34882</c:v>
                </c:pt>
                <c:pt idx="49">
                  <c:v>35803</c:v>
                </c:pt>
                <c:pt idx="50">
                  <c:v>35106</c:v>
                </c:pt>
                <c:pt idx="51">
                  <c:v>43558</c:v>
                </c:pt>
                <c:pt idx="52">
                  <c:v>46788</c:v>
                </c:pt>
                <c:pt idx="53">
                  <c:v>29810</c:v>
                </c:pt>
                <c:pt idx="54">
                  <c:v>6107</c:v>
                </c:pt>
                <c:pt idx="55">
                  <c:v>4969</c:v>
                </c:pt>
                <c:pt idx="56">
                  <c:v>4004</c:v>
                </c:pt>
                <c:pt idx="57">
                  <c:v>7028</c:v>
                </c:pt>
                <c:pt idx="58">
                  <c:v>6685</c:v>
                </c:pt>
                <c:pt idx="59">
                  <c:v>100296</c:v>
                </c:pt>
                <c:pt idx="60">
                  <c:v>169562</c:v>
                </c:pt>
                <c:pt idx="61">
                  <c:v>174625</c:v>
                </c:pt>
                <c:pt idx="62">
                  <c:v>169767</c:v>
                </c:pt>
                <c:pt idx="63">
                  <c:v>189312</c:v>
                </c:pt>
                <c:pt idx="64">
                  <c:v>192631</c:v>
                </c:pt>
                <c:pt idx="65">
                  <c:v>190077</c:v>
                </c:pt>
                <c:pt idx="66">
                  <c:v>200202</c:v>
                </c:pt>
                <c:pt idx="67">
                  <c:v>198104</c:v>
                </c:pt>
                <c:pt idx="68">
                  <c:v>221368</c:v>
                </c:pt>
                <c:pt idx="69">
                  <c:v>203942</c:v>
                </c:pt>
                <c:pt idx="70">
                  <c:v>176322</c:v>
                </c:pt>
                <c:pt idx="71">
                  <c:v>18298</c:v>
                </c:pt>
                <c:pt idx="72">
                  <c:v>17675</c:v>
                </c:pt>
                <c:pt idx="73">
                  <c:v>8910</c:v>
                </c:pt>
                <c:pt idx="74">
                  <c:v>13990</c:v>
                </c:pt>
                <c:pt idx="75">
                  <c:v>11063</c:v>
                </c:pt>
                <c:pt idx="76">
                  <c:v>25687</c:v>
                </c:pt>
                <c:pt idx="77">
                  <c:v>34614</c:v>
                </c:pt>
                <c:pt idx="78">
                  <c:v>24565</c:v>
                </c:pt>
                <c:pt idx="79">
                  <c:v>29584</c:v>
                </c:pt>
                <c:pt idx="80">
                  <c:v>23147</c:v>
                </c:pt>
                <c:pt idx="81">
                  <c:v>21492</c:v>
                </c:pt>
                <c:pt idx="82">
                  <c:v>18068</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vert="horz"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1"/>
      <c:txPr>
        <a:bodyPr/>
        <a:lstStyle/>
        <a:p>
          <a:pPr>
            <a:defRPr sz="800">
              <a:latin typeface="Nexa Book"/>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219792786125353E-2"/>
          <c:y val="0.22555108645669017"/>
          <c:w val="0.96766497516299987"/>
          <c:h val="0.76466540290122786"/>
        </c:manualLayout>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7</c:f>
              <c:numCache>
                <c:formatCode>yyyy\-mm\-dd</c:formatCode>
                <c:ptCount val="106"/>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51</c:v>
                </c:pt>
                <c:pt idx="30">
                  <c:v>45158</c:v>
                </c:pt>
                <c:pt idx="31">
                  <c:v>45165</c:v>
                </c:pt>
                <c:pt idx="32">
                  <c:v>45172</c:v>
                </c:pt>
                <c:pt idx="33">
                  <c:v>45179</c:v>
                </c:pt>
                <c:pt idx="34">
                  <c:v>45186</c:v>
                </c:pt>
                <c:pt idx="35">
                  <c:v>45193</c:v>
                </c:pt>
                <c:pt idx="36">
                  <c:v>45200</c:v>
                </c:pt>
                <c:pt idx="37">
                  <c:v>45207</c:v>
                </c:pt>
                <c:pt idx="38">
                  <c:v>45214</c:v>
                </c:pt>
                <c:pt idx="39">
                  <c:v>45221</c:v>
                </c:pt>
                <c:pt idx="40">
                  <c:v>45228</c:v>
                </c:pt>
                <c:pt idx="41">
                  <c:v>45235</c:v>
                </c:pt>
                <c:pt idx="42">
                  <c:v>45242</c:v>
                </c:pt>
                <c:pt idx="43">
                  <c:v>45249</c:v>
                </c:pt>
                <c:pt idx="44">
                  <c:v>45256</c:v>
                </c:pt>
                <c:pt idx="45">
                  <c:v>45263</c:v>
                </c:pt>
                <c:pt idx="46">
                  <c:v>45270</c:v>
                </c:pt>
                <c:pt idx="47">
                  <c:v>45277</c:v>
                </c:pt>
                <c:pt idx="48">
                  <c:v>45284</c:v>
                </c:pt>
                <c:pt idx="49">
                  <c:v>45291</c:v>
                </c:pt>
                <c:pt idx="50">
                  <c:v>45298</c:v>
                </c:pt>
                <c:pt idx="51">
                  <c:v>45305</c:v>
                </c:pt>
                <c:pt idx="52">
                  <c:v>45312</c:v>
                </c:pt>
                <c:pt idx="53">
                  <c:v>45319</c:v>
                </c:pt>
                <c:pt idx="54">
                  <c:v>45326</c:v>
                </c:pt>
                <c:pt idx="55">
                  <c:v>45333</c:v>
                </c:pt>
                <c:pt idx="56">
                  <c:v>45340</c:v>
                </c:pt>
                <c:pt idx="57">
                  <c:v>45347</c:v>
                </c:pt>
                <c:pt idx="58">
                  <c:v>45354</c:v>
                </c:pt>
                <c:pt idx="59">
                  <c:v>45361</c:v>
                </c:pt>
                <c:pt idx="60">
                  <c:v>45368</c:v>
                </c:pt>
                <c:pt idx="61">
                  <c:v>45375</c:v>
                </c:pt>
                <c:pt idx="62">
                  <c:v>45382</c:v>
                </c:pt>
                <c:pt idx="63">
                  <c:v>45389</c:v>
                </c:pt>
                <c:pt idx="64">
                  <c:v>45396</c:v>
                </c:pt>
                <c:pt idx="65">
                  <c:v>45403</c:v>
                </c:pt>
                <c:pt idx="66">
                  <c:v>45410</c:v>
                </c:pt>
                <c:pt idx="67">
                  <c:v>45417</c:v>
                </c:pt>
                <c:pt idx="68">
                  <c:v>45424</c:v>
                </c:pt>
                <c:pt idx="69">
                  <c:v>45431</c:v>
                </c:pt>
                <c:pt idx="70">
                  <c:v>45438</c:v>
                </c:pt>
                <c:pt idx="71">
                  <c:v>45445</c:v>
                </c:pt>
                <c:pt idx="72">
                  <c:v>45452</c:v>
                </c:pt>
                <c:pt idx="73">
                  <c:v>45459</c:v>
                </c:pt>
                <c:pt idx="74">
                  <c:v>45466</c:v>
                </c:pt>
                <c:pt idx="75">
                  <c:v>45473</c:v>
                </c:pt>
                <c:pt idx="76">
                  <c:v>45480</c:v>
                </c:pt>
                <c:pt idx="77">
                  <c:v>45487</c:v>
                </c:pt>
                <c:pt idx="78">
                  <c:v>45494</c:v>
                </c:pt>
                <c:pt idx="79">
                  <c:v>45501</c:v>
                </c:pt>
                <c:pt idx="80">
                  <c:v>45508</c:v>
                </c:pt>
                <c:pt idx="81">
                  <c:v>45515</c:v>
                </c:pt>
                <c:pt idx="82">
                  <c:v>45522</c:v>
                </c:pt>
                <c:pt idx="83">
                  <c:v>45529</c:v>
                </c:pt>
                <c:pt idx="84">
                  <c:v>45536</c:v>
                </c:pt>
                <c:pt idx="85">
                  <c:v>45543</c:v>
                </c:pt>
                <c:pt idx="86">
                  <c:v>45550</c:v>
                </c:pt>
                <c:pt idx="87">
                  <c:v>45557</c:v>
                </c:pt>
                <c:pt idx="88">
                  <c:v>45564</c:v>
                </c:pt>
                <c:pt idx="89">
                  <c:v>45571</c:v>
                </c:pt>
                <c:pt idx="90">
                  <c:v>45578</c:v>
                </c:pt>
                <c:pt idx="91">
                  <c:v>45585</c:v>
                </c:pt>
                <c:pt idx="92">
                  <c:v>45592</c:v>
                </c:pt>
                <c:pt idx="93">
                  <c:v>45599</c:v>
                </c:pt>
                <c:pt idx="94">
                  <c:v>45606</c:v>
                </c:pt>
                <c:pt idx="95">
                  <c:v>45613</c:v>
                </c:pt>
                <c:pt idx="96">
                  <c:v>45620</c:v>
                </c:pt>
                <c:pt idx="97">
                  <c:v>45627</c:v>
                </c:pt>
                <c:pt idx="98">
                  <c:v>45634</c:v>
                </c:pt>
                <c:pt idx="99">
                  <c:v>45641</c:v>
                </c:pt>
                <c:pt idx="100">
                  <c:v>45648</c:v>
                </c:pt>
                <c:pt idx="101">
                  <c:v>45655</c:v>
                </c:pt>
                <c:pt idx="102">
                  <c:v>45662</c:v>
                </c:pt>
                <c:pt idx="103">
                  <c:v>45669</c:v>
                </c:pt>
                <c:pt idx="104">
                  <c:v>45676</c:v>
                </c:pt>
                <c:pt idx="105">
                  <c:v>45683</c:v>
                </c:pt>
              </c:numCache>
            </c:numRef>
          </c:cat>
          <c:val>
            <c:numRef>
              <c:f>Sheet1!$B$2:$B$107</c:f>
              <c:numCache>
                <c:formatCode>General</c:formatCode>
                <c:ptCount val="106"/>
                <c:pt idx="0">
                  <c:v>156680</c:v>
                </c:pt>
                <c:pt idx="1">
                  <c:v>232060</c:v>
                </c:pt>
                <c:pt idx="2">
                  <c:v>238860</c:v>
                </c:pt>
                <c:pt idx="3">
                  <c:v>189020</c:v>
                </c:pt>
                <c:pt idx="4">
                  <c:v>0</c:v>
                </c:pt>
                <c:pt idx="5">
                  <c:v>0</c:v>
                </c:pt>
                <c:pt idx="6">
                  <c:v>0</c:v>
                </c:pt>
                <c:pt idx="7">
                  <c:v>0</c:v>
                </c:pt>
                <c:pt idx="8">
                  <c:v>0</c:v>
                </c:pt>
                <c:pt idx="9">
                  <c:v>205060</c:v>
                </c:pt>
                <c:pt idx="10">
                  <c:v>191945</c:v>
                </c:pt>
                <c:pt idx="11">
                  <c:v>201600</c:v>
                </c:pt>
                <c:pt idx="12">
                  <c:v>176060</c:v>
                </c:pt>
                <c:pt idx="13">
                  <c:v>213540</c:v>
                </c:pt>
                <c:pt idx="14">
                  <c:v>173500</c:v>
                </c:pt>
                <c:pt idx="15">
                  <c:v>212560</c:v>
                </c:pt>
                <c:pt idx="16">
                  <c:v>273145</c:v>
                </c:pt>
                <c:pt idx="17">
                  <c:v>0</c:v>
                </c:pt>
                <c:pt idx="18">
                  <c:v>0</c:v>
                </c:pt>
                <c:pt idx="19">
                  <c:v>188080</c:v>
                </c:pt>
                <c:pt idx="20">
                  <c:v>192880</c:v>
                </c:pt>
                <c:pt idx="21">
                  <c:v>20960</c:v>
                </c:pt>
                <c:pt idx="22">
                  <c:v>12760</c:v>
                </c:pt>
                <c:pt idx="23">
                  <c:v>14740</c:v>
                </c:pt>
                <c:pt idx="24">
                  <c:v>9060</c:v>
                </c:pt>
                <c:pt idx="25">
                  <c:v>36440</c:v>
                </c:pt>
                <c:pt idx="26">
                  <c:v>205220</c:v>
                </c:pt>
                <c:pt idx="27">
                  <c:v>200100</c:v>
                </c:pt>
                <c:pt idx="28">
                  <c:v>0</c:v>
                </c:pt>
                <c:pt idx="29">
                  <c:v>0</c:v>
                </c:pt>
                <c:pt idx="30">
                  <c:v>0</c:v>
                </c:pt>
                <c:pt idx="31">
                  <c:v>199540</c:v>
                </c:pt>
                <c:pt idx="32">
                  <c:v>221300</c:v>
                </c:pt>
                <c:pt idx="33">
                  <c:v>194440</c:v>
                </c:pt>
                <c:pt idx="34">
                  <c:v>203620</c:v>
                </c:pt>
                <c:pt idx="35">
                  <c:v>0</c:v>
                </c:pt>
                <c:pt idx="36">
                  <c:v>0</c:v>
                </c:pt>
                <c:pt idx="37">
                  <c:v>0</c:v>
                </c:pt>
                <c:pt idx="38">
                  <c:v>0</c:v>
                </c:pt>
                <c:pt idx="39">
                  <c:v>186640</c:v>
                </c:pt>
                <c:pt idx="40">
                  <c:v>180980</c:v>
                </c:pt>
                <c:pt idx="41">
                  <c:v>248520</c:v>
                </c:pt>
                <c:pt idx="42">
                  <c:v>0</c:v>
                </c:pt>
                <c:pt idx="43">
                  <c:v>0</c:v>
                </c:pt>
                <c:pt idx="44">
                  <c:v>320</c:v>
                </c:pt>
                <c:pt idx="45">
                  <c:v>166900</c:v>
                </c:pt>
                <c:pt idx="46">
                  <c:v>205340</c:v>
                </c:pt>
                <c:pt idx="47">
                  <c:v>205760</c:v>
                </c:pt>
                <c:pt idx="48">
                  <c:v>205740</c:v>
                </c:pt>
                <c:pt idx="49">
                  <c:v>780</c:v>
                </c:pt>
                <c:pt idx="50">
                  <c:v>120</c:v>
                </c:pt>
                <c:pt idx="51">
                  <c:v>60</c:v>
                </c:pt>
                <c:pt idx="52">
                  <c:v>125</c:v>
                </c:pt>
                <c:pt idx="53">
                  <c:v>9080</c:v>
                </c:pt>
                <c:pt idx="54">
                  <c:v>0</c:v>
                </c:pt>
                <c:pt idx="55">
                  <c:v>0</c:v>
                </c:pt>
                <c:pt idx="56">
                  <c:v>0</c:v>
                </c:pt>
                <c:pt idx="57">
                  <c:v>0</c:v>
                </c:pt>
                <c:pt idx="58">
                  <c:v>202860</c:v>
                </c:pt>
                <c:pt idx="59">
                  <c:v>198540</c:v>
                </c:pt>
                <c:pt idx="60">
                  <c:v>216920</c:v>
                </c:pt>
                <c:pt idx="61">
                  <c:v>229880</c:v>
                </c:pt>
                <c:pt idx="62">
                  <c:v>0</c:v>
                </c:pt>
                <c:pt idx="63">
                  <c:v>164320</c:v>
                </c:pt>
                <c:pt idx="64">
                  <c:v>120800</c:v>
                </c:pt>
                <c:pt idx="65">
                  <c:v>131820</c:v>
                </c:pt>
                <c:pt idx="66">
                  <c:v>157060</c:v>
                </c:pt>
                <c:pt idx="67">
                  <c:v>169650</c:v>
                </c:pt>
                <c:pt idx="68">
                  <c:v>173060</c:v>
                </c:pt>
                <c:pt idx="69">
                  <c:v>137660</c:v>
                </c:pt>
                <c:pt idx="70">
                  <c:v>158280</c:v>
                </c:pt>
                <c:pt idx="71">
                  <c:v>16600</c:v>
                </c:pt>
                <c:pt idx="72">
                  <c:v>3440</c:v>
                </c:pt>
                <c:pt idx="73">
                  <c:v>2560</c:v>
                </c:pt>
                <c:pt idx="74">
                  <c:v>3640</c:v>
                </c:pt>
                <c:pt idx="75">
                  <c:v>14530</c:v>
                </c:pt>
                <c:pt idx="76">
                  <c:v>20560</c:v>
                </c:pt>
                <c:pt idx="77">
                  <c:v>161840</c:v>
                </c:pt>
                <c:pt idx="78">
                  <c:v>0</c:v>
                </c:pt>
                <c:pt idx="79">
                  <c:v>0</c:v>
                </c:pt>
                <c:pt idx="80">
                  <c:v>148260</c:v>
                </c:pt>
                <c:pt idx="81">
                  <c:v>168920</c:v>
                </c:pt>
                <c:pt idx="82">
                  <c:v>148060</c:v>
                </c:pt>
                <c:pt idx="83">
                  <c:v>158980</c:v>
                </c:pt>
                <c:pt idx="84">
                  <c:v>180370</c:v>
                </c:pt>
                <c:pt idx="85">
                  <c:v>169620</c:v>
                </c:pt>
                <c:pt idx="86">
                  <c:v>169590</c:v>
                </c:pt>
                <c:pt idx="87">
                  <c:v>164760</c:v>
                </c:pt>
                <c:pt idx="88">
                  <c:v>170300</c:v>
                </c:pt>
                <c:pt idx="89">
                  <c:v>0</c:v>
                </c:pt>
                <c:pt idx="90">
                  <c:v>185160</c:v>
                </c:pt>
                <c:pt idx="91">
                  <c:v>154620</c:v>
                </c:pt>
                <c:pt idx="92">
                  <c:v>166860</c:v>
                </c:pt>
                <c:pt idx="93">
                  <c:v>0</c:v>
                </c:pt>
                <c:pt idx="94">
                  <c:v>175</c:v>
                </c:pt>
                <c:pt idx="95">
                  <c:v>500</c:v>
                </c:pt>
                <c:pt idx="96">
                  <c:v>20</c:v>
                </c:pt>
                <c:pt idx="97">
                  <c:v>40</c:v>
                </c:pt>
                <c:pt idx="98">
                  <c:v>30580</c:v>
                </c:pt>
                <c:pt idx="99">
                  <c:v>169160</c:v>
                </c:pt>
                <c:pt idx="100">
                  <c:v>163120</c:v>
                </c:pt>
                <c:pt idx="101">
                  <c:v>137480</c:v>
                </c:pt>
                <c:pt idx="102">
                  <c:v>17980</c:v>
                </c:pt>
                <c:pt idx="103">
                  <c:v>0</c:v>
                </c:pt>
                <c:pt idx="104">
                  <c:v>140</c:v>
                </c:pt>
                <c:pt idx="105">
                  <c:v>180</c:v>
                </c:pt>
              </c:numCache>
            </c:numRef>
          </c:val>
          <c:extLst>
            <c:ext xmlns:c16="http://schemas.microsoft.com/office/drawing/2014/chart" uri="{C3380CC4-5D6E-409C-BE32-E72D297353CC}">
              <c16:uniqueId val="{00000001-E3C4-46BC-AA3D-A3795B7CC7BA}"/>
            </c:ext>
          </c:extLst>
        </c:ser>
        <c:ser>
          <c:idx val="0"/>
          <c:order val="1"/>
          <c:tx>
            <c:strRef>
              <c:f>Sheet1!$C$1</c:f>
              <c:strCache>
                <c:ptCount val="1"/>
                <c:pt idx="0">
                  <c:v>Promo Volume</c:v>
                </c:pt>
              </c:strCache>
            </c:strRef>
          </c:tx>
          <c:spPr>
            <a:solidFill>
              <a:schemeClr val="accent3"/>
            </a:solidFill>
            <a:ln>
              <a:noFill/>
            </a:ln>
            <a:effectLst/>
          </c:spPr>
          <c:invertIfNegative val="0"/>
          <c:cat>
            <c:numRef>
              <c:f>Sheet1!$A$2:$A$107</c:f>
              <c:numCache>
                <c:formatCode>yyyy\-mm\-dd</c:formatCode>
                <c:ptCount val="106"/>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51</c:v>
                </c:pt>
                <c:pt idx="30">
                  <c:v>45158</c:v>
                </c:pt>
                <c:pt idx="31">
                  <c:v>45165</c:v>
                </c:pt>
                <c:pt idx="32">
                  <c:v>45172</c:v>
                </c:pt>
                <c:pt idx="33">
                  <c:v>45179</c:v>
                </c:pt>
                <c:pt idx="34">
                  <c:v>45186</c:v>
                </c:pt>
                <c:pt idx="35">
                  <c:v>45193</c:v>
                </c:pt>
                <c:pt idx="36">
                  <c:v>45200</c:v>
                </c:pt>
                <c:pt idx="37">
                  <c:v>45207</c:v>
                </c:pt>
                <c:pt idx="38">
                  <c:v>45214</c:v>
                </c:pt>
                <c:pt idx="39">
                  <c:v>45221</c:v>
                </c:pt>
                <c:pt idx="40">
                  <c:v>45228</c:v>
                </c:pt>
                <c:pt idx="41">
                  <c:v>45235</c:v>
                </c:pt>
                <c:pt idx="42">
                  <c:v>45242</c:v>
                </c:pt>
                <c:pt idx="43">
                  <c:v>45249</c:v>
                </c:pt>
                <c:pt idx="44">
                  <c:v>45256</c:v>
                </c:pt>
                <c:pt idx="45">
                  <c:v>45263</c:v>
                </c:pt>
                <c:pt idx="46">
                  <c:v>45270</c:v>
                </c:pt>
                <c:pt idx="47">
                  <c:v>45277</c:v>
                </c:pt>
                <c:pt idx="48">
                  <c:v>45284</c:v>
                </c:pt>
                <c:pt idx="49">
                  <c:v>45291</c:v>
                </c:pt>
                <c:pt idx="50">
                  <c:v>45298</c:v>
                </c:pt>
                <c:pt idx="51">
                  <c:v>45305</c:v>
                </c:pt>
                <c:pt idx="52">
                  <c:v>45312</c:v>
                </c:pt>
                <c:pt idx="53">
                  <c:v>45319</c:v>
                </c:pt>
                <c:pt idx="54">
                  <c:v>45326</c:v>
                </c:pt>
                <c:pt idx="55">
                  <c:v>45333</c:v>
                </c:pt>
                <c:pt idx="56">
                  <c:v>45340</c:v>
                </c:pt>
                <c:pt idx="57">
                  <c:v>45347</c:v>
                </c:pt>
                <c:pt idx="58">
                  <c:v>45354</c:v>
                </c:pt>
                <c:pt idx="59">
                  <c:v>45361</c:v>
                </c:pt>
                <c:pt idx="60">
                  <c:v>45368</c:v>
                </c:pt>
                <c:pt idx="61">
                  <c:v>45375</c:v>
                </c:pt>
                <c:pt idx="62">
                  <c:v>45382</c:v>
                </c:pt>
                <c:pt idx="63">
                  <c:v>45389</c:v>
                </c:pt>
                <c:pt idx="64">
                  <c:v>45396</c:v>
                </c:pt>
                <c:pt idx="65">
                  <c:v>45403</c:v>
                </c:pt>
                <c:pt idx="66">
                  <c:v>45410</c:v>
                </c:pt>
                <c:pt idx="67">
                  <c:v>45417</c:v>
                </c:pt>
                <c:pt idx="68">
                  <c:v>45424</c:v>
                </c:pt>
                <c:pt idx="69">
                  <c:v>45431</c:v>
                </c:pt>
                <c:pt idx="70">
                  <c:v>45438</c:v>
                </c:pt>
                <c:pt idx="71">
                  <c:v>45445</c:v>
                </c:pt>
                <c:pt idx="72">
                  <c:v>45452</c:v>
                </c:pt>
                <c:pt idx="73">
                  <c:v>45459</c:v>
                </c:pt>
                <c:pt idx="74">
                  <c:v>45466</c:v>
                </c:pt>
                <c:pt idx="75">
                  <c:v>45473</c:v>
                </c:pt>
                <c:pt idx="76">
                  <c:v>45480</c:v>
                </c:pt>
                <c:pt idx="77">
                  <c:v>45487</c:v>
                </c:pt>
                <c:pt idx="78">
                  <c:v>45494</c:v>
                </c:pt>
                <c:pt idx="79">
                  <c:v>45501</c:v>
                </c:pt>
                <c:pt idx="80">
                  <c:v>45508</c:v>
                </c:pt>
                <c:pt idx="81">
                  <c:v>45515</c:v>
                </c:pt>
                <c:pt idx="82">
                  <c:v>45522</c:v>
                </c:pt>
                <c:pt idx="83">
                  <c:v>45529</c:v>
                </c:pt>
                <c:pt idx="84">
                  <c:v>45536</c:v>
                </c:pt>
                <c:pt idx="85">
                  <c:v>45543</c:v>
                </c:pt>
                <c:pt idx="86">
                  <c:v>45550</c:v>
                </c:pt>
                <c:pt idx="87">
                  <c:v>45557</c:v>
                </c:pt>
                <c:pt idx="88">
                  <c:v>45564</c:v>
                </c:pt>
                <c:pt idx="89">
                  <c:v>45571</c:v>
                </c:pt>
                <c:pt idx="90">
                  <c:v>45578</c:v>
                </c:pt>
                <c:pt idx="91">
                  <c:v>45585</c:v>
                </c:pt>
                <c:pt idx="92">
                  <c:v>45592</c:v>
                </c:pt>
                <c:pt idx="93">
                  <c:v>45599</c:v>
                </c:pt>
                <c:pt idx="94">
                  <c:v>45606</c:v>
                </c:pt>
                <c:pt idx="95">
                  <c:v>45613</c:v>
                </c:pt>
                <c:pt idx="96">
                  <c:v>45620</c:v>
                </c:pt>
                <c:pt idx="97">
                  <c:v>45627</c:v>
                </c:pt>
                <c:pt idx="98">
                  <c:v>45634</c:v>
                </c:pt>
                <c:pt idx="99">
                  <c:v>45641</c:v>
                </c:pt>
                <c:pt idx="100">
                  <c:v>45648</c:v>
                </c:pt>
                <c:pt idx="101">
                  <c:v>45655</c:v>
                </c:pt>
                <c:pt idx="102">
                  <c:v>45662</c:v>
                </c:pt>
                <c:pt idx="103">
                  <c:v>45669</c:v>
                </c:pt>
                <c:pt idx="104">
                  <c:v>45676</c:v>
                </c:pt>
                <c:pt idx="105">
                  <c:v>45683</c:v>
                </c:pt>
              </c:numCache>
            </c:numRef>
          </c:cat>
          <c:val>
            <c:numRef>
              <c:f>Sheet1!$C$2:$C$107</c:f>
              <c:numCache>
                <c:formatCode>General</c:formatCode>
                <c:ptCount val="106"/>
                <c:pt idx="0">
                  <c:v>82385</c:v>
                </c:pt>
                <c:pt idx="1">
                  <c:v>37785</c:v>
                </c:pt>
                <c:pt idx="2">
                  <c:v>32565</c:v>
                </c:pt>
                <c:pt idx="3">
                  <c:v>80990</c:v>
                </c:pt>
                <c:pt idx="4">
                  <c:v>0</c:v>
                </c:pt>
                <c:pt idx="5">
                  <c:v>0</c:v>
                </c:pt>
                <c:pt idx="6">
                  <c:v>0</c:v>
                </c:pt>
                <c:pt idx="7">
                  <c:v>0</c:v>
                </c:pt>
                <c:pt idx="8">
                  <c:v>0</c:v>
                </c:pt>
                <c:pt idx="9">
                  <c:v>85445</c:v>
                </c:pt>
                <c:pt idx="10">
                  <c:v>131080</c:v>
                </c:pt>
                <c:pt idx="11">
                  <c:v>106425</c:v>
                </c:pt>
                <c:pt idx="12">
                  <c:v>94670</c:v>
                </c:pt>
                <c:pt idx="13">
                  <c:v>81835</c:v>
                </c:pt>
                <c:pt idx="14">
                  <c:v>89265</c:v>
                </c:pt>
                <c:pt idx="15">
                  <c:v>107720</c:v>
                </c:pt>
                <c:pt idx="16">
                  <c:v>2820</c:v>
                </c:pt>
                <c:pt idx="17">
                  <c:v>0</c:v>
                </c:pt>
                <c:pt idx="18">
                  <c:v>0</c:v>
                </c:pt>
                <c:pt idx="19">
                  <c:v>78975</c:v>
                </c:pt>
                <c:pt idx="20">
                  <c:v>94165</c:v>
                </c:pt>
                <c:pt idx="21">
                  <c:v>293260</c:v>
                </c:pt>
                <c:pt idx="22">
                  <c:v>374525</c:v>
                </c:pt>
                <c:pt idx="23">
                  <c:v>375095</c:v>
                </c:pt>
                <c:pt idx="24">
                  <c:v>369045</c:v>
                </c:pt>
                <c:pt idx="25">
                  <c:v>337830</c:v>
                </c:pt>
                <c:pt idx="26">
                  <c:v>74925</c:v>
                </c:pt>
                <c:pt idx="27">
                  <c:v>61380</c:v>
                </c:pt>
                <c:pt idx="28">
                  <c:v>0</c:v>
                </c:pt>
                <c:pt idx="29">
                  <c:v>0</c:v>
                </c:pt>
                <c:pt idx="30">
                  <c:v>0</c:v>
                </c:pt>
                <c:pt idx="31">
                  <c:v>92610</c:v>
                </c:pt>
                <c:pt idx="32">
                  <c:v>70190</c:v>
                </c:pt>
                <c:pt idx="33">
                  <c:v>90505</c:v>
                </c:pt>
                <c:pt idx="34">
                  <c:v>59355</c:v>
                </c:pt>
                <c:pt idx="35">
                  <c:v>0</c:v>
                </c:pt>
                <c:pt idx="36">
                  <c:v>0</c:v>
                </c:pt>
                <c:pt idx="37">
                  <c:v>0</c:v>
                </c:pt>
                <c:pt idx="38">
                  <c:v>0</c:v>
                </c:pt>
                <c:pt idx="39">
                  <c:v>81380</c:v>
                </c:pt>
                <c:pt idx="40">
                  <c:v>101315</c:v>
                </c:pt>
                <c:pt idx="41">
                  <c:v>82960</c:v>
                </c:pt>
                <c:pt idx="42">
                  <c:v>370715</c:v>
                </c:pt>
                <c:pt idx="43">
                  <c:v>347800</c:v>
                </c:pt>
                <c:pt idx="44">
                  <c:v>306190</c:v>
                </c:pt>
                <c:pt idx="45">
                  <c:v>87065</c:v>
                </c:pt>
                <c:pt idx="46">
                  <c:v>69520</c:v>
                </c:pt>
                <c:pt idx="47">
                  <c:v>65215</c:v>
                </c:pt>
                <c:pt idx="48">
                  <c:v>95400</c:v>
                </c:pt>
                <c:pt idx="49">
                  <c:v>256870</c:v>
                </c:pt>
                <c:pt idx="50">
                  <c:v>362385</c:v>
                </c:pt>
                <c:pt idx="51">
                  <c:v>379230</c:v>
                </c:pt>
                <c:pt idx="52">
                  <c:v>348940</c:v>
                </c:pt>
                <c:pt idx="53">
                  <c:v>300020</c:v>
                </c:pt>
                <c:pt idx="54">
                  <c:v>0</c:v>
                </c:pt>
                <c:pt idx="55">
                  <c:v>0</c:v>
                </c:pt>
                <c:pt idx="56">
                  <c:v>0</c:v>
                </c:pt>
                <c:pt idx="57">
                  <c:v>0</c:v>
                </c:pt>
                <c:pt idx="58">
                  <c:v>69880</c:v>
                </c:pt>
                <c:pt idx="59">
                  <c:v>90165</c:v>
                </c:pt>
                <c:pt idx="60">
                  <c:v>65135</c:v>
                </c:pt>
                <c:pt idx="61">
                  <c:v>24340</c:v>
                </c:pt>
                <c:pt idx="62">
                  <c:v>0</c:v>
                </c:pt>
                <c:pt idx="63">
                  <c:v>86355</c:v>
                </c:pt>
                <c:pt idx="64">
                  <c:v>200865</c:v>
                </c:pt>
                <c:pt idx="65">
                  <c:v>188060</c:v>
                </c:pt>
                <c:pt idx="66">
                  <c:v>104420</c:v>
                </c:pt>
                <c:pt idx="67">
                  <c:v>54460</c:v>
                </c:pt>
                <c:pt idx="68">
                  <c:v>37460</c:v>
                </c:pt>
                <c:pt idx="69">
                  <c:v>63420</c:v>
                </c:pt>
                <c:pt idx="70">
                  <c:v>56845</c:v>
                </c:pt>
                <c:pt idx="71">
                  <c:v>213695</c:v>
                </c:pt>
                <c:pt idx="72">
                  <c:v>288120</c:v>
                </c:pt>
                <c:pt idx="73">
                  <c:v>286380</c:v>
                </c:pt>
                <c:pt idx="74">
                  <c:v>280440</c:v>
                </c:pt>
                <c:pt idx="75">
                  <c:v>278160</c:v>
                </c:pt>
                <c:pt idx="76">
                  <c:v>257200</c:v>
                </c:pt>
                <c:pt idx="77">
                  <c:v>26580</c:v>
                </c:pt>
                <c:pt idx="78">
                  <c:v>0</c:v>
                </c:pt>
                <c:pt idx="79">
                  <c:v>0</c:v>
                </c:pt>
                <c:pt idx="80">
                  <c:v>53250</c:v>
                </c:pt>
                <c:pt idx="81">
                  <c:v>66225</c:v>
                </c:pt>
                <c:pt idx="82">
                  <c:v>77510</c:v>
                </c:pt>
                <c:pt idx="83">
                  <c:v>63095</c:v>
                </c:pt>
                <c:pt idx="84">
                  <c:v>13520</c:v>
                </c:pt>
                <c:pt idx="85">
                  <c:v>14580</c:v>
                </c:pt>
                <c:pt idx="86">
                  <c:v>13440</c:v>
                </c:pt>
                <c:pt idx="87">
                  <c:v>14500</c:v>
                </c:pt>
                <c:pt idx="88">
                  <c:v>15360</c:v>
                </c:pt>
                <c:pt idx="89">
                  <c:v>0</c:v>
                </c:pt>
                <c:pt idx="90">
                  <c:v>910</c:v>
                </c:pt>
                <c:pt idx="91">
                  <c:v>53165</c:v>
                </c:pt>
                <c:pt idx="92">
                  <c:v>68325</c:v>
                </c:pt>
                <c:pt idx="93">
                  <c:v>285865</c:v>
                </c:pt>
                <c:pt idx="94">
                  <c:v>313980</c:v>
                </c:pt>
                <c:pt idx="95">
                  <c:v>296770</c:v>
                </c:pt>
                <c:pt idx="96">
                  <c:v>289345</c:v>
                </c:pt>
                <c:pt idx="97">
                  <c:v>266660</c:v>
                </c:pt>
                <c:pt idx="98">
                  <c:v>205270</c:v>
                </c:pt>
                <c:pt idx="99">
                  <c:v>58285</c:v>
                </c:pt>
                <c:pt idx="100">
                  <c:v>84160</c:v>
                </c:pt>
                <c:pt idx="101">
                  <c:v>76150</c:v>
                </c:pt>
                <c:pt idx="102">
                  <c:v>232055</c:v>
                </c:pt>
                <c:pt idx="103">
                  <c:v>404220</c:v>
                </c:pt>
                <c:pt idx="104">
                  <c:v>424980</c:v>
                </c:pt>
                <c:pt idx="105">
                  <c:v>386300</c:v>
                </c:pt>
              </c:numCache>
            </c:numRef>
          </c:val>
          <c:extLst>
            <c:ext xmlns:c16="http://schemas.microsoft.com/office/drawing/2014/chart" uri="{C3380CC4-5D6E-409C-BE32-E72D297353CC}">
              <c16:uniqueId val="{00000000-E3C4-46BC-AA3D-A3795B7CC7B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yyyy\-mm\-dd"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7</c:f>
              <c:numCache>
                <c:formatCode>yyyy\-mm\-dd</c:formatCode>
                <c:ptCount val="106"/>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51</c:v>
                </c:pt>
                <c:pt idx="30">
                  <c:v>45158</c:v>
                </c:pt>
                <c:pt idx="31">
                  <c:v>45165</c:v>
                </c:pt>
                <c:pt idx="32">
                  <c:v>45172</c:v>
                </c:pt>
                <c:pt idx="33">
                  <c:v>45179</c:v>
                </c:pt>
                <c:pt idx="34">
                  <c:v>45186</c:v>
                </c:pt>
                <c:pt idx="35">
                  <c:v>45193</c:v>
                </c:pt>
                <c:pt idx="36">
                  <c:v>45200</c:v>
                </c:pt>
                <c:pt idx="37">
                  <c:v>45207</c:v>
                </c:pt>
                <c:pt idx="38">
                  <c:v>45214</c:v>
                </c:pt>
                <c:pt idx="39">
                  <c:v>45221</c:v>
                </c:pt>
                <c:pt idx="40">
                  <c:v>45228</c:v>
                </c:pt>
                <c:pt idx="41">
                  <c:v>45235</c:v>
                </c:pt>
                <c:pt idx="42">
                  <c:v>45242</c:v>
                </c:pt>
                <c:pt idx="43">
                  <c:v>45249</c:v>
                </c:pt>
                <c:pt idx="44">
                  <c:v>45256</c:v>
                </c:pt>
                <c:pt idx="45">
                  <c:v>45263</c:v>
                </c:pt>
                <c:pt idx="46">
                  <c:v>45270</c:v>
                </c:pt>
                <c:pt idx="47">
                  <c:v>45277</c:v>
                </c:pt>
                <c:pt idx="48">
                  <c:v>45284</c:v>
                </c:pt>
                <c:pt idx="49">
                  <c:v>45291</c:v>
                </c:pt>
                <c:pt idx="50">
                  <c:v>45298</c:v>
                </c:pt>
                <c:pt idx="51">
                  <c:v>45305</c:v>
                </c:pt>
                <c:pt idx="52">
                  <c:v>45312</c:v>
                </c:pt>
                <c:pt idx="53">
                  <c:v>45319</c:v>
                </c:pt>
                <c:pt idx="54">
                  <c:v>45326</c:v>
                </c:pt>
                <c:pt idx="55">
                  <c:v>45333</c:v>
                </c:pt>
                <c:pt idx="56">
                  <c:v>45340</c:v>
                </c:pt>
                <c:pt idx="57">
                  <c:v>45347</c:v>
                </c:pt>
                <c:pt idx="58">
                  <c:v>45354</c:v>
                </c:pt>
                <c:pt idx="59">
                  <c:v>45361</c:v>
                </c:pt>
                <c:pt idx="60">
                  <c:v>45368</c:v>
                </c:pt>
                <c:pt idx="61">
                  <c:v>45375</c:v>
                </c:pt>
                <c:pt idx="62">
                  <c:v>45382</c:v>
                </c:pt>
                <c:pt idx="63">
                  <c:v>45389</c:v>
                </c:pt>
                <c:pt idx="64">
                  <c:v>45396</c:v>
                </c:pt>
                <c:pt idx="65">
                  <c:v>45403</c:v>
                </c:pt>
                <c:pt idx="66">
                  <c:v>45410</c:v>
                </c:pt>
                <c:pt idx="67">
                  <c:v>45417</c:v>
                </c:pt>
                <c:pt idx="68">
                  <c:v>45424</c:v>
                </c:pt>
                <c:pt idx="69">
                  <c:v>45431</c:v>
                </c:pt>
                <c:pt idx="70">
                  <c:v>45438</c:v>
                </c:pt>
                <c:pt idx="71">
                  <c:v>45445</c:v>
                </c:pt>
                <c:pt idx="72">
                  <c:v>45452</c:v>
                </c:pt>
                <c:pt idx="73">
                  <c:v>45459</c:v>
                </c:pt>
                <c:pt idx="74">
                  <c:v>45466</c:v>
                </c:pt>
                <c:pt idx="75">
                  <c:v>45473</c:v>
                </c:pt>
                <c:pt idx="76">
                  <c:v>45480</c:v>
                </c:pt>
                <c:pt idx="77">
                  <c:v>45487</c:v>
                </c:pt>
                <c:pt idx="78">
                  <c:v>45494</c:v>
                </c:pt>
                <c:pt idx="79">
                  <c:v>45501</c:v>
                </c:pt>
                <c:pt idx="80">
                  <c:v>45508</c:v>
                </c:pt>
                <c:pt idx="81">
                  <c:v>45515</c:v>
                </c:pt>
                <c:pt idx="82">
                  <c:v>45522</c:v>
                </c:pt>
                <c:pt idx="83">
                  <c:v>45529</c:v>
                </c:pt>
                <c:pt idx="84">
                  <c:v>45536</c:v>
                </c:pt>
                <c:pt idx="85">
                  <c:v>45543</c:v>
                </c:pt>
                <c:pt idx="86">
                  <c:v>45550</c:v>
                </c:pt>
                <c:pt idx="87">
                  <c:v>45557</c:v>
                </c:pt>
                <c:pt idx="88">
                  <c:v>45564</c:v>
                </c:pt>
                <c:pt idx="89">
                  <c:v>45571</c:v>
                </c:pt>
                <c:pt idx="90">
                  <c:v>45578</c:v>
                </c:pt>
                <c:pt idx="91">
                  <c:v>45585</c:v>
                </c:pt>
                <c:pt idx="92">
                  <c:v>45592</c:v>
                </c:pt>
                <c:pt idx="93">
                  <c:v>45599</c:v>
                </c:pt>
                <c:pt idx="94">
                  <c:v>45606</c:v>
                </c:pt>
                <c:pt idx="95">
                  <c:v>45613</c:v>
                </c:pt>
                <c:pt idx="96">
                  <c:v>45620</c:v>
                </c:pt>
                <c:pt idx="97">
                  <c:v>45627</c:v>
                </c:pt>
                <c:pt idx="98">
                  <c:v>45634</c:v>
                </c:pt>
                <c:pt idx="99">
                  <c:v>45641</c:v>
                </c:pt>
                <c:pt idx="100">
                  <c:v>45648</c:v>
                </c:pt>
                <c:pt idx="101">
                  <c:v>45655</c:v>
                </c:pt>
                <c:pt idx="102">
                  <c:v>45662</c:v>
                </c:pt>
                <c:pt idx="103">
                  <c:v>45669</c:v>
                </c:pt>
                <c:pt idx="104">
                  <c:v>45676</c:v>
                </c:pt>
                <c:pt idx="105">
                  <c:v>45683</c:v>
                </c:pt>
              </c:numCache>
            </c:numRef>
          </c:cat>
          <c:val>
            <c:numRef>
              <c:f>Sheet1!$B$2:$B$107</c:f>
              <c:numCache>
                <c:formatCode>General</c:formatCode>
                <c:ptCount val="106"/>
                <c:pt idx="0">
                  <c:v>445911</c:v>
                </c:pt>
                <c:pt idx="1">
                  <c:v>441986</c:v>
                </c:pt>
                <c:pt idx="2">
                  <c:v>434209</c:v>
                </c:pt>
                <c:pt idx="3">
                  <c:v>417587</c:v>
                </c:pt>
                <c:pt idx="4">
                  <c:v>431550</c:v>
                </c:pt>
                <c:pt idx="5">
                  <c:v>434905</c:v>
                </c:pt>
                <c:pt idx="6">
                  <c:v>416163</c:v>
                </c:pt>
                <c:pt idx="7">
                  <c:v>419733</c:v>
                </c:pt>
                <c:pt idx="8">
                  <c:v>449014</c:v>
                </c:pt>
                <c:pt idx="9">
                  <c:v>423226</c:v>
                </c:pt>
                <c:pt idx="10">
                  <c:v>404552</c:v>
                </c:pt>
                <c:pt idx="11">
                  <c:v>411834</c:v>
                </c:pt>
                <c:pt idx="12">
                  <c:v>442767</c:v>
                </c:pt>
                <c:pt idx="13">
                  <c:v>451584</c:v>
                </c:pt>
                <c:pt idx="14">
                  <c:v>385808</c:v>
                </c:pt>
                <c:pt idx="15">
                  <c:v>432512</c:v>
                </c:pt>
                <c:pt idx="16">
                  <c:v>442302</c:v>
                </c:pt>
                <c:pt idx="17">
                  <c:v>481458</c:v>
                </c:pt>
                <c:pt idx="18">
                  <c:v>452303</c:v>
                </c:pt>
                <c:pt idx="19">
                  <c:v>448738</c:v>
                </c:pt>
                <c:pt idx="20">
                  <c:v>478601</c:v>
                </c:pt>
                <c:pt idx="21">
                  <c:v>497958</c:v>
                </c:pt>
                <c:pt idx="22">
                  <c:v>506192</c:v>
                </c:pt>
                <c:pt idx="23">
                  <c:v>489588</c:v>
                </c:pt>
                <c:pt idx="24">
                  <c:v>477075</c:v>
                </c:pt>
                <c:pt idx="25">
                  <c:v>493300</c:v>
                </c:pt>
                <c:pt idx="26">
                  <c:v>0</c:v>
                </c:pt>
                <c:pt idx="27">
                  <c:v>0</c:v>
                </c:pt>
                <c:pt idx="28">
                  <c:v>424994</c:v>
                </c:pt>
                <c:pt idx="29">
                  <c:v>335267</c:v>
                </c:pt>
                <c:pt idx="30">
                  <c:v>119831</c:v>
                </c:pt>
                <c:pt idx="31">
                  <c:v>101776</c:v>
                </c:pt>
                <c:pt idx="32">
                  <c:v>100955</c:v>
                </c:pt>
                <c:pt idx="33">
                  <c:v>107664</c:v>
                </c:pt>
                <c:pt idx="34">
                  <c:v>104514</c:v>
                </c:pt>
                <c:pt idx="35">
                  <c:v>104757</c:v>
                </c:pt>
                <c:pt idx="36">
                  <c:v>107169</c:v>
                </c:pt>
                <c:pt idx="37">
                  <c:v>112322</c:v>
                </c:pt>
                <c:pt idx="38">
                  <c:v>104298</c:v>
                </c:pt>
                <c:pt idx="39">
                  <c:v>106578</c:v>
                </c:pt>
                <c:pt idx="40">
                  <c:v>108810</c:v>
                </c:pt>
                <c:pt idx="41">
                  <c:v>496957</c:v>
                </c:pt>
                <c:pt idx="42">
                  <c:v>493344</c:v>
                </c:pt>
                <c:pt idx="43">
                  <c:v>448622</c:v>
                </c:pt>
                <c:pt idx="44">
                  <c:v>410695</c:v>
                </c:pt>
                <c:pt idx="45">
                  <c:v>447917</c:v>
                </c:pt>
                <c:pt idx="46">
                  <c:v>448781</c:v>
                </c:pt>
                <c:pt idx="47">
                  <c:v>458663</c:v>
                </c:pt>
                <c:pt idx="48">
                  <c:v>497972</c:v>
                </c:pt>
                <c:pt idx="49">
                  <c:v>378868</c:v>
                </c:pt>
                <c:pt idx="50">
                  <c:v>432353</c:v>
                </c:pt>
                <c:pt idx="51">
                  <c:v>382225</c:v>
                </c:pt>
                <c:pt idx="52">
                  <c:v>402282</c:v>
                </c:pt>
                <c:pt idx="53">
                  <c:v>437517</c:v>
                </c:pt>
                <c:pt idx="54">
                  <c:v>445335</c:v>
                </c:pt>
                <c:pt idx="55">
                  <c:v>435631</c:v>
                </c:pt>
                <c:pt idx="56">
                  <c:v>369806</c:v>
                </c:pt>
                <c:pt idx="57">
                  <c:v>344945</c:v>
                </c:pt>
                <c:pt idx="58">
                  <c:v>400043</c:v>
                </c:pt>
                <c:pt idx="59">
                  <c:v>431297</c:v>
                </c:pt>
                <c:pt idx="60">
                  <c:v>413478</c:v>
                </c:pt>
                <c:pt idx="61">
                  <c:v>343873</c:v>
                </c:pt>
                <c:pt idx="62">
                  <c:v>378174</c:v>
                </c:pt>
                <c:pt idx="63">
                  <c:v>376893</c:v>
                </c:pt>
                <c:pt idx="64">
                  <c:v>357433</c:v>
                </c:pt>
                <c:pt idx="65">
                  <c:v>350317</c:v>
                </c:pt>
                <c:pt idx="66">
                  <c:v>358281</c:v>
                </c:pt>
                <c:pt idx="67">
                  <c:v>380698</c:v>
                </c:pt>
                <c:pt idx="68">
                  <c:v>383622</c:v>
                </c:pt>
                <c:pt idx="69">
                  <c:v>354303</c:v>
                </c:pt>
                <c:pt idx="70">
                  <c:v>389481</c:v>
                </c:pt>
                <c:pt idx="71">
                  <c:v>457501</c:v>
                </c:pt>
                <c:pt idx="72">
                  <c:v>496494</c:v>
                </c:pt>
                <c:pt idx="73">
                  <c:v>461475</c:v>
                </c:pt>
                <c:pt idx="74">
                  <c:v>462595</c:v>
                </c:pt>
                <c:pt idx="75">
                  <c:v>460993</c:v>
                </c:pt>
                <c:pt idx="76">
                  <c:v>497335</c:v>
                </c:pt>
                <c:pt idx="77">
                  <c:v>450335</c:v>
                </c:pt>
                <c:pt idx="78">
                  <c:v>440143</c:v>
                </c:pt>
                <c:pt idx="79">
                  <c:v>433984</c:v>
                </c:pt>
                <c:pt idx="80">
                  <c:v>454347</c:v>
                </c:pt>
                <c:pt idx="81">
                  <c:v>461380</c:v>
                </c:pt>
                <c:pt idx="82">
                  <c:v>457336</c:v>
                </c:pt>
                <c:pt idx="83">
                  <c:v>453474</c:v>
                </c:pt>
                <c:pt idx="84">
                  <c:v>450995</c:v>
                </c:pt>
                <c:pt idx="85">
                  <c:v>462887</c:v>
                </c:pt>
                <c:pt idx="86">
                  <c:v>432403</c:v>
                </c:pt>
                <c:pt idx="87">
                  <c:v>432241</c:v>
                </c:pt>
                <c:pt idx="88">
                  <c:v>413369</c:v>
                </c:pt>
                <c:pt idx="89">
                  <c:v>448846</c:v>
                </c:pt>
                <c:pt idx="90">
                  <c:v>347986</c:v>
                </c:pt>
                <c:pt idx="91">
                  <c:v>342606</c:v>
                </c:pt>
                <c:pt idx="92">
                  <c:v>380482</c:v>
                </c:pt>
                <c:pt idx="93">
                  <c:v>436493</c:v>
                </c:pt>
                <c:pt idx="94">
                  <c:v>450671</c:v>
                </c:pt>
                <c:pt idx="95">
                  <c:v>408268</c:v>
                </c:pt>
                <c:pt idx="96">
                  <c:v>353256</c:v>
                </c:pt>
                <c:pt idx="97">
                  <c:v>287669</c:v>
                </c:pt>
                <c:pt idx="98">
                  <c:v>302999</c:v>
                </c:pt>
                <c:pt idx="99">
                  <c:v>346731</c:v>
                </c:pt>
                <c:pt idx="100">
                  <c:v>395528</c:v>
                </c:pt>
                <c:pt idx="101">
                  <c:v>339216</c:v>
                </c:pt>
                <c:pt idx="102">
                  <c:v>357984</c:v>
                </c:pt>
                <c:pt idx="103">
                  <c:v>337329</c:v>
                </c:pt>
                <c:pt idx="104">
                  <c:v>355256</c:v>
                </c:pt>
                <c:pt idx="105">
                  <c:v>319339</c:v>
                </c:pt>
              </c:numCache>
            </c:numRef>
          </c:val>
          <c:extLst>
            <c:ext xmlns:c16="http://schemas.microsoft.com/office/drawing/2014/chart" uri="{C3380CC4-5D6E-409C-BE32-E72D297353CC}">
              <c16:uniqueId val="{00000000-72A7-4D08-96D7-E73109FBDC9A}"/>
            </c:ext>
          </c:extLst>
        </c:ser>
        <c:ser>
          <c:idx val="0"/>
          <c:order val="1"/>
          <c:tx>
            <c:strRef>
              <c:f>Sheet1!$C$1</c:f>
              <c:strCache>
                <c:ptCount val="1"/>
                <c:pt idx="0">
                  <c:v>Promo Volume</c:v>
                </c:pt>
              </c:strCache>
            </c:strRef>
          </c:tx>
          <c:spPr>
            <a:solidFill>
              <a:schemeClr val="accent3"/>
            </a:solidFill>
            <a:ln>
              <a:noFill/>
            </a:ln>
            <a:effectLst/>
          </c:spPr>
          <c:invertIfNegative val="0"/>
          <c:cat>
            <c:numRef>
              <c:f>Sheet1!$A$2:$A$107</c:f>
              <c:numCache>
                <c:formatCode>yyyy\-mm\-dd</c:formatCode>
                <c:ptCount val="106"/>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30</c:v>
                </c:pt>
                <c:pt idx="29">
                  <c:v>45151</c:v>
                </c:pt>
                <c:pt idx="30">
                  <c:v>45158</c:v>
                </c:pt>
                <c:pt idx="31">
                  <c:v>45165</c:v>
                </c:pt>
                <c:pt idx="32">
                  <c:v>45172</c:v>
                </c:pt>
                <c:pt idx="33">
                  <c:v>45179</c:v>
                </c:pt>
                <c:pt idx="34">
                  <c:v>45186</c:v>
                </c:pt>
                <c:pt idx="35">
                  <c:v>45193</c:v>
                </c:pt>
                <c:pt idx="36">
                  <c:v>45200</c:v>
                </c:pt>
                <c:pt idx="37">
                  <c:v>45207</c:v>
                </c:pt>
                <c:pt idx="38">
                  <c:v>45214</c:v>
                </c:pt>
                <c:pt idx="39">
                  <c:v>45221</c:v>
                </c:pt>
                <c:pt idx="40">
                  <c:v>45228</c:v>
                </c:pt>
                <c:pt idx="41">
                  <c:v>45235</c:v>
                </c:pt>
                <c:pt idx="42">
                  <c:v>45242</c:v>
                </c:pt>
                <c:pt idx="43">
                  <c:v>45249</c:v>
                </c:pt>
                <c:pt idx="44">
                  <c:v>45256</c:v>
                </c:pt>
                <c:pt idx="45">
                  <c:v>45263</c:v>
                </c:pt>
                <c:pt idx="46">
                  <c:v>45270</c:v>
                </c:pt>
                <c:pt idx="47">
                  <c:v>45277</c:v>
                </c:pt>
                <c:pt idx="48">
                  <c:v>45284</c:v>
                </c:pt>
                <c:pt idx="49">
                  <c:v>45291</c:v>
                </c:pt>
                <c:pt idx="50">
                  <c:v>45298</c:v>
                </c:pt>
                <c:pt idx="51">
                  <c:v>45305</c:v>
                </c:pt>
                <c:pt idx="52">
                  <c:v>45312</c:v>
                </c:pt>
                <c:pt idx="53">
                  <c:v>45319</c:v>
                </c:pt>
                <c:pt idx="54">
                  <c:v>45326</c:v>
                </c:pt>
                <c:pt idx="55">
                  <c:v>45333</c:v>
                </c:pt>
                <c:pt idx="56">
                  <c:v>45340</c:v>
                </c:pt>
                <c:pt idx="57">
                  <c:v>45347</c:v>
                </c:pt>
                <c:pt idx="58">
                  <c:v>45354</c:v>
                </c:pt>
                <c:pt idx="59">
                  <c:v>45361</c:v>
                </c:pt>
                <c:pt idx="60">
                  <c:v>45368</c:v>
                </c:pt>
                <c:pt idx="61">
                  <c:v>45375</c:v>
                </c:pt>
                <c:pt idx="62">
                  <c:v>45382</c:v>
                </c:pt>
                <c:pt idx="63">
                  <c:v>45389</c:v>
                </c:pt>
                <c:pt idx="64">
                  <c:v>45396</c:v>
                </c:pt>
                <c:pt idx="65">
                  <c:v>45403</c:v>
                </c:pt>
                <c:pt idx="66">
                  <c:v>45410</c:v>
                </c:pt>
                <c:pt idx="67">
                  <c:v>45417</c:v>
                </c:pt>
                <c:pt idx="68">
                  <c:v>45424</c:v>
                </c:pt>
                <c:pt idx="69">
                  <c:v>45431</c:v>
                </c:pt>
                <c:pt idx="70">
                  <c:v>45438</c:v>
                </c:pt>
                <c:pt idx="71">
                  <c:v>45445</c:v>
                </c:pt>
                <c:pt idx="72">
                  <c:v>45452</c:v>
                </c:pt>
                <c:pt idx="73">
                  <c:v>45459</c:v>
                </c:pt>
                <c:pt idx="74">
                  <c:v>45466</c:v>
                </c:pt>
                <c:pt idx="75">
                  <c:v>45473</c:v>
                </c:pt>
                <c:pt idx="76">
                  <c:v>45480</c:v>
                </c:pt>
                <c:pt idx="77">
                  <c:v>45487</c:v>
                </c:pt>
                <c:pt idx="78">
                  <c:v>45494</c:v>
                </c:pt>
                <c:pt idx="79">
                  <c:v>45501</c:v>
                </c:pt>
                <c:pt idx="80">
                  <c:v>45508</c:v>
                </c:pt>
                <c:pt idx="81">
                  <c:v>45515</c:v>
                </c:pt>
                <c:pt idx="82">
                  <c:v>45522</c:v>
                </c:pt>
                <c:pt idx="83">
                  <c:v>45529</c:v>
                </c:pt>
                <c:pt idx="84">
                  <c:v>45536</c:v>
                </c:pt>
                <c:pt idx="85">
                  <c:v>45543</c:v>
                </c:pt>
                <c:pt idx="86">
                  <c:v>45550</c:v>
                </c:pt>
                <c:pt idx="87">
                  <c:v>45557</c:v>
                </c:pt>
                <c:pt idx="88">
                  <c:v>45564</c:v>
                </c:pt>
                <c:pt idx="89">
                  <c:v>45571</c:v>
                </c:pt>
                <c:pt idx="90">
                  <c:v>45578</c:v>
                </c:pt>
                <c:pt idx="91">
                  <c:v>45585</c:v>
                </c:pt>
                <c:pt idx="92">
                  <c:v>45592</c:v>
                </c:pt>
                <c:pt idx="93">
                  <c:v>45599</c:v>
                </c:pt>
                <c:pt idx="94">
                  <c:v>45606</c:v>
                </c:pt>
                <c:pt idx="95">
                  <c:v>45613</c:v>
                </c:pt>
                <c:pt idx="96">
                  <c:v>45620</c:v>
                </c:pt>
                <c:pt idx="97">
                  <c:v>45627</c:v>
                </c:pt>
                <c:pt idx="98">
                  <c:v>45634</c:v>
                </c:pt>
                <c:pt idx="99">
                  <c:v>45641</c:v>
                </c:pt>
                <c:pt idx="100">
                  <c:v>45648</c:v>
                </c:pt>
                <c:pt idx="101">
                  <c:v>45655</c:v>
                </c:pt>
                <c:pt idx="102">
                  <c:v>45662</c:v>
                </c:pt>
                <c:pt idx="103">
                  <c:v>45669</c:v>
                </c:pt>
                <c:pt idx="104">
                  <c:v>45676</c:v>
                </c:pt>
                <c:pt idx="105">
                  <c:v>45683</c:v>
                </c:pt>
              </c:numCache>
            </c:numRef>
          </c:cat>
          <c:val>
            <c:numRef>
              <c:f>Sheet1!$C$2:$C$107</c:f>
              <c:numCache>
                <c:formatCode>General</c:formatCode>
                <c:ptCount val="106"/>
                <c:pt idx="0">
                  <c:v>112185</c:v>
                </c:pt>
                <c:pt idx="1">
                  <c:v>80746</c:v>
                </c:pt>
                <c:pt idx="2">
                  <c:v>82014</c:v>
                </c:pt>
                <c:pt idx="3">
                  <c:v>54784</c:v>
                </c:pt>
                <c:pt idx="4">
                  <c:v>44745</c:v>
                </c:pt>
                <c:pt idx="5">
                  <c:v>53000</c:v>
                </c:pt>
                <c:pt idx="6">
                  <c:v>58130</c:v>
                </c:pt>
                <c:pt idx="7">
                  <c:v>99523</c:v>
                </c:pt>
                <c:pt idx="8">
                  <c:v>75798</c:v>
                </c:pt>
                <c:pt idx="9">
                  <c:v>70561</c:v>
                </c:pt>
                <c:pt idx="10">
                  <c:v>74615</c:v>
                </c:pt>
                <c:pt idx="11">
                  <c:v>85430</c:v>
                </c:pt>
                <c:pt idx="12">
                  <c:v>14154</c:v>
                </c:pt>
                <c:pt idx="13">
                  <c:v>48383</c:v>
                </c:pt>
                <c:pt idx="14">
                  <c:v>67934</c:v>
                </c:pt>
                <c:pt idx="15">
                  <c:v>68705</c:v>
                </c:pt>
                <c:pt idx="16">
                  <c:v>18432</c:v>
                </c:pt>
                <c:pt idx="17">
                  <c:v>5089</c:v>
                </c:pt>
                <c:pt idx="18">
                  <c:v>3401</c:v>
                </c:pt>
                <c:pt idx="19">
                  <c:v>2687</c:v>
                </c:pt>
                <c:pt idx="20">
                  <c:v>3307</c:v>
                </c:pt>
                <c:pt idx="21">
                  <c:v>2430</c:v>
                </c:pt>
                <c:pt idx="22">
                  <c:v>1991</c:v>
                </c:pt>
                <c:pt idx="23">
                  <c:v>1280</c:v>
                </c:pt>
                <c:pt idx="24">
                  <c:v>2517</c:v>
                </c:pt>
                <c:pt idx="25">
                  <c:v>3188</c:v>
                </c:pt>
                <c:pt idx="26">
                  <c:v>0</c:v>
                </c:pt>
                <c:pt idx="27">
                  <c:v>0</c:v>
                </c:pt>
                <c:pt idx="28">
                  <c:v>96121</c:v>
                </c:pt>
                <c:pt idx="29">
                  <c:v>180545</c:v>
                </c:pt>
                <c:pt idx="30">
                  <c:v>430466</c:v>
                </c:pt>
                <c:pt idx="31">
                  <c:v>436791</c:v>
                </c:pt>
                <c:pt idx="32">
                  <c:v>436720</c:v>
                </c:pt>
                <c:pt idx="33">
                  <c:v>429262</c:v>
                </c:pt>
                <c:pt idx="34">
                  <c:v>407708</c:v>
                </c:pt>
                <c:pt idx="35">
                  <c:v>397811</c:v>
                </c:pt>
                <c:pt idx="36">
                  <c:v>398843</c:v>
                </c:pt>
                <c:pt idx="37">
                  <c:v>424494</c:v>
                </c:pt>
                <c:pt idx="38">
                  <c:v>439975</c:v>
                </c:pt>
                <c:pt idx="39">
                  <c:v>433388</c:v>
                </c:pt>
                <c:pt idx="40">
                  <c:v>411825</c:v>
                </c:pt>
                <c:pt idx="41">
                  <c:v>45306</c:v>
                </c:pt>
                <c:pt idx="42">
                  <c:v>41643</c:v>
                </c:pt>
                <c:pt idx="43">
                  <c:v>51449</c:v>
                </c:pt>
                <c:pt idx="44">
                  <c:v>78405</c:v>
                </c:pt>
                <c:pt idx="45">
                  <c:v>89743</c:v>
                </c:pt>
                <c:pt idx="46">
                  <c:v>147124</c:v>
                </c:pt>
                <c:pt idx="47">
                  <c:v>171099</c:v>
                </c:pt>
                <c:pt idx="48">
                  <c:v>277219</c:v>
                </c:pt>
                <c:pt idx="49">
                  <c:v>464196</c:v>
                </c:pt>
                <c:pt idx="50">
                  <c:v>20536</c:v>
                </c:pt>
                <c:pt idx="51">
                  <c:v>41234</c:v>
                </c:pt>
                <c:pt idx="52">
                  <c:v>21881</c:v>
                </c:pt>
                <c:pt idx="53">
                  <c:v>10193</c:v>
                </c:pt>
                <c:pt idx="54">
                  <c:v>20994</c:v>
                </c:pt>
                <c:pt idx="55">
                  <c:v>35115</c:v>
                </c:pt>
                <c:pt idx="56">
                  <c:v>72353</c:v>
                </c:pt>
                <c:pt idx="57">
                  <c:v>180969</c:v>
                </c:pt>
                <c:pt idx="58">
                  <c:v>94740</c:v>
                </c:pt>
                <c:pt idx="59">
                  <c:v>50797</c:v>
                </c:pt>
                <c:pt idx="60">
                  <c:v>39350</c:v>
                </c:pt>
                <c:pt idx="61">
                  <c:v>150015</c:v>
                </c:pt>
                <c:pt idx="62">
                  <c:v>106043</c:v>
                </c:pt>
                <c:pt idx="63">
                  <c:v>98612</c:v>
                </c:pt>
                <c:pt idx="64">
                  <c:v>103937</c:v>
                </c:pt>
                <c:pt idx="65">
                  <c:v>147112</c:v>
                </c:pt>
                <c:pt idx="66">
                  <c:v>96489</c:v>
                </c:pt>
                <c:pt idx="67">
                  <c:v>98639</c:v>
                </c:pt>
                <c:pt idx="68">
                  <c:v>88122</c:v>
                </c:pt>
                <c:pt idx="69">
                  <c:v>97597</c:v>
                </c:pt>
                <c:pt idx="70">
                  <c:v>108552</c:v>
                </c:pt>
                <c:pt idx="71">
                  <c:v>1054</c:v>
                </c:pt>
                <c:pt idx="72">
                  <c:v>1382</c:v>
                </c:pt>
                <c:pt idx="73">
                  <c:v>1408</c:v>
                </c:pt>
                <c:pt idx="74">
                  <c:v>2426</c:v>
                </c:pt>
                <c:pt idx="75">
                  <c:v>892</c:v>
                </c:pt>
                <c:pt idx="76">
                  <c:v>1976</c:v>
                </c:pt>
                <c:pt idx="77">
                  <c:v>12789</c:v>
                </c:pt>
                <c:pt idx="78">
                  <c:v>23135</c:v>
                </c:pt>
                <c:pt idx="79">
                  <c:v>23432</c:v>
                </c:pt>
                <c:pt idx="80">
                  <c:v>21758</c:v>
                </c:pt>
                <c:pt idx="81">
                  <c:v>6942</c:v>
                </c:pt>
                <c:pt idx="82">
                  <c:v>6490</c:v>
                </c:pt>
                <c:pt idx="83">
                  <c:v>1049</c:v>
                </c:pt>
                <c:pt idx="84">
                  <c:v>4642</c:v>
                </c:pt>
                <c:pt idx="85">
                  <c:v>1129</c:v>
                </c:pt>
                <c:pt idx="86">
                  <c:v>1461</c:v>
                </c:pt>
                <c:pt idx="87">
                  <c:v>1183</c:v>
                </c:pt>
                <c:pt idx="88">
                  <c:v>17267</c:v>
                </c:pt>
                <c:pt idx="89">
                  <c:v>52293</c:v>
                </c:pt>
                <c:pt idx="90">
                  <c:v>109867</c:v>
                </c:pt>
                <c:pt idx="91">
                  <c:v>141039</c:v>
                </c:pt>
                <c:pt idx="92">
                  <c:v>91789</c:v>
                </c:pt>
                <c:pt idx="93">
                  <c:v>40955</c:v>
                </c:pt>
                <c:pt idx="94">
                  <c:v>52248</c:v>
                </c:pt>
                <c:pt idx="95">
                  <c:v>87200</c:v>
                </c:pt>
                <c:pt idx="96">
                  <c:v>149154</c:v>
                </c:pt>
                <c:pt idx="97">
                  <c:v>226282</c:v>
                </c:pt>
                <c:pt idx="98">
                  <c:v>304207</c:v>
                </c:pt>
                <c:pt idx="99">
                  <c:v>288847</c:v>
                </c:pt>
                <c:pt idx="100">
                  <c:v>325240</c:v>
                </c:pt>
                <c:pt idx="101">
                  <c:v>609797</c:v>
                </c:pt>
                <c:pt idx="102">
                  <c:v>91949</c:v>
                </c:pt>
                <c:pt idx="103">
                  <c:v>75389</c:v>
                </c:pt>
                <c:pt idx="104">
                  <c:v>72443</c:v>
                </c:pt>
                <c:pt idx="105">
                  <c:v>65035</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219792786125353E-2"/>
          <c:y val="0.22555108645669017"/>
          <c:w val="0.96766497516299987"/>
          <c:h val="0.76466540290122786"/>
        </c:manualLayout>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23</c:f>
              <c:numCache>
                <c:formatCode>yyyy\-mm\-dd</c:formatCode>
                <c:ptCount val="22"/>
                <c:pt idx="0">
                  <c:v>44983</c:v>
                </c:pt>
                <c:pt idx="1">
                  <c:v>45214</c:v>
                </c:pt>
                <c:pt idx="2">
                  <c:v>45221</c:v>
                </c:pt>
                <c:pt idx="3">
                  <c:v>45228</c:v>
                </c:pt>
                <c:pt idx="4">
                  <c:v>45235</c:v>
                </c:pt>
                <c:pt idx="5">
                  <c:v>45242</c:v>
                </c:pt>
                <c:pt idx="6">
                  <c:v>45249</c:v>
                </c:pt>
                <c:pt idx="7">
                  <c:v>45256</c:v>
                </c:pt>
                <c:pt idx="8">
                  <c:v>45263</c:v>
                </c:pt>
                <c:pt idx="9">
                  <c:v>45270</c:v>
                </c:pt>
                <c:pt idx="10">
                  <c:v>45277</c:v>
                </c:pt>
                <c:pt idx="11">
                  <c:v>45284</c:v>
                </c:pt>
                <c:pt idx="12">
                  <c:v>45291</c:v>
                </c:pt>
                <c:pt idx="13">
                  <c:v>45298</c:v>
                </c:pt>
                <c:pt idx="14">
                  <c:v>45305</c:v>
                </c:pt>
                <c:pt idx="15">
                  <c:v>45312</c:v>
                </c:pt>
                <c:pt idx="16">
                  <c:v>45319</c:v>
                </c:pt>
                <c:pt idx="17">
                  <c:v>45326</c:v>
                </c:pt>
                <c:pt idx="18">
                  <c:v>45333</c:v>
                </c:pt>
                <c:pt idx="19">
                  <c:v>45340</c:v>
                </c:pt>
                <c:pt idx="20">
                  <c:v>45347</c:v>
                </c:pt>
                <c:pt idx="21">
                  <c:v>45354</c:v>
                </c:pt>
              </c:numCache>
            </c:numRef>
          </c:cat>
          <c:val>
            <c:numRef>
              <c:f>Sheet1!$B$2:$B$23</c:f>
              <c:numCache>
                <c:formatCode>General</c:formatCode>
                <c:ptCount val="22"/>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numCache>
            </c:numRef>
          </c:val>
          <c:extLst>
            <c:ext xmlns:c16="http://schemas.microsoft.com/office/drawing/2014/chart" uri="{C3380CC4-5D6E-409C-BE32-E72D297353CC}">
              <c16:uniqueId val="{00000001-E3C4-46BC-AA3D-A3795B7CC7BA}"/>
            </c:ext>
          </c:extLst>
        </c:ser>
        <c:ser>
          <c:idx val="0"/>
          <c:order val="1"/>
          <c:tx>
            <c:strRef>
              <c:f>Sheet1!$C$1</c:f>
              <c:strCache>
                <c:ptCount val="1"/>
                <c:pt idx="0">
                  <c:v>Promo Volume</c:v>
                </c:pt>
              </c:strCache>
            </c:strRef>
          </c:tx>
          <c:spPr>
            <a:solidFill>
              <a:schemeClr val="accent3"/>
            </a:solidFill>
            <a:ln>
              <a:noFill/>
            </a:ln>
            <a:effectLst/>
          </c:spPr>
          <c:invertIfNegative val="0"/>
          <c:cat>
            <c:numRef>
              <c:f>Sheet1!$A$2:$A$23</c:f>
              <c:numCache>
                <c:formatCode>yyyy\-mm\-dd</c:formatCode>
                <c:ptCount val="22"/>
                <c:pt idx="0">
                  <c:v>44983</c:v>
                </c:pt>
                <c:pt idx="1">
                  <c:v>45214</c:v>
                </c:pt>
                <c:pt idx="2">
                  <c:v>45221</c:v>
                </c:pt>
                <c:pt idx="3">
                  <c:v>45228</c:v>
                </c:pt>
                <c:pt idx="4">
                  <c:v>45235</c:v>
                </c:pt>
                <c:pt idx="5">
                  <c:v>45242</c:v>
                </c:pt>
                <c:pt idx="6">
                  <c:v>45249</c:v>
                </c:pt>
                <c:pt idx="7">
                  <c:v>45256</c:v>
                </c:pt>
                <c:pt idx="8">
                  <c:v>45263</c:v>
                </c:pt>
                <c:pt idx="9">
                  <c:v>45270</c:v>
                </c:pt>
                <c:pt idx="10">
                  <c:v>45277</c:v>
                </c:pt>
                <c:pt idx="11">
                  <c:v>45284</c:v>
                </c:pt>
                <c:pt idx="12">
                  <c:v>45291</c:v>
                </c:pt>
                <c:pt idx="13">
                  <c:v>45298</c:v>
                </c:pt>
                <c:pt idx="14">
                  <c:v>45305</c:v>
                </c:pt>
                <c:pt idx="15">
                  <c:v>45312</c:v>
                </c:pt>
                <c:pt idx="16">
                  <c:v>45319</c:v>
                </c:pt>
                <c:pt idx="17">
                  <c:v>45326</c:v>
                </c:pt>
                <c:pt idx="18">
                  <c:v>45333</c:v>
                </c:pt>
                <c:pt idx="19">
                  <c:v>45340</c:v>
                </c:pt>
                <c:pt idx="20">
                  <c:v>45347</c:v>
                </c:pt>
                <c:pt idx="21">
                  <c:v>45354</c:v>
                </c:pt>
              </c:numCache>
            </c:numRef>
          </c:cat>
          <c:val>
            <c:numRef>
              <c:f>Sheet1!$C$2:$C$23</c:f>
              <c:numCache>
                <c:formatCode>General</c:formatCode>
                <c:ptCount val="22"/>
                <c:pt idx="0">
                  <c:v>0</c:v>
                </c:pt>
                <c:pt idx="1">
                  <c:v>0</c:v>
                </c:pt>
                <c:pt idx="2">
                  <c:v>0</c:v>
                </c:pt>
                <c:pt idx="3">
                  <c:v>0</c:v>
                </c:pt>
                <c:pt idx="4">
                  <c:v>3050</c:v>
                </c:pt>
                <c:pt idx="5">
                  <c:v>4675</c:v>
                </c:pt>
                <c:pt idx="6">
                  <c:v>4890</c:v>
                </c:pt>
                <c:pt idx="7">
                  <c:v>5500</c:v>
                </c:pt>
                <c:pt idx="8">
                  <c:v>0</c:v>
                </c:pt>
                <c:pt idx="9">
                  <c:v>4865</c:v>
                </c:pt>
                <c:pt idx="10">
                  <c:v>10250</c:v>
                </c:pt>
                <c:pt idx="11">
                  <c:v>41340</c:v>
                </c:pt>
                <c:pt idx="12">
                  <c:v>22155</c:v>
                </c:pt>
                <c:pt idx="13">
                  <c:v>12445</c:v>
                </c:pt>
                <c:pt idx="14">
                  <c:v>38375</c:v>
                </c:pt>
                <c:pt idx="15">
                  <c:v>31810</c:v>
                </c:pt>
                <c:pt idx="16">
                  <c:v>13205</c:v>
                </c:pt>
                <c:pt idx="17">
                  <c:v>3790</c:v>
                </c:pt>
                <c:pt idx="18">
                  <c:v>1290</c:v>
                </c:pt>
                <c:pt idx="19">
                  <c:v>520</c:v>
                </c:pt>
                <c:pt idx="20">
                  <c:v>340</c:v>
                </c:pt>
                <c:pt idx="21">
                  <c:v>265</c:v>
                </c:pt>
              </c:numCache>
            </c:numRef>
          </c:val>
          <c:extLst>
            <c:ext xmlns:c16="http://schemas.microsoft.com/office/drawing/2014/chart" uri="{C3380CC4-5D6E-409C-BE32-E72D297353CC}">
              <c16:uniqueId val="{00000000-E3C4-46BC-AA3D-A3795B7CC7B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yyyy\-mm\-dd"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23</c:f>
              <c:numCache>
                <c:formatCode>yyyy\-mm\-dd</c:formatCode>
                <c:ptCount val="22"/>
                <c:pt idx="0">
                  <c:v>44983</c:v>
                </c:pt>
                <c:pt idx="1">
                  <c:v>45214</c:v>
                </c:pt>
                <c:pt idx="2">
                  <c:v>45221</c:v>
                </c:pt>
                <c:pt idx="3">
                  <c:v>45228</c:v>
                </c:pt>
                <c:pt idx="4">
                  <c:v>45235</c:v>
                </c:pt>
                <c:pt idx="5">
                  <c:v>45242</c:v>
                </c:pt>
                <c:pt idx="6">
                  <c:v>45249</c:v>
                </c:pt>
                <c:pt idx="7">
                  <c:v>45256</c:v>
                </c:pt>
                <c:pt idx="8">
                  <c:v>45263</c:v>
                </c:pt>
                <c:pt idx="9">
                  <c:v>45270</c:v>
                </c:pt>
                <c:pt idx="10">
                  <c:v>45277</c:v>
                </c:pt>
                <c:pt idx="11">
                  <c:v>45284</c:v>
                </c:pt>
                <c:pt idx="12">
                  <c:v>45291</c:v>
                </c:pt>
                <c:pt idx="13">
                  <c:v>45298</c:v>
                </c:pt>
                <c:pt idx="14">
                  <c:v>45305</c:v>
                </c:pt>
                <c:pt idx="15">
                  <c:v>45312</c:v>
                </c:pt>
                <c:pt idx="16">
                  <c:v>45319</c:v>
                </c:pt>
                <c:pt idx="17">
                  <c:v>45326</c:v>
                </c:pt>
                <c:pt idx="18">
                  <c:v>45333</c:v>
                </c:pt>
                <c:pt idx="19">
                  <c:v>45340</c:v>
                </c:pt>
                <c:pt idx="20">
                  <c:v>45347</c:v>
                </c:pt>
                <c:pt idx="21">
                  <c:v>45354</c:v>
                </c:pt>
              </c:numCache>
            </c:numRef>
          </c:cat>
          <c:val>
            <c:numRef>
              <c:f>Sheet1!$B$2:$B$23</c:f>
              <c:numCache>
                <c:formatCode>General</c:formatCode>
                <c:ptCount val="22"/>
                <c:pt idx="0">
                  <c:v>1778</c:v>
                </c:pt>
                <c:pt idx="1">
                  <c:v>2448</c:v>
                </c:pt>
                <c:pt idx="2">
                  <c:v>2440</c:v>
                </c:pt>
                <c:pt idx="3">
                  <c:v>2252</c:v>
                </c:pt>
                <c:pt idx="4">
                  <c:v>2448</c:v>
                </c:pt>
                <c:pt idx="5">
                  <c:v>2442</c:v>
                </c:pt>
                <c:pt idx="6">
                  <c:v>2402</c:v>
                </c:pt>
                <c:pt idx="7">
                  <c:v>2106</c:v>
                </c:pt>
                <c:pt idx="8">
                  <c:v>2224</c:v>
                </c:pt>
                <c:pt idx="9">
                  <c:v>2168</c:v>
                </c:pt>
                <c:pt idx="10">
                  <c:v>1368</c:v>
                </c:pt>
                <c:pt idx="11">
                  <c:v>886</c:v>
                </c:pt>
                <c:pt idx="12">
                  <c:v>632</c:v>
                </c:pt>
                <c:pt idx="13">
                  <c:v>390</c:v>
                </c:pt>
                <c:pt idx="14">
                  <c:v>632</c:v>
                </c:pt>
                <c:pt idx="15">
                  <c:v>380</c:v>
                </c:pt>
                <c:pt idx="16">
                  <c:v>148</c:v>
                </c:pt>
                <c:pt idx="17">
                  <c:v>142</c:v>
                </c:pt>
                <c:pt idx="18">
                  <c:v>72</c:v>
                </c:pt>
                <c:pt idx="19">
                  <c:v>150</c:v>
                </c:pt>
                <c:pt idx="20">
                  <c:v>164</c:v>
                </c:pt>
                <c:pt idx="21">
                  <c:v>200</c:v>
                </c:pt>
              </c:numCache>
            </c:numRef>
          </c:val>
          <c:extLst>
            <c:ext xmlns:c16="http://schemas.microsoft.com/office/drawing/2014/chart" uri="{C3380CC4-5D6E-409C-BE32-E72D297353CC}">
              <c16:uniqueId val="{00000000-72A7-4D08-96D7-E73109FBDC9A}"/>
            </c:ext>
          </c:extLst>
        </c:ser>
        <c:ser>
          <c:idx val="0"/>
          <c:order val="1"/>
          <c:tx>
            <c:strRef>
              <c:f>Sheet1!$C$1</c:f>
              <c:strCache>
                <c:ptCount val="1"/>
                <c:pt idx="0">
                  <c:v>Promo Volume</c:v>
                </c:pt>
              </c:strCache>
            </c:strRef>
          </c:tx>
          <c:spPr>
            <a:solidFill>
              <a:schemeClr val="accent3"/>
            </a:solidFill>
            <a:ln>
              <a:noFill/>
            </a:ln>
            <a:effectLst/>
          </c:spPr>
          <c:invertIfNegative val="0"/>
          <c:cat>
            <c:numRef>
              <c:f>Sheet1!$A$2:$A$23</c:f>
              <c:numCache>
                <c:formatCode>yyyy\-mm\-dd</c:formatCode>
                <c:ptCount val="22"/>
                <c:pt idx="0">
                  <c:v>44983</c:v>
                </c:pt>
                <c:pt idx="1">
                  <c:v>45214</c:v>
                </c:pt>
                <c:pt idx="2">
                  <c:v>45221</c:v>
                </c:pt>
                <c:pt idx="3">
                  <c:v>45228</c:v>
                </c:pt>
                <c:pt idx="4">
                  <c:v>45235</c:v>
                </c:pt>
                <c:pt idx="5">
                  <c:v>45242</c:v>
                </c:pt>
                <c:pt idx="6">
                  <c:v>45249</c:v>
                </c:pt>
                <c:pt idx="7">
                  <c:v>45256</c:v>
                </c:pt>
                <c:pt idx="8">
                  <c:v>45263</c:v>
                </c:pt>
                <c:pt idx="9">
                  <c:v>45270</c:v>
                </c:pt>
                <c:pt idx="10">
                  <c:v>45277</c:v>
                </c:pt>
                <c:pt idx="11">
                  <c:v>45284</c:v>
                </c:pt>
                <c:pt idx="12">
                  <c:v>45291</c:v>
                </c:pt>
                <c:pt idx="13">
                  <c:v>45298</c:v>
                </c:pt>
                <c:pt idx="14">
                  <c:v>45305</c:v>
                </c:pt>
                <c:pt idx="15">
                  <c:v>45312</c:v>
                </c:pt>
                <c:pt idx="16">
                  <c:v>45319</c:v>
                </c:pt>
                <c:pt idx="17">
                  <c:v>45326</c:v>
                </c:pt>
                <c:pt idx="18">
                  <c:v>45333</c:v>
                </c:pt>
                <c:pt idx="19">
                  <c:v>45340</c:v>
                </c:pt>
                <c:pt idx="20">
                  <c:v>45347</c:v>
                </c:pt>
                <c:pt idx="21">
                  <c:v>45354</c:v>
                </c:pt>
              </c:numCache>
            </c:numRef>
          </c:cat>
          <c:val>
            <c:numRef>
              <c:f>Sheet1!$C$2:$C$23</c:f>
              <c:numCache>
                <c:formatCode>General</c:formatCode>
                <c:ptCount val="22"/>
                <c:pt idx="0">
                  <c:v>176</c:v>
                </c:pt>
                <c:pt idx="1">
                  <c:v>880</c:v>
                </c:pt>
                <c:pt idx="2">
                  <c:v>1438</c:v>
                </c:pt>
                <c:pt idx="3">
                  <c:v>1648</c:v>
                </c:pt>
                <c:pt idx="4">
                  <c:v>1730</c:v>
                </c:pt>
                <c:pt idx="5">
                  <c:v>2172</c:v>
                </c:pt>
                <c:pt idx="6">
                  <c:v>2672</c:v>
                </c:pt>
                <c:pt idx="7">
                  <c:v>5026</c:v>
                </c:pt>
                <c:pt idx="8">
                  <c:v>4780</c:v>
                </c:pt>
                <c:pt idx="9">
                  <c:v>7410</c:v>
                </c:pt>
                <c:pt idx="10">
                  <c:v>12784</c:v>
                </c:pt>
                <c:pt idx="11">
                  <c:v>31090</c:v>
                </c:pt>
                <c:pt idx="12">
                  <c:v>101588</c:v>
                </c:pt>
                <c:pt idx="13">
                  <c:v>25656</c:v>
                </c:pt>
                <c:pt idx="14">
                  <c:v>7244</c:v>
                </c:pt>
                <c:pt idx="15">
                  <c:v>5920</c:v>
                </c:pt>
                <c:pt idx="16">
                  <c:v>4752</c:v>
                </c:pt>
                <c:pt idx="17">
                  <c:v>2256</c:v>
                </c:pt>
                <c:pt idx="18">
                  <c:v>1500</c:v>
                </c:pt>
                <c:pt idx="19">
                  <c:v>790</c:v>
                </c:pt>
                <c:pt idx="20">
                  <c:v>712</c:v>
                </c:pt>
                <c:pt idx="21">
                  <c:v>528</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219792786125353E-2"/>
          <c:y val="0.22555108645669017"/>
          <c:w val="0.96766497516299987"/>
          <c:h val="0.76466540290122786"/>
        </c:manualLayout>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1</c:f>
              <c:numCache>
                <c:formatCode>yyyy\-mm\-dd</c:formatCode>
                <c:ptCount val="100"/>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51</c:v>
                </c:pt>
                <c:pt idx="29">
                  <c:v>45158</c:v>
                </c:pt>
                <c:pt idx="30">
                  <c:v>45165</c:v>
                </c:pt>
                <c:pt idx="31">
                  <c:v>45172</c:v>
                </c:pt>
                <c:pt idx="32">
                  <c:v>45179</c:v>
                </c:pt>
                <c:pt idx="33">
                  <c:v>45186</c:v>
                </c:pt>
                <c:pt idx="34">
                  <c:v>45193</c:v>
                </c:pt>
                <c:pt idx="35">
                  <c:v>45200</c:v>
                </c:pt>
                <c:pt idx="36">
                  <c:v>45207</c:v>
                </c:pt>
                <c:pt idx="37">
                  <c:v>45214</c:v>
                </c:pt>
                <c:pt idx="38">
                  <c:v>45221</c:v>
                </c:pt>
                <c:pt idx="39">
                  <c:v>45228</c:v>
                </c:pt>
                <c:pt idx="40">
                  <c:v>45235</c:v>
                </c:pt>
                <c:pt idx="41">
                  <c:v>45242</c:v>
                </c:pt>
                <c:pt idx="42">
                  <c:v>45249</c:v>
                </c:pt>
                <c:pt idx="43">
                  <c:v>45256</c:v>
                </c:pt>
                <c:pt idx="44">
                  <c:v>45263</c:v>
                </c:pt>
                <c:pt idx="45">
                  <c:v>45270</c:v>
                </c:pt>
                <c:pt idx="46">
                  <c:v>45277</c:v>
                </c:pt>
                <c:pt idx="47">
                  <c:v>45284</c:v>
                </c:pt>
                <c:pt idx="48">
                  <c:v>45291</c:v>
                </c:pt>
                <c:pt idx="49">
                  <c:v>45298</c:v>
                </c:pt>
                <c:pt idx="50">
                  <c:v>45305</c:v>
                </c:pt>
                <c:pt idx="51">
                  <c:v>45312</c:v>
                </c:pt>
                <c:pt idx="52">
                  <c:v>45319</c:v>
                </c:pt>
                <c:pt idx="53">
                  <c:v>45326</c:v>
                </c:pt>
                <c:pt idx="54">
                  <c:v>45340</c:v>
                </c:pt>
                <c:pt idx="55">
                  <c:v>45347</c:v>
                </c:pt>
                <c:pt idx="56">
                  <c:v>45354</c:v>
                </c:pt>
                <c:pt idx="57">
                  <c:v>45361</c:v>
                </c:pt>
                <c:pt idx="58">
                  <c:v>45368</c:v>
                </c:pt>
                <c:pt idx="59">
                  <c:v>45375</c:v>
                </c:pt>
                <c:pt idx="60">
                  <c:v>45389</c:v>
                </c:pt>
                <c:pt idx="61">
                  <c:v>45396</c:v>
                </c:pt>
                <c:pt idx="62">
                  <c:v>45403</c:v>
                </c:pt>
                <c:pt idx="63">
                  <c:v>45410</c:v>
                </c:pt>
                <c:pt idx="64">
                  <c:v>45417</c:v>
                </c:pt>
                <c:pt idx="65">
                  <c:v>45424</c:v>
                </c:pt>
                <c:pt idx="66">
                  <c:v>45431</c:v>
                </c:pt>
                <c:pt idx="67">
                  <c:v>45438</c:v>
                </c:pt>
                <c:pt idx="68">
                  <c:v>45445</c:v>
                </c:pt>
                <c:pt idx="69">
                  <c:v>45452</c:v>
                </c:pt>
                <c:pt idx="70">
                  <c:v>45459</c:v>
                </c:pt>
                <c:pt idx="71">
                  <c:v>45466</c:v>
                </c:pt>
                <c:pt idx="72">
                  <c:v>45473</c:v>
                </c:pt>
                <c:pt idx="73">
                  <c:v>45480</c:v>
                </c:pt>
                <c:pt idx="74">
                  <c:v>45487</c:v>
                </c:pt>
                <c:pt idx="75">
                  <c:v>45508</c:v>
                </c:pt>
                <c:pt idx="76">
                  <c:v>45515</c:v>
                </c:pt>
                <c:pt idx="77">
                  <c:v>45522</c:v>
                </c:pt>
                <c:pt idx="78">
                  <c:v>45529</c:v>
                </c:pt>
                <c:pt idx="79">
                  <c:v>45536</c:v>
                </c:pt>
                <c:pt idx="80">
                  <c:v>45543</c:v>
                </c:pt>
                <c:pt idx="81">
                  <c:v>45550</c:v>
                </c:pt>
                <c:pt idx="82">
                  <c:v>45557</c:v>
                </c:pt>
                <c:pt idx="83">
                  <c:v>45564</c:v>
                </c:pt>
                <c:pt idx="84">
                  <c:v>45578</c:v>
                </c:pt>
                <c:pt idx="85">
                  <c:v>45585</c:v>
                </c:pt>
                <c:pt idx="86">
                  <c:v>45592</c:v>
                </c:pt>
                <c:pt idx="87">
                  <c:v>45599</c:v>
                </c:pt>
                <c:pt idx="88">
                  <c:v>45606</c:v>
                </c:pt>
                <c:pt idx="89">
                  <c:v>45613</c:v>
                </c:pt>
                <c:pt idx="90">
                  <c:v>45620</c:v>
                </c:pt>
                <c:pt idx="91">
                  <c:v>45627</c:v>
                </c:pt>
                <c:pt idx="92">
                  <c:v>45634</c:v>
                </c:pt>
                <c:pt idx="93">
                  <c:v>45641</c:v>
                </c:pt>
                <c:pt idx="94">
                  <c:v>45648</c:v>
                </c:pt>
                <c:pt idx="95">
                  <c:v>45655</c:v>
                </c:pt>
                <c:pt idx="96">
                  <c:v>45662</c:v>
                </c:pt>
                <c:pt idx="97">
                  <c:v>45669</c:v>
                </c:pt>
                <c:pt idx="98">
                  <c:v>45676</c:v>
                </c:pt>
                <c:pt idx="99">
                  <c:v>45683</c:v>
                </c:pt>
              </c:numCache>
            </c:numRef>
          </c:cat>
          <c:val>
            <c:numRef>
              <c:f>Sheet1!$B$2:$B$101</c:f>
              <c:numCache>
                <c:formatCode>General</c:formatCode>
                <c:ptCount val="100"/>
                <c:pt idx="0">
                  <c:v>156680</c:v>
                </c:pt>
                <c:pt idx="1">
                  <c:v>232060</c:v>
                </c:pt>
                <c:pt idx="2">
                  <c:v>238860</c:v>
                </c:pt>
                <c:pt idx="3">
                  <c:v>189020</c:v>
                </c:pt>
                <c:pt idx="4">
                  <c:v>0</c:v>
                </c:pt>
                <c:pt idx="5">
                  <c:v>0</c:v>
                </c:pt>
                <c:pt idx="6">
                  <c:v>0</c:v>
                </c:pt>
                <c:pt idx="7">
                  <c:v>0</c:v>
                </c:pt>
                <c:pt idx="8">
                  <c:v>0</c:v>
                </c:pt>
                <c:pt idx="9">
                  <c:v>205060</c:v>
                </c:pt>
                <c:pt idx="10">
                  <c:v>191945</c:v>
                </c:pt>
                <c:pt idx="11">
                  <c:v>201600</c:v>
                </c:pt>
                <c:pt idx="12">
                  <c:v>176060</c:v>
                </c:pt>
                <c:pt idx="13">
                  <c:v>213540</c:v>
                </c:pt>
                <c:pt idx="14">
                  <c:v>173500</c:v>
                </c:pt>
                <c:pt idx="15">
                  <c:v>212560</c:v>
                </c:pt>
                <c:pt idx="16">
                  <c:v>273145</c:v>
                </c:pt>
                <c:pt idx="17">
                  <c:v>0</c:v>
                </c:pt>
                <c:pt idx="18">
                  <c:v>0</c:v>
                </c:pt>
                <c:pt idx="19">
                  <c:v>188080</c:v>
                </c:pt>
                <c:pt idx="20">
                  <c:v>192880</c:v>
                </c:pt>
                <c:pt idx="21">
                  <c:v>20960</c:v>
                </c:pt>
                <c:pt idx="22">
                  <c:v>12760</c:v>
                </c:pt>
                <c:pt idx="23">
                  <c:v>14740</c:v>
                </c:pt>
                <c:pt idx="24">
                  <c:v>9060</c:v>
                </c:pt>
                <c:pt idx="25">
                  <c:v>36440</c:v>
                </c:pt>
                <c:pt idx="26">
                  <c:v>205220</c:v>
                </c:pt>
                <c:pt idx="27">
                  <c:v>200100</c:v>
                </c:pt>
                <c:pt idx="28">
                  <c:v>0</c:v>
                </c:pt>
                <c:pt idx="29">
                  <c:v>0</c:v>
                </c:pt>
                <c:pt idx="30">
                  <c:v>199540</c:v>
                </c:pt>
                <c:pt idx="31">
                  <c:v>221300</c:v>
                </c:pt>
                <c:pt idx="32">
                  <c:v>194440</c:v>
                </c:pt>
                <c:pt idx="33">
                  <c:v>203620</c:v>
                </c:pt>
                <c:pt idx="34">
                  <c:v>0</c:v>
                </c:pt>
                <c:pt idx="35">
                  <c:v>0</c:v>
                </c:pt>
                <c:pt idx="36">
                  <c:v>0</c:v>
                </c:pt>
                <c:pt idx="37">
                  <c:v>0</c:v>
                </c:pt>
                <c:pt idx="38">
                  <c:v>186640</c:v>
                </c:pt>
                <c:pt idx="39">
                  <c:v>180980</c:v>
                </c:pt>
                <c:pt idx="40">
                  <c:v>248520</c:v>
                </c:pt>
                <c:pt idx="41">
                  <c:v>0</c:v>
                </c:pt>
                <c:pt idx="42">
                  <c:v>0</c:v>
                </c:pt>
                <c:pt idx="43">
                  <c:v>320</c:v>
                </c:pt>
                <c:pt idx="44">
                  <c:v>166900</c:v>
                </c:pt>
                <c:pt idx="45">
                  <c:v>205340</c:v>
                </c:pt>
                <c:pt idx="46">
                  <c:v>205760</c:v>
                </c:pt>
                <c:pt idx="47">
                  <c:v>205740</c:v>
                </c:pt>
                <c:pt idx="48">
                  <c:v>780</c:v>
                </c:pt>
                <c:pt idx="49">
                  <c:v>120</c:v>
                </c:pt>
                <c:pt idx="50">
                  <c:v>60</c:v>
                </c:pt>
                <c:pt idx="51">
                  <c:v>125</c:v>
                </c:pt>
                <c:pt idx="52">
                  <c:v>9080</c:v>
                </c:pt>
                <c:pt idx="53">
                  <c:v>0</c:v>
                </c:pt>
                <c:pt idx="54">
                  <c:v>0</c:v>
                </c:pt>
                <c:pt idx="55">
                  <c:v>0</c:v>
                </c:pt>
                <c:pt idx="56">
                  <c:v>202860</c:v>
                </c:pt>
                <c:pt idx="57">
                  <c:v>198540</c:v>
                </c:pt>
                <c:pt idx="58">
                  <c:v>216920</c:v>
                </c:pt>
                <c:pt idx="59">
                  <c:v>229880</c:v>
                </c:pt>
                <c:pt idx="60">
                  <c:v>164320</c:v>
                </c:pt>
                <c:pt idx="61">
                  <c:v>120800</c:v>
                </c:pt>
                <c:pt idx="62">
                  <c:v>131820</c:v>
                </c:pt>
                <c:pt idx="63">
                  <c:v>157060</c:v>
                </c:pt>
                <c:pt idx="64">
                  <c:v>169650</c:v>
                </c:pt>
                <c:pt idx="65">
                  <c:v>173060</c:v>
                </c:pt>
                <c:pt idx="66">
                  <c:v>137660</c:v>
                </c:pt>
                <c:pt idx="67">
                  <c:v>158280</c:v>
                </c:pt>
                <c:pt idx="68">
                  <c:v>16600</c:v>
                </c:pt>
                <c:pt idx="69">
                  <c:v>3440</c:v>
                </c:pt>
                <c:pt idx="70">
                  <c:v>2560</c:v>
                </c:pt>
                <c:pt idx="71">
                  <c:v>3640</c:v>
                </c:pt>
                <c:pt idx="72">
                  <c:v>14530</c:v>
                </c:pt>
                <c:pt idx="73">
                  <c:v>20560</c:v>
                </c:pt>
                <c:pt idx="74">
                  <c:v>161840</c:v>
                </c:pt>
                <c:pt idx="75">
                  <c:v>148260</c:v>
                </c:pt>
                <c:pt idx="76">
                  <c:v>168920</c:v>
                </c:pt>
                <c:pt idx="77">
                  <c:v>148060</c:v>
                </c:pt>
                <c:pt idx="78">
                  <c:v>158980</c:v>
                </c:pt>
                <c:pt idx="79">
                  <c:v>180370</c:v>
                </c:pt>
                <c:pt idx="80">
                  <c:v>169620</c:v>
                </c:pt>
                <c:pt idx="81">
                  <c:v>169590</c:v>
                </c:pt>
                <c:pt idx="82">
                  <c:v>164760</c:v>
                </c:pt>
                <c:pt idx="83">
                  <c:v>170300</c:v>
                </c:pt>
                <c:pt idx="84">
                  <c:v>185160</c:v>
                </c:pt>
                <c:pt idx="85">
                  <c:v>154620</c:v>
                </c:pt>
                <c:pt idx="86">
                  <c:v>166860</c:v>
                </c:pt>
                <c:pt idx="87">
                  <c:v>0</c:v>
                </c:pt>
                <c:pt idx="88">
                  <c:v>175</c:v>
                </c:pt>
                <c:pt idx="89">
                  <c:v>500</c:v>
                </c:pt>
                <c:pt idx="90">
                  <c:v>20</c:v>
                </c:pt>
                <c:pt idx="91">
                  <c:v>40</c:v>
                </c:pt>
                <c:pt idx="92">
                  <c:v>30580</c:v>
                </c:pt>
                <c:pt idx="93">
                  <c:v>169160</c:v>
                </c:pt>
                <c:pt idx="94">
                  <c:v>163120</c:v>
                </c:pt>
                <c:pt idx="95">
                  <c:v>137480</c:v>
                </c:pt>
                <c:pt idx="96">
                  <c:v>17980</c:v>
                </c:pt>
                <c:pt idx="97">
                  <c:v>0</c:v>
                </c:pt>
                <c:pt idx="98">
                  <c:v>140</c:v>
                </c:pt>
                <c:pt idx="99">
                  <c:v>180</c:v>
                </c:pt>
              </c:numCache>
            </c:numRef>
          </c:val>
          <c:extLst>
            <c:ext xmlns:c16="http://schemas.microsoft.com/office/drawing/2014/chart" uri="{C3380CC4-5D6E-409C-BE32-E72D297353CC}">
              <c16:uniqueId val="{00000001-E3C4-46BC-AA3D-A3795B7CC7BA}"/>
            </c:ext>
          </c:extLst>
        </c:ser>
        <c:ser>
          <c:idx val="0"/>
          <c:order val="1"/>
          <c:tx>
            <c:strRef>
              <c:f>Sheet1!$C$1</c:f>
              <c:strCache>
                <c:ptCount val="1"/>
                <c:pt idx="0">
                  <c:v>Promo Volume</c:v>
                </c:pt>
              </c:strCache>
            </c:strRef>
          </c:tx>
          <c:spPr>
            <a:solidFill>
              <a:schemeClr val="accent3"/>
            </a:solidFill>
            <a:ln>
              <a:noFill/>
            </a:ln>
            <a:effectLst/>
          </c:spPr>
          <c:invertIfNegative val="0"/>
          <c:cat>
            <c:numRef>
              <c:f>Sheet1!$A$2:$A$101</c:f>
              <c:numCache>
                <c:formatCode>yyyy\-mm\-dd</c:formatCode>
                <c:ptCount val="100"/>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51</c:v>
                </c:pt>
                <c:pt idx="29">
                  <c:v>45158</c:v>
                </c:pt>
                <c:pt idx="30">
                  <c:v>45165</c:v>
                </c:pt>
                <c:pt idx="31">
                  <c:v>45172</c:v>
                </c:pt>
                <c:pt idx="32">
                  <c:v>45179</c:v>
                </c:pt>
                <c:pt idx="33">
                  <c:v>45186</c:v>
                </c:pt>
                <c:pt idx="34">
                  <c:v>45193</c:v>
                </c:pt>
                <c:pt idx="35">
                  <c:v>45200</c:v>
                </c:pt>
                <c:pt idx="36">
                  <c:v>45207</c:v>
                </c:pt>
                <c:pt idx="37">
                  <c:v>45214</c:v>
                </c:pt>
                <c:pt idx="38">
                  <c:v>45221</c:v>
                </c:pt>
                <c:pt idx="39">
                  <c:v>45228</c:v>
                </c:pt>
                <c:pt idx="40">
                  <c:v>45235</c:v>
                </c:pt>
                <c:pt idx="41">
                  <c:v>45242</c:v>
                </c:pt>
                <c:pt idx="42">
                  <c:v>45249</c:v>
                </c:pt>
                <c:pt idx="43">
                  <c:v>45256</c:v>
                </c:pt>
                <c:pt idx="44">
                  <c:v>45263</c:v>
                </c:pt>
                <c:pt idx="45">
                  <c:v>45270</c:v>
                </c:pt>
                <c:pt idx="46">
                  <c:v>45277</c:v>
                </c:pt>
                <c:pt idx="47">
                  <c:v>45284</c:v>
                </c:pt>
                <c:pt idx="48">
                  <c:v>45291</c:v>
                </c:pt>
                <c:pt idx="49">
                  <c:v>45298</c:v>
                </c:pt>
                <c:pt idx="50">
                  <c:v>45305</c:v>
                </c:pt>
                <c:pt idx="51">
                  <c:v>45312</c:v>
                </c:pt>
                <c:pt idx="52">
                  <c:v>45319</c:v>
                </c:pt>
                <c:pt idx="53">
                  <c:v>45326</c:v>
                </c:pt>
                <c:pt idx="54">
                  <c:v>45340</c:v>
                </c:pt>
                <c:pt idx="55">
                  <c:v>45347</c:v>
                </c:pt>
                <c:pt idx="56">
                  <c:v>45354</c:v>
                </c:pt>
                <c:pt idx="57">
                  <c:v>45361</c:v>
                </c:pt>
                <c:pt idx="58">
                  <c:v>45368</c:v>
                </c:pt>
                <c:pt idx="59">
                  <c:v>45375</c:v>
                </c:pt>
                <c:pt idx="60">
                  <c:v>45389</c:v>
                </c:pt>
                <c:pt idx="61">
                  <c:v>45396</c:v>
                </c:pt>
                <c:pt idx="62">
                  <c:v>45403</c:v>
                </c:pt>
                <c:pt idx="63">
                  <c:v>45410</c:v>
                </c:pt>
                <c:pt idx="64">
                  <c:v>45417</c:v>
                </c:pt>
                <c:pt idx="65">
                  <c:v>45424</c:v>
                </c:pt>
                <c:pt idx="66">
                  <c:v>45431</c:v>
                </c:pt>
                <c:pt idx="67">
                  <c:v>45438</c:v>
                </c:pt>
                <c:pt idx="68">
                  <c:v>45445</c:v>
                </c:pt>
                <c:pt idx="69">
                  <c:v>45452</c:v>
                </c:pt>
                <c:pt idx="70">
                  <c:v>45459</c:v>
                </c:pt>
                <c:pt idx="71">
                  <c:v>45466</c:v>
                </c:pt>
                <c:pt idx="72">
                  <c:v>45473</c:v>
                </c:pt>
                <c:pt idx="73">
                  <c:v>45480</c:v>
                </c:pt>
                <c:pt idx="74">
                  <c:v>45487</c:v>
                </c:pt>
                <c:pt idx="75">
                  <c:v>45508</c:v>
                </c:pt>
                <c:pt idx="76">
                  <c:v>45515</c:v>
                </c:pt>
                <c:pt idx="77">
                  <c:v>45522</c:v>
                </c:pt>
                <c:pt idx="78">
                  <c:v>45529</c:v>
                </c:pt>
                <c:pt idx="79">
                  <c:v>45536</c:v>
                </c:pt>
                <c:pt idx="80">
                  <c:v>45543</c:v>
                </c:pt>
                <c:pt idx="81">
                  <c:v>45550</c:v>
                </c:pt>
                <c:pt idx="82">
                  <c:v>45557</c:v>
                </c:pt>
                <c:pt idx="83">
                  <c:v>45564</c:v>
                </c:pt>
                <c:pt idx="84">
                  <c:v>45578</c:v>
                </c:pt>
                <c:pt idx="85">
                  <c:v>45585</c:v>
                </c:pt>
                <c:pt idx="86">
                  <c:v>45592</c:v>
                </c:pt>
                <c:pt idx="87">
                  <c:v>45599</c:v>
                </c:pt>
                <c:pt idx="88">
                  <c:v>45606</c:v>
                </c:pt>
                <c:pt idx="89">
                  <c:v>45613</c:v>
                </c:pt>
                <c:pt idx="90">
                  <c:v>45620</c:v>
                </c:pt>
                <c:pt idx="91">
                  <c:v>45627</c:v>
                </c:pt>
                <c:pt idx="92">
                  <c:v>45634</c:v>
                </c:pt>
                <c:pt idx="93">
                  <c:v>45641</c:v>
                </c:pt>
                <c:pt idx="94">
                  <c:v>45648</c:v>
                </c:pt>
                <c:pt idx="95">
                  <c:v>45655</c:v>
                </c:pt>
                <c:pt idx="96">
                  <c:v>45662</c:v>
                </c:pt>
                <c:pt idx="97">
                  <c:v>45669</c:v>
                </c:pt>
                <c:pt idx="98">
                  <c:v>45676</c:v>
                </c:pt>
                <c:pt idx="99">
                  <c:v>45683</c:v>
                </c:pt>
              </c:numCache>
            </c:numRef>
          </c:cat>
          <c:val>
            <c:numRef>
              <c:f>Sheet1!$C$2:$C$101</c:f>
              <c:numCache>
                <c:formatCode>General</c:formatCode>
                <c:ptCount val="100"/>
                <c:pt idx="0">
                  <c:v>82385</c:v>
                </c:pt>
                <c:pt idx="1">
                  <c:v>37785</c:v>
                </c:pt>
                <c:pt idx="2">
                  <c:v>32565</c:v>
                </c:pt>
                <c:pt idx="3">
                  <c:v>80990</c:v>
                </c:pt>
                <c:pt idx="4">
                  <c:v>0</c:v>
                </c:pt>
                <c:pt idx="5">
                  <c:v>0</c:v>
                </c:pt>
                <c:pt idx="6">
                  <c:v>0</c:v>
                </c:pt>
                <c:pt idx="7">
                  <c:v>0</c:v>
                </c:pt>
                <c:pt idx="8">
                  <c:v>0</c:v>
                </c:pt>
                <c:pt idx="9">
                  <c:v>85445</c:v>
                </c:pt>
                <c:pt idx="10">
                  <c:v>131080</c:v>
                </c:pt>
                <c:pt idx="11">
                  <c:v>106425</c:v>
                </c:pt>
                <c:pt idx="12">
                  <c:v>94670</c:v>
                </c:pt>
                <c:pt idx="13">
                  <c:v>81835</c:v>
                </c:pt>
                <c:pt idx="14">
                  <c:v>89265</c:v>
                </c:pt>
                <c:pt idx="15">
                  <c:v>107720</c:v>
                </c:pt>
                <c:pt idx="16">
                  <c:v>2820</c:v>
                </c:pt>
                <c:pt idx="17">
                  <c:v>0</c:v>
                </c:pt>
                <c:pt idx="18">
                  <c:v>0</c:v>
                </c:pt>
                <c:pt idx="19">
                  <c:v>78975</c:v>
                </c:pt>
                <c:pt idx="20">
                  <c:v>94165</c:v>
                </c:pt>
                <c:pt idx="21">
                  <c:v>293260</c:v>
                </c:pt>
                <c:pt idx="22">
                  <c:v>374525</c:v>
                </c:pt>
                <c:pt idx="23">
                  <c:v>375095</c:v>
                </c:pt>
                <c:pt idx="24">
                  <c:v>369045</c:v>
                </c:pt>
                <c:pt idx="25">
                  <c:v>337830</c:v>
                </c:pt>
                <c:pt idx="26">
                  <c:v>74925</c:v>
                </c:pt>
                <c:pt idx="27">
                  <c:v>61380</c:v>
                </c:pt>
                <c:pt idx="28">
                  <c:v>0</c:v>
                </c:pt>
                <c:pt idx="29">
                  <c:v>0</c:v>
                </c:pt>
                <c:pt idx="30">
                  <c:v>92610</c:v>
                </c:pt>
                <c:pt idx="31">
                  <c:v>70190</c:v>
                </c:pt>
                <c:pt idx="32">
                  <c:v>90505</c:v>
                </c:pt>
                <c:pt idx="33">
                  <c:v>59355</c:v>
                </c:pt>
                <c:pt idx="34">
                  <c:v>0</c:v>
                </c:pt>
                <c:pt idx="35">
                  <c:v>0</c:v>
                </c:pt>
                <c:pt idx="36">
                  <c:v>0</c:v>
                </c:pt>
                <c:pt idx="37">
                  <c:v>0</c:v>
                </c:pt>
                <c:pt idx="38">
                  <c:v>81380</c:v>
                </c:pt>
                <c:pt idx="39">
                  <c:v>101315</c:v>
                </c:pt>
                <c:pt idx="40">
                  <c:v>82960</c:v>
                </c:pt>
                <c:pt idx="41">
                  <c:v>370715</c:v>
                </c:pt>
                <c:pt idx="42">
                  <c:v>347800</c:v>
                </c:pt>
                <c:pt idx="43">
                  <c:v>306190</c:v>
                </c:pt>
                <c:pt idx="44">
                  <c:v>87065</c:v>
                </c:pt>
                <c:pt idx="45">
                  <c:v>69520</c:v>
                </c:pt>
                <c:pt idx="46">
                  <c:v>65215</c:v>
                </c:pt>
                <c:pt idx="47">
                  <c:v>95400</c:v>
                </c:pt>
                <c:pt idx="48">
                  <c:v>256870</c:v>
                </c:pt>
                <c:pt idx="49">
                  <c:v>362385</c:v>
                </c:pt>
                <c:pt idx="50">
                  <c:v>379230</c:v>
                </c:pt>
                <c:pt idx="51">
                  <c:v>348940</c:v>
                </c:pt>
                <c:pt idx="52">
                  <c:v>300020</c:v>
                </c:pt>
                <c:pt idx="53">
                  <c:v>0</c:v>
                </c:pt>
                <c:pt idx="54">
                  <c:v>0</c:v>
                </c:pt>
                <c:pt idx="55">
                  <c:v>0</c:v>
                </c:pt>
                <c:pt idx="56">
                  <c:v>69880</c:v>
                </c:pt>
                <c:pt idx="57">
                  <c:v>90165</c:v>
                </c:pt>
                <c:pt idx="58">
                  <c:v>65135</c:v>
                </c:pt>
                <c:pt idx="59">
                  <c:v>24340</c:v>
                </c:pt>
                <c:pt idx="60">
                  <c:v>86355</c:v>
                </c:pt>
                <c:pt idx="61">
                  <c:v>200865</c:v>
                </c:pt>
                <c:pt idx="62">
                  <c:v>188060</c:v>
                </c:pt>
                <c:pt idx="63">
                  <c:v>104420</c:v>
                </c:pt>
                <c:pt idx="64">
                  <c:v>54460</c:v>
                </c:pt>
                <c:pt idx="65">
                  <c:v>37460</c:v>
                </c:pt>
                <c:pt idx="66">
                  <c:v>63420</c:v>
                </c:pt>
                <c:pt idx="67">
                  <c:v>56845</c:v>
                </c:pt>
                <c:pt idx="68">
                  <c:v>213695</c:v>
                </c:pt>
                <c:pt idx="69">
                  <c:v>288120</c:v>
                </c:pt>
                <c:pt idx="70">
                  <c:v>286380</c:v>
                </c:pt>
                <c:pt idx="71">
                  <c:v>280440</c:v>
                </c:pt>
                <c:pt idx="72">
                  <c:v>278160</c:v>
                </c:pt>
                <c:pt idx="73">
                  <c:v>257200</c:v>
                </c:pt>
                <c:pt idx="74">
                  <c:v>26580</c:v>
                </c:pt>
                <c:pt idx="75">
                  <c:v>53250</c:v>
                </c:pt>
                <c:pt idx="76">
                  <c:v>66225</c:v>
                </c:pt>
                <c:pt idx="77">
                  <c:v>77510</c:v>
                </c:pt>
                <c:pt idx="78">
                  <c:v>63095</c:v>
                </c:pt>
                <c:pt idx="79">
                  <c:v>13520</c:v>
                </c:pt>
                <c:pt idx="80">
                  <c:v>14580</c:v>
                </c:pt>
                <c:pt idx="81">
                  <c:v>13440</c:v>
                </c:pt>
                <c:pt idx="82">
                  <c:v>14500</c:v>
                </c:pt>
                <c:pt idx="83">
                  <c:v>15360</c:v>
                </c:pt>
                <c:pt idx="84">
                  <c:v>910</c:v>
                </c:pt>
                <c:pt idx="85">
                  <c:v>53165</c:v>
                </c:pt>
                <c:pt idx="86">
                  <c:v>68325</c:v>
                </c:pt>
                <c:pt idx="87">
                  <c:v>285865</c:v>
                </c:pt>
                <c:pt idx="88">
                  <c:v>313980</c:v>
                </c:pt>
                <c:pt idx="89">
                  <c:v>296770</c:v>
                </c:pt>
                <c:pt idx="90">
                  <c:v>289345</c:v>
                </c:pt>
                <c:pt idx="91">
                  <c:v>266660</c:v>
                </c:pt>
                <c:pt idx="92">
                  <c:v>205270</c:v>
                </c:pt>
                <c:pt idx="93">
                  <c:v>58285</c:v>
                </c:pt>
                <c:pt idx="94">
                  <c:v>84160</c:v>
                </c:pt>
                <c:pt idx="95">
                  <c:v>76150</c:v>
                </c:pt>
                <c:pt idx="96">
                  <c:v>232055</c:v>
                </c:pt>
                <c:pt idx="97">
                  <c:v>404220</c:v>
                </c:pt>
                <c:pt idx="98">
                  <c:v>424980</c:v>
                </c:pt>
                <c:pt idx="99">
                  <c:v>386300</c:v>
                </c:pt>
              </c:numCache>
            </c:numRef>
          </c:val>
          <c:extLst>
            <c:ext xmlns:c16="http://schemas.microsoft.com/office/drawing/2014/chart" uri="{C3380CC4-5D6E-409C-BE32-E72D297353CC}">
              <c16:uniqueId val="{00000000-E3C4-46BC-AA3D-A3795B7CC7B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yyyy\-mm\-dd"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1</c:f>
              <c:numCache>
                <c:formatCode>yyyy\-mm\-dd</c:formatCode>
                <c:ptCount val="100"/>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51</c:v>
                </c:pt>
                <c:pt idx="29">
                  <c:v>45158</c:v>
                </c:pt>
                <c:pt idx="30">
                  <c:v>45165</c:v>
                </c:pt>
                <c:pt idx="31">
                  <c:v>45172</c:v>
                </c:pt>
                <c:pt idx="32">
                  <c:v>45179</c:v>
                </c:pt>
                <c:pt idx="33">
                  <c:v>45186</c:v>
                </c:pt>
                <c:pt idx="34">
                  <c:v>45193</c:v>
                </c:pt>
                <c:pt idx="35">
                  <c:v>45200</c:v>
                </c:pt>
                <c:pt idx="36">
                  <c:v>45207</c:v>
                </c:pt>
                <c:pt idx="37">
                  <c:v>45214</c:v>
                </c:pt>
                <c:pt idx="38">
                  <c:v>45221</c:v>
                </c:pt>
                <c:pt idx="39">
                  <c:v>45228</c:v>
                </c:pt>
                <c:pt idx="40">
                  <c:v>45235</c:v>
                </c:pt>
                <c:pt idx="41">
                  <c:v>45242</c:v>
                </c:pt>
                <c:pt idx="42">
                  <c:v>45249</c:v>
                </c:pt>
                <c:pt idx="43">
                  <c:v>45256</c:v>
                </c:pt>
                <c:pt idx="44">
                  <c:v>45263</c:v>
                </c:pt>
                <c:pt idx="45">
                  <c:v>45270</c:v>
                </c:pt>
                <c:pt idx="46">
                  <c:v>45277</c:v>
                </c:pt>
                <c:pt idx="47">
                  <c:v>45284</c:v>
                </c:pt>
                <c:pt idx="48">
                  <c:v>45291</c:v>
                </c:pt>
                <c:pt idx="49">
                  <c:v>45298</c:v>
                </c:pt>
                <c:pt idx="50">
                  <c:v>45305</c:v>
                </c:pt>
                <c:pt idx="51">
                  <c:v>45312</c:v>
                </c:pt>
                <c:pt idx="52">
                  <c:v>45319</c:v>
                </c:pt>
                <c:pt idx="53">
                  <c:v>45326</c:v>
                </c:pt>
                <c:pt idx="54">
                  <c:v>45340</c:v>
                </c:pt>
                <c:pt idx="55">
                  <c:v>45347</c:v>
                </c:pt>
                <c:pt idx="56">
                  <c:v>45354</c:v>
                </c:pt>
                <c:pt idx="57">
                  <c:v>45361</c:v>
                </c:pt>
                <c:pt idx="58">
                  <c:v>45368</c:v>
                </c:pt>
                <c:pt idx="59">
                  <c:v>45375</c:v>
                </c:pt>
                <c:pt idx="60">
                  <c:v>45389</c:v>
                </c:pt>
                <c:pt idx="61">
                  <c:v>45396</c:v>
                </c:pt>
                <c:pt idx="62">
                  <c:v>45403</c:v>
                </c:pt>
                <c:pt idx="63">
                  <c:v>45410</c:v>
                </c:pt>
                <c:pt idx="64">
                  <c:v>45417</c:v>
                </c:pt>
                <c:pt idx="65">
                  <c:v>45424</c:v>
                </c:pt>
                <c:pt idx="66">
                  <c:v>45431</c:v>
                </c:pt>
                <c:pt idx="67">
                  <c:v>45438</c:v>
                </c:pt>
                <c:pt idx="68">
                  <c:v>45445</c:v>
                </c:pt>
                <c:pt idx="69">
                  <c:v>45452</c:v>
                </c:pt>
                <c:pt idx="70">
                  <c:v>45459</c:v>
                </c:pt>
                <c:pt idx="71">
                  <c:v>45466</c:v>
                </c:pt>
                <c:pt idx="72">
                  <c:v>45473</c:v>
                </c:pt>
                <c:pt idx="73">
                  <c:v>45480</c:v>
                </c:pt>
                <c:pt idx="74">
                  <c:v>45487</c:v>
                </c:pt>
                <c:pt idx="75">
                  <c:v>45508</c:v>
                </c:pt>
                <c:pt idx="76">
                  <c:v>45515</c:v>
                </c:pt>
                <c:pt idx="77">
                  <c:v>45522</c:v>
                </c:pt>
                <c:pt idx="78">
                  <c:v>45529</c:v>
                </c:pt>
                <c:pt idx="79">
                  <c:v>45536</c:v>
                </c:pt>
                <c:pt idx="80">
                  <c:v>45543</c:v>
                </c:pt>
                <c:pt idx="81">
                  <c:v>45550</c:v>
                </c:pt>
                <c:pt idx="82">
                  <c:v>45557</c:v>
                </c:pt>
                <c:pt idx="83">
                  <c:v>45564</c:v>
                </c:pt>
                <c:pt idx="84">
                  <c:v>45578</c:v>
                </c:pt>
                <c:pt idx="85">
                  <c:v>45585</c:v>
                </c:pt>
                <c:pt idx="86">
                  <c:v>45592</c:v>
                </c:pt>
                <c:pt idx="87">
                  <c:v>45599</c:v>
                </c:pt>
                <c:pt idx="88">
                  <c:v>45606</c:v>
                </c:pt>
                <c:pt idx="89">
                  <c:v>45613</c:v>
                </c:pt>
                <c:pt idx="90">
                  <c:v>45620</c:v>
                </c:pt>
                <c:pt idx="91">
                  <c:v>45627</c:v>
                </c:pt>
                <c:pt idx="92">
                  <c:v>45634</c:v>
                </c:pt>
                <c:pt idx="93">
                  <c:v>45641</c:v>
                </c:pt>
                <c:pt idx="94">
                  <c:v>45648</c:v>
                </c:pt>
                <c:pt idx="95">
                  <c:v>45655</c:v>
                </c:pt>
                <c:pt idx="96">
                  <c:v>45662</c:v>
                </c:pt>
                <c:pt idx="97">
                  <c:v>45669</c:v>
                </c:pt>
                <c:pt idx="98">
                  <c:v>45676</c:v>
                </c:pt>
                <c:pt idx="99">
                  <c:v>45683</c:v>
                </c:pt>
              </c:numCache>
            </c:numRef>
          </c:cat>
          <c:val>
            <c:numRef>
              <c:f>Sheet1!$B$2:$B$101</c:f>
              <c:numCache>
                <c:formatCode>General</c:formatCode>
                <c:ptCount val="100"/>
                <c:pt idx="0">
                  <c:v>360607</c:v>
                </c:pt>
                <c:pt idx="1">
                  <c:v>352257</c:v>
                </c:pt>
                <c:pt idx="2">
                  <c:v>342992</c:v>
                </c:pt>
                <c:pt idx="3">
                  <c:v>328492</c:v>
                </c:pt>
                <c:pt idx="4">
                  <c:v>339350</c:v>
                </c:pt>
                <c:pt idx="5">
                  <c:v>346982</c:v>
                </c:pt>
                <c:pt idx="6">
                  <c:v>334096</c:v>
                </c:pt>
                <c:pt idx="7">
                  <c:v>336495</c:v>
                </c:pt>
                <c:pt idx="8">
                  <c:v>358221</c:v>
                </c:pt>
                <c:pt idx="9">
                  <c:v>339625</c:v>
                </c:pt>
                <c:pt idx="10">
                  <c:v>320878</c:v>
                </c:pt>
                <c:pt idx="11">
                  <c:v>327195</c:v>
                </c:pt>
                <c:pt idx="12">
                  <c:v>360794</c:v>
                </c:pt>
                <c:pt idx="13">
                  <c:v>361445</c:v>
                </c:pt>
                <c:pt idx="14">
                  <c:v>307922</c:v>
                </c:pt>
                <c:pt idx="15">
                  <c:v>352501</c:v>
                </c:pt>
                <c:pt idx="16">
                  <c:v>362104</c:v>
                </c:pt>
                <c:pt idx="17">
                  <c:v>389632</c:v>
                </c:pt>
                <c:pt idx="18">
                  <c:v>365471</c:v>
                </c:pt>
                <c:pt idx="19">
                  <c:v>363794</c:v>
                </c:pt>
                <c:pt idx="20">
                  <c:v>385882</c:v>
                </c:pt>
                <c:pt idx="21">
                  <c:v>402742</c:v>
                </c:pt>
                <c:pt idx="22">
                  <c:v>411659</c:v>
                </c:pt>
                <c:pt idx="23">
                  <c:v>398022</c:v>
                </c:pt>
                <c:pt idx="24">
                  <c:v>386487</c:v>
                </c:pt>
                <c:pt idx="25">
                  <c:v>401198</c:v>
                </c:pt>
                <c:pt idx="26">
                  <c:v>0</c:v>
                </c:pt>
                <c:pt idx="27">
                  <c:v>0</c:v>
                </c:pt>
                <c:pt idx="28">
                  <c:v>251962</c:v>
                </c:pt>
                <c:pt idx="29">
                  <c:v>35160</c:v>
                </c:pt>
                <c:pt idx="30">
                  <c:v>20498</c:v>
                </c:pt>
                <c:pt idx="31">
                  <c:v>17883</c:v>
                </c:pt>
                <c:pt idx="32">
                  <c:v>18859</c:v>
                </c:pt>
                <c:pt idx="33">
                  <c:v>16659</c:v>
                </c:pt>
                <c:pt idx="34">
                  <c:v>19135</c:v>
                </c:pt>
                <c:pt idx="35">
                  <c:v>25785</c:v>
                </c:pt>
                <c:pt idx="36">
                  <c:v>30853</c:v>
                </c:pt>
                <c:pt idx="37">
                  <c:v>34539</c:v>
                </c:pt>
                <c:pt idx="38">
                  <c:v>36233</c:v>
                </c:pt>
                <c:pt idx="39">
                  <c:v>38811</c:v>
                </c:pt>
                <c:pt idx="40">
                  <c:v>422506</c:v>
                </c:pt>
                <c:pt idx="41">
                  <c:v>410500</c:v>
                </c:pt>
                <c:pt idx="42">
                  <c:v>366254</c:v>
                </c:pt>
                <c:pt idx="43">
                  <c:v>333519</c:v>
                </c:pt>
                <c:pt idx="44">
                  <c:v>367563</c:v>
                </c:pt>
                <c:pt idx="45">
                  <c:v>364260</c:v>
                </c:pt>
                <c:pt idx="46">
                  <c:v>379089</c:v>
                </c:pt>
                <c:pt idx="47">
                  <c:v>413936</c:v>
                </c:pt>
                <c:pt idx="48">
                  <c:v>320297</c:v>
                </c:pt>
                <c:pt idx="49">
                  <c:v>362390</c:v>
                </c:pt>
                <c:pt idx="50">
                  <c:v>309163</c:v>
                </c:pt>
                <c:pt idx="51">
                  <c:v>315193</c:v>
                </c:pt>
                <c:pt idx="52">
                  <c:v>340848</c:v>
                </c:pt>
                <c:pt idx="53">
                  <c:v>355996</c:v>
                </c:pt>
                <c:pt idx="54">
                  <c:v>301344</c:v>
                </c:pt>
                <c:pt idx="55">
                  <c:v>279597</c:v>
                </c:pt>
                <c:pt idx="56">
                  <c:v>335054</c:v>
                </c:pt>
                <c:pt idx="57">
                  <c:v>0</c:v>
                </c:pt>
                <c:pt idx="58">
                  <c:v>344234</c:v>
                </c:pt>
                <c:pt idx="59">
                  <c:v>264455</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362277</c:v>
                </c:pt>
                <c:pt idx="78">
                  <c:v>0</c:v>
                </c:pt>
                <c:pt idx="79">
                  <c:v>0</c:v>
                </c:pt>
                <c:pt idx="80">
                  <c:v>0</c:v>
                </c:pt>
                <c:pt idx="81">
                  <c:v>0</c:v>
                </c:pt>
                <c:pt idx="82">
                  <c:v>0</c:v>
                </c:pt>
                <c:pt idx="83">
                  <c:v>0</c:v>
                </c:pt>
                <c:pt idx="84">
                  <c:v>272432</c:v>
                </c:pt>
                <c:pt idx="85">
                  <c:v>269867</c:v>
                </c:pt>
                <c:pt idx="86">
                  <c:v>299321</c:v>
                </c:pt>
                <c:pt idx="87">
                  <c:v>345554</c:v>
                </c:pt>
                <c:pt idx="88">
                  <c:v>354622</c:v>
                </c:pt>
                <c:pt idx="89">
                  <c:v>336014</c:v>
                </c:pt>
                <c:pt idx="90">
                  <c:v>330034</c:v>
                </c:pt>
                <c:pt idx="91">
                  <c:v>265530</c:v>
                </c:pt>
                <c:pt idx="92">
                  <c:v>278416</c:v>
                </c:pt>
                <c:pt idx="93">
                  <c:v>323708</c:v>
                </c:pt>
                <c:pt idx="94">
                  <c:v>370460</c:v>
                </c:pt>
                <c:pt idx="95">
                  <c:v>313626</c:v>
                </c:pt>
                <c:pt idx="96">
                  <c:v>336739</c:v>
                </c:pt>
                <c:pt idx="97">
                  <c:v>316330</c:v>
                </c:pt>
                <c:pt idx="98">
                  <c:v>0</c:v>
                </c:pt>
                <c:pt idx="99">
                  <c:v>0</c:v>
                </c:pt>
              </c:numCache>
            </c:numRef>
          </c:val>
          <c:extLst>
            <c:ext xmlns:c16="http://schemas.microsoft.com/office/drawing/2014/chart" uri="{C3380CC4-5D6E-409C-BE32-E72D297353CC}">
              <c16:uniqueId val="{00000000-72A7-4D08-96D7-E73109FBDC9A}"/>
            </c:ext>
          </c:extLst>
        </c:ser>
        <c:ser>
          <c:idx val="0"/>
          <c:order val="1"/>
          <c:tx>
            <c:strRef>
              <c:f>Sheet1!$C$1</c:f>
              <c:strCache>
                <c:ptCount val="1"/>
                <c:pt idx="0">
                  <c:v>Promo Volume</c:v>
                </c:pt>
              </c:strCache>
            </c:strRef>
          </c:tx>
          <c:spPr>
            <a:solidFill>
              <a:schemeClr val="accent3"/>
            </a:solidFill>
            <a:ln>
              <a:noFill/>
            </a:ln>
            <a:effectLst/>
          </c:spPr>
          <c:invertIfNegative val="0"/>
          <c:cat>
            <c:numRef>
              <c:f>Sheet1!$A$2:$A$101</c:f>
              <c:numCache>
                <c:formatCode>yyyy\-mm\-dd</c:formatCode>
                <c:ptCount val="100"/>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51</c:v>
                </c:pt>
                <c:pt idx="29">
                  <c:v>45158</c:v>
                </c:pt>
                <c:pt idx="30">
                  <c:v>45165</c:v>
                </c:pt>
                <c:pt idx="31">
                  <c:v>45172</c:v>
                </c:pt>
                <c:pt idx="32">
                  <c:v>45179</c:v>
                </c:pt>
                <c:pt idx="33">
                  <c:v>45186</c:v>
                </c:pt>
                <c:pt idx="34">
                  <c:v>45193</c:v>
                </c:pt>
                <c:pt idx="35">
                  <c:v>45200</c:v>
                </c:pt>
                <c:pt idx="36">
                  <c:v>45207</c:v>
                </c:pt>
                <c:pt idx="37">
                  <c:v>45214</c:v>
                </c:pt>
                <c:pt idx="38">
                  <c:v>45221</c:v>
                </c:pt>
                <c:pt idx="39">
                  <c:v>45228</c:v>
                </c:pt>
                <c:pt idx="40">
                  <c:v>45235</c:v>
                </c:pt>
                <c:pt idx="41">
                  <c:v>45242</c:v>
                </c:pt>
                <c:pt idx="42">
                  <c:v>45249</c:v>
                </c:pt>
                <c:pt idx="43">
                  <c:v>45256</c:v>
                </c:pt>
                <c:pt idx="44">
                  <c:v>45263</c:v>
                </c:pt>
                <c:pt idx="45">
                  <c:v>45270</c:v>
                </c:pt>
                <c:pt idx="46">
                  <c:v>45277</c:v>
                </c:pt>
                <c:pt idx="47">
                  <c:v>45284</c:v>
                </c:pt>
                <c:pt idx="48">
                  <c:v>45291</c:v>
                </c:pt>
                <c:pt idx="49">
                  <c:v>45298</c:v>
                </c:pt>
                <c:pt idx="50">
                  <c:v>45305</c:v>
                </c:pt>
                <c:pt idx="51">
                  <c:v>45312</c:v>
                </c:pt>
                <c:pt idx="52">
                  <c:v>45319</c:v>
                </c:pt>
                <c:pt idx="53">
                  <c:v>45326</c:v>
                </c:pt>
                <c:pt idx="54">
                  <c:v>45340</c:v>
                </c:pt>
                <c:pt idx="55">
                  <c:v>45347</c:v>
                </c:pt>
                <c:pt idx="56">
                  <c:v>45354</c:v>
                </c:pt>
                <c:pt idx="57">
                  <c:v>45361</c:v>
                </c:pt>
                <c:pt idx="58">
                  <c:v>45368</c:v>
                </c:pt>
                <c:pt idx="59">
                  <c:v>45375</c:v>
                </c:pt>
                <c:pt idx="60">
                  <c:v>45389</c:v>
                </c:pt>
                <c:pt idx="61">
                  <c:v>45396</c:v>
                </c:pt>
                <c:pt idx="62">
                  <c:v>45403</c:v>
                </c:pt>
                <c:pt idx="63">
                  <c:v>45410</c:v>
                </c:pt>
                <c:pt idx="64">
                  <c:v>45417</c:v>
                </c:pt>
                <c:pt idx="65">
                  <c:v>45424</c:v>
                </c:pt>
                <c:pt idx="66">
                  <c:v>45431</c:v>
                </c:pt>
                <c:pt idx="67">
                  <c:v>45438</c:v>
                </c:pt>
                <c:pt idx="68">
                  <c:v>45445</c:v>
                </c:pt>
                <c:pt idx="69">
                  <c:v>45452</c:v>
                </c:pt>
                <c:pt idx="70">
                  <c:v>45459</c:v>
                </c:pt>
                <c:pt idx="71">
                  <c:v>45466</c:v>
                </c:pt>
                <c:pt idx="72">
                  <c:v>45473</c:v>
                </c:pt>
                <c:pt idx="73">
                  <c:v>45480</c:v>
                </c:pt>
                <c:pt idx="74">
                  <c:v>45487</c:v>
                </c:pt>
                <c:pt idx="75">
                  <c:v>45508</c:v>
                </c:pt>
                <c:pt idx="76">
                  <c:v>45515</c:v>
                </c:pt>
                <c:pt idx="77">
                  <c:v>45522</c:v>
                </c:pt>
                <c:pt idx="78">
                  <c:v>45529</c:v>
                </c:pt>
                <c:pt idx="79">
                  <c:v>45536</c:v>
                </c:pt>
                <c:pt idx="80">
                  <c:v>45543</c:v>
                </c:pt>
                <c:pt idx="81">
                  <c:v>45550</c:v>
                </c:pt>
                <c:pt idx="82">
                  <c:v>45557</c:v>
                </c:pt>
                <c:pt idx="83">
                  <c:v>45564</c:v>
                </c:pt>
                <c:pt idx="84">
                  <c:v>45578</c:v>
                </c:pt>
                <c:pt idx="85">
                  <c:v>45585</c:v>
                </c:pt>
                <c:pt idx="86">
                  <c:v>45592</c:v>
                </c:pt>
                <c:pt idx="87">
                  <c:v>45599</c:v>
                </c:pt>
                <c:pt idx="88">
                  <c:v>45606</c:v>
                </c:pt>
                <c:pt idx="89">
                  <c:v>45613</c:v>
                </c:pt>
                <c:pt idx="90">
                  <c:v>45620</c:v>
                </c:pt>
                <c:pt idx="91">
                  <c:v>45627</c:v>
                </c:pt>
                <c:pt idx="92">
                  <c:v>45634</c:v>
                </c:pt>
                <c:pt idx="93">
                  <c:v>45641</c:v>
                </c:pt>
                <c:pt idx="94">
                  <c:v>45648</c:v>
                </c:pt>
                <c:pt idx="95">
                  <c:v>45655</c:v>
                </c:pt>
                <c:pt idx="96">
                  <c:v>45662</c:v>
                </c:pt>
                <c:pt idx="97">
                  <c:v>45669</c:v>
                </c:pt>
                <c:pt idx="98">
                  <c:v>45676</c:v>
                </c:pt>
                <c:pt idx="99">
                  <c:v>45683</c:v>
                </c:pt>
              </c:numCache>
            </c:numRef>
          </c:cat>
          <c:val>
            <c:numRef>
              <c:f>Sheet1!$C$2:$C$101</c:f>
              <c:numCache>
                <c:formatCode>General</c:formatCode>
                <c:ptCount val="100"/>
                <c:pt idx="0">
                  <c:v>64667</c:v>
                </c:pt>
                <c:pt idx="1">
                  <c:v>42852</c:v>
                </c:pt>
                <c:pt idx="2">
                  <c:v>35164</c:v>
                </c:pt>
                <c:pt idx="3">
                  <c:v>25722</c:v>
                </c:pt>
                <c:pt idx="4">
                  <c:v>26786</c:v>
                </c:pt>
                <c:pt idx="5">
                  <c:v>30736</c:v>
                </c:pt>
                <c:pt idx="6">
                  <c:v>37173</c:v>
                </c:pt>
                <c:pt idx="7">
                  <c:v>75134</c:v>
                </c:pt>
                <c:pt idx="8">
                  <c:v>60902</c:v>
                </c:pt>
                <c:pt idx="9">
                  <c:v>56603</c:v>
                </c:pt>
                <c:pt idx="10">
                  <c:v>56632</c:v>
                </c:pt>
                <c:pt idx="11">
                  <c:v>71144</c:v>
                </c:pt>
                <c:pt idx="12">
                  <c:v>2547</c:v>
                </c:pt>
                <c:pt idx="13">
                  <c:v>37345</c:v>
                </c:pt>
                <c:pt idx="14">
                  <c:v>56291</c:v>
                </c:pt>
                <c:pt idx="15">
                  <c:v>50081</c:v>
                </c:pt>
                <c:pt idx="16">
                  <c:v>7683</c:v>
                </c:pt>
                <c:pt idx="17">
                  <c:v>2404</c:v>
                </c:pt>
                <c:pt idx="18">
                  <c:v>2232</c:v>
                </c:pt>
                <c:pt idx="19">
                  <c:v>1606</c:v>
                </c:pt>
                <c:pt idx="20">
                  <c:v>1255</c:v>
                </c:pt>
                <c:pt idx="21">
                  <c:v>1901</c:v>
                </c:pt>
                <c:pt idx="22">
                  <c:v>1725</c:v>
                </c:pt>
                <c:pt idx="23">
                  <c:v>862</c:v>
                </c:pt>
                <c:pt idx="24">
                  <c:v>2127</c:v>
                </c:pt>
                <c:pt idx="25">
                  <c:v>2886</c:v>
                </c:pt>
                <c:pt idx="26">
                  <c:v>0</c:v>
                </c:pt>
                <c:pt idx="27">
                  <c:v>0</c:v>
                </c:pt>
                <c:pt idx="28">
                  <c:v>167672</c:v>
                </c:pt>
                <c:pt idx="29">
                  <c:v>418146</c:v>
                </c:pt>
                <c:pt idx="30">
                  <c:v>423573</c:v>
                </c:pt>
                <c:pt idx="31">
                  <c:v>421880</c:v>
                </c:pt>
                <c:pt idx="32">
                  <c:v>423350</c:v>
                </c:pt>
                <c:pt idx="33">
                  <c:v>407095</c:v>
                </c:pt>
                <c:pt idx="34">
                  <c:v>397584</c:v>
                </c:pt>
                <c:pt idx="35">
                  <c:v>393285</c:v>
                </c:pt>
                <c:pt idx="36">
                  <c:v>414853</c:v>
                </c:pt>
                <c:pt idx="37">
                  <c:v>418524</c:v>
                </c:pt>
                <c:pt idx="38">
                  <c:v>408006</c:v>
                </c:pt>
                <c:pt idx="39">
                  <c:v>387093</c:v>
                </c:pt>
                <c:pt idx="40">
                  <c:v>22028</c:v>
                </c:pt>
                <c:pt idx="41">
                  <c:v>26488</c:v>
                </c:pt>
                <c:pt idx="42">
                  <c:v>34566</c:v>
                </c:pt>
                <c:pt idx="43">
                  <c:v>51502</c:v>
                </c:pt>
                <c:pt idx="44">
                  <c:v>62994</c:v>
                </c:pt>
                <c:pt idx="45">
                  <c:v>112572</c:v>
                </c:pt>
                <c:pt idx="46">
                  <c:v>106864</c:v>
                </c:pt>
                <c:pt idx="47">
                  <c:v>174603</c:v>
                </c:pt>
                <c:pt idx="48">
                  <c:v>317552</c:v>
                </c:pt>
                <c:pt idx="49">
                  <c:v>11348</c:v>
                </c:pt>
                <c:pt idx="50">
                  <c:v>21360</c:v>
                </c:pt>
                <c:pt idx="51">
                  <c:v>9072</c:v>
                </c:pt>
                <c:pt idx="52">
                  <c:v>3816</c:v>
                </c:pt>
                <c:pt idx="53">
                  <c:v>2476</c:v>
                </c:pt>
                <c:pt idx="54">
                  <c:v>34978</c:v>
                </c:pt>
                <c:pt idx="55">
                  <c:v>121649</c:v>
                </c:pt>
                <c:pt idx="56">
                  <c:v>42472</c:v>
                </c:pt>
                <c:pt idx="57">
                  <c:v>0</c:v>
                </c:pt>
                <c:pt idx="58">
                  <c:v>1003</c:v>
                </c:pt>
                <c:pt idx="59">
                  <c:v>119643</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1683</c:v>
                </c:pt>
                <c:pt idx="78">
                  <c:v>0</c:v>
                </c:pt>
                <c:pt idx="79">
                  <c:v>0</c:v>
                </c:pt>
                <c:pt idx="80">
                  <c:v>0</c:v>
                </c:pt>
                <c:pt idx="81">
                  <c:v>0</c:v>
                </c:pt>
                <c:pt idx="82">
                  <c:v>0</c:v>
                </c:pt>
                <c:pt idx="83">
                  <c:v>0</c:v>
                </c:pt>
                <c:pt idx="84">
                  <c:v>86535</c:v>
                </c:pt>
                <c:pt idx="85">
                  <c:v>109076</c:v>
                </c:pt>
                <c:pt idx="86">
                  <c:v>70912</c:v>
                </c:pt>
                <c:pt idx="87">
                  <c:v>30284</c:v>
                </c:pt>
                <c:pt idx="88">
                  <c:v>38753</c:v>
                </c:pt>
                <c:pt idx="89">
                  <c:v>47520</c:v>
                </c:pt>
                <c:pt idx="90">
                  <c:v>55336</c:v>
                </c:pt>
                <c:pt idx="91">
                  <c:v>122843</c:v>
                </c:pt>
                <c:pt idx="92">
                  <c:v>190112</c:v>
                </c:pt>
                <c:pt idx="93">
                  <c:v>159134</c:v>
                </c:pt>
                <c:pt idx="94">
                  <c:v>160254</c:v>
                </c:pt>
                <c:pt idx="95">
                  <c:v>334412</c:v>
                </c:pt>
                <c:pt idx="96">
                  <c:v>7227</c:v>
                </c:pt>
                <c:pt idx="97">
                  <c:v>2106</c:v>
                </c:pt>
                <c:pt idx="98">
                  <c:v>0</c:v>
                </c:pt>
                <c:pt idx="99">
                  <c:v>0</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219792786125353E-2"/>
          <c:y val="0.22555108645669017"/>
          <c:w val="0.96766497516299987"/>
          <c:h val="0.76466540290122786"/>
        </c:manualLayout>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97</c:f>
              <c:numCache>
                <c:formatCode>yyyy\-mm\-dd</c:formatCode>
                <c:ptCount val="96"/>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109</c:v>
                </c:pt>
                <c:pt idx="21">
                  <c:v>45130</c:v>
                </c:pt>
                <c:pt idx="22">
                  <c:v>45172</c:v>
                </c:pt>
                <c:pt idx="23">
                  <c:v>45179</c:v>
                </c:pt>
                <c:pt idx="24">
                  <c:v>45186</c:v>
                </c:pt>
                <c:pt idx="25">
                  <c:v>45193</c:v>
                </c:pt>
                <c:pt idx="26">
                  <c:v>45200</c:v>
                </c:pt>
                <c:pt idx="27">
                  <c:v>45207</c:v>
                </c:pt>
                <c:pt idx="28">
                  <c:v>45214</c:v>
                </c:pt>
                <c:pt idx="29">
                  <c:v>45221</c:v>
                </c:pt>
                <c:pt idx="30">
                  <c:v>45228</c:v>
                </c:pt>
                <c:pt idx="31">
                  <c:v>45235</c:v>
                </c:pt>
                <c:pt idx="32">
                  <c:v>45242</c:v>
                </c:pt>
                <c:pt idx="33">
                  <c:v>45249</c:v>
                </c:pt>
                <c:pt idx="34">
                  <c:v>45256</c:v>
                </c:pt>
                <c:pt idx="35">
                  <c:v>45263</c:v>
                </c:pt>
                <c:pt idx="36">
                  <c:v>45270</c:v>
                </c:pt>
                <c:pt idx="37">
                  <c:v>45277</c:v>
                </c:pt>
                <c:pt idx="38">
                  <c:v>45284</c:v>
                </c:pt>
                <c:pt idx="39">
                  <c:v>45291</c:v>
                </c:pt>
                <c:pt idx="40">
                  <c:v>45298</c:v>
                </c:pt>
                <c:pt idx="41">
                  <c:v>45305</c:v>
                </c:pt>
                <c:pt idx="42">
                  <c:v>45312</c:v>
                </c:pt>
                <c:pt idx="43">
                  <c:v>45319</c:v>
                </c:pt>
                <c:pt idx="44">
                  <c:v>45326</c:v>
                </c:pt>
                <c:pt idx="45">
                  <c:v>45333</c:v>
                </c:pt>
                <c:pt idx="46">
                  <c:v>45340</c:v>
                </c:pt>
                <c:pt idx="47">
                  <c:v>45347</c:v>
                </c:pt>
                <c:pt idx="48">
                  <c:v>45354</c:v>
                </c:pt>
                <c:pt idx="49">
                  <c:v>45361</c:v>
                </c:pt>
                <c:pt idx="50">
                  <c:v>45368</c:v>
                </c:pt>
                <c:pt idx="51">
                  <c:v>45375</c:v>
                </c:pt>
                <c:pt idx="52">
                  <c:v>45382</c:v>
                </c:pt>
                <c:pt idx="53">
                  <c:v>45389</c:v>
                </c:pt>
                <c:pt idx="54">
                  <c:v>45396</c:v>
                </c:pt>
                <c:pt idx="55">
                  <c:v>45403</c:v>
                </c:pt>
                <c:pt idx="56">
                  <c:v>45410</c:v>
                </c:pt>
                <c:pt idx="57">
                  <c:v>45417</c:v>
                </c:pt>
                <c:pt idx="58">
                  <c:v>45424</c:v>
                </c:pt>
                <c:pt idx="59">
                  <c:v>45431</c:v>
                </c:pt>
                <c:pt idx="60">
                  <c:v>45438</c:v>
                </c:pt>
                <c:pt idx="61">
                  <c:v>45445</c:v>
                </c:pt>
                <c:pt idx="62">
                  <c:v>45452</c:v>
                </c:pt>
                <c:pt idx="63">
                  <c:v>45459</c:v>
                </c:pt>
                <c:pt idx="64">
                  <c:v>45466</c:v>
                </c:pt>
                <c:pt idx="65">
                  <c:v>45473</c:v>
                </c:pt>
                <c:pt idx="66">
                  <c:v>45480</c:v>
                </c:pt>
                <c:pt idx="67">
                  <c:v>45487</c:v>
                </c:pt>
                <c:pt idx="68">
                  <c:v>45494</c:v>
                </c:pt>
                <c:pt idx="69">
                  <c:v>45501</c:v>
                </c:pt>
                <c:pt idx="70">
                  <c:v>45508</c:v>
                </c:pt>
                <c:pt idx="71">
                  <c:v>45515</c:v>
                </c:pt>
                <c:pt idx="72">
                  <c:v>45522</c:v>
                </c:pt>
                <c:pt idx="73">
                  <c:v>45529</c:v>
                </c:pt>
                <c:pt idx="74">
                  <c:v>45536</c:v>
                </c:pt>
                <c:pt idx="75">
                  <c:v>45543</c:v>
                </c:pt>
                <c:pt idx="76">
                  <c:v>45550</c:v>
                </c:pt>
                <c:pt idx="77">
                  <c:v>45557</c:v>
                </c:pt>
                <c:pt idx="78">
                  <c:v>45564</c:v>
                </c:pt>
                <c:pt idx="79">
                  <c:v>45571</c:v>
                </c:pt>
                <c:pt idx="80">
                  <c:v>45578</c:v>
                </c:pt>
                <c:pt idx="81">
                  <c:v>45585</c:v>
                </c:pt>
                <c:pt idx="82">
                  <c:v>45592</c:v>
                </c:pt>
                <c:pt idx="83">
                  <c:v>45599</c:v>
                </c:pt>
                <c:pt idx="84">
                  <c:v>45606</c:v>
                </c:pt>
                <c:pt idx="85">
                  <c:v>45613</c:v>
                </c:pt>
                <c:pt idx="86">
                  <c:v>45620</c:v>
                </c:pt>
                <c:pt idx="87">
                  <c:v>45627</c:v>
                </c:pt>
                <c:pt idx="88">
                  <c:v>45634</c:v>
                </c:pt>
                <c:pt idx="89">
                  <c:v>45641</c:v>
                </c:pt>
                <c:pt idx="90">
                  <c:v>45648</c:v>
                </c:pt>
                <c:pt idx="91">
                  <c:v>45655</c:v>
                </c:pt>
                <c:pt idx="92">
                  <c:v>45662</c:v>
                </c:pt>
                <c:pt idx="93">
                  <c:v>45669</c:v>
                </c:pt>
                <c:pt idx="94">
                  <c:v>45676</c:v>
                </c:pt>
                <c:pt idx="95">
                  <c:v>45683</c:v>
                </c:pt>
              </c:numCache>
            </c:numRef>
          </c:cat>
          <c:val>
            <c:numRef>
              <c:f>Sheet1!$B$2:$B$97</c:f>
              <c:numCache>
                <c:formatCode>General</c:formatCode>
                <c:ptCount val="96"/>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numCache>
            </c:numRef>
          </c:val>
          <c:extLst>
            <c:ext xmlns:c16="http://schemas.microsoft.com/office/drawing/2014/chart" uri="{C3380CC4-5D6E-409C-BE32-E72D297353CC}">
              <c16:uniqueId val="{00000001-E3C4-46BC-AA3D-A3795B7CC7BA}"/>
            </c:ext>
          </c:extLst>
        </c:ser>
        <c:ser>
          <c:idx val="0"/>
          <c:order val="1"/>
          <c:tx>
            <c:strRef>
              <c:f>Sheet1!$C$1</c:f>
              <c:strCache>
                <c:ptCount val="1"/>
                <c:pt idx="0">
                  <c:v>Promo Volume</c:v>
                </c:pt>
              </c:strCache>
            </c:strRef>
          </c:tx>
          <c:spPr>
            <a:solidFill>
              <a:schemeClr val="accent3"/>
            </a:solidFill>
            <a:ln>
              <a:noFill/>
            </a:ln>
            <a:effectLst/>
          </c:spPr>
          <c:invertIfNegative val="0"/>
          <c:cat>
            <c:numRef>
              <c:f>Sheet1!$A$2:$A$97</c:f>
              <c:numCache>
                <c:formatCode>yyyy\-mm\-dd</c:formatCode>
                <c:ptCount val="96"/>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109</c:v>
                </c:pt>
                <c:pt idx="21">
                  <c:v>45130</c:v>
                </c:pt>
                <c:pt idx="22">
                  <c:v>45172</c:v>
                </c:pt>
                <c:pt idx="23">
                  <c:v>45179</c:v>
                </c:pt>
                <c:pt idx="24">
                  <c:v>45186</c:v>
                </c:pt>
                <c:pt idx="25">
                  <c:v>45193</c:v>
                </c:pt>
                <c:pt idx="26">
                  <c:v>45200</c:v>
                </c:pt>
                <c:pt idx="27">
                  <c:v>45207</c:v>
                </c:pt>
                <c:pt idx="28">
                  <c:v>45214</c:v>
                </c:pt>
                <c:pt idx="29">
                  <c:v>45221</c:v>
                </c:pt>
                <c:pt idx="30">
                  <c:v>45228</c:v>
                </c:pt>
                <c:pt idx="31">
                  <c:v>45235</c:v>
                </c:pt>
                <c:pt idx="32">
                  <c:v>45242</c:v>
                </c:pt>
                <c:pt idx="33">
                  <c:v>45249</c:v>
                </c:pt>
                <c:pt idx="34">
                  <c:v>45256</c:v>
                </c:pt>
                <c:pt idx="35">
                  <c:v>45263</c:v>
                </c:pt>
                <c:pt idx="36">
                  <c:v>45270</c:v>
                </c:pt>
                <c:pt idx="37">
                  <c:v>45277</c:v>
                </c:pt>
                <c:pt idx="38">
                  <c:v>45284</c:v>
                </c:pt>
                <c:pt idx="39">
                  <c:v>45291</c:v>
                </c:pt>
                <c:pt idx="40">
                  <c:v>45298</c:v>
                </c:pt>
                <c:pt idx="41">
                  <c:v>45305</c:v>
                </c:pt>
                <c:pt idx="42">
                  <c:v>45312</c:v>
                </c:pt>
                <c:pt idx="43">
                  <c:v>45319</c:v>
                </c:pt>
                <c:pt idx="44">
                  <c:v>45326</c:v>
                </c:pt>
                <c:pt idx="45">
                  <c:v>45333</c:v>
                </c:pt>
                <c:pt idx="46">
                  <c:v>45340</c:v>
                </c:pt>
                <c:pt idx="47">
                  <c:v>45347</c:v>
                </c:pt>
                <c:pt idx="48">
                  <c:v>45354</c:v>
                </c:pt>
                <c:pt idx="49">
                  <c:v>45361</c:v>
                </c:pt>
                <c:pt idx="50">
                  <c:v>45368</c:v>
                </c:pt>
                <c:pt idx="51">
                  <c:v>45375</c:v>
                </c:pt>
                <c:pt idx="52">
                  <c:v>45382</c:v>
                </c:pt>
                <c:pt idx="53">
                  <c:v>45389</c:v>
                </c:pt>
                <c:pt idx="54">
                  <c:v>45396</c:v>
                </c:pt>
                <c:pt idx="55">
                  <c:v>45403</c:v>
                </c:pt>
                <c:pt idx="56">
                  <c:v>45410</c:v>
                </c:pt>
                <c:pt idx="57">
                  <c:v>45417</c:v>
                </c:pt>
                <c:pt idx="58">
                  <c:v>45424</c:v>
                </c:pt>
                <c:pt idx="59">
                  <c:v>45431</c:v>
                </c:pt>
                <c:pt idx="60">
                  <c:v>45438</c:v>
                </c:pt>
                <c:pt idx="61">
                  <c:v>45445</c:v>
                </c:pt>
                <c:pt idx="62">
                  <c:v>45452</c:v>
                </c:pt>
                <c:pt idx="63">
                  <c:v>45459</c:v>
                </c:pt>
                <c:pt idx="64">
                  <c:v>45466</c:v>
                </c:pt>
                <c:pt idx="65">
                  <c:v>45473</c:v>
                </c:pt>
                <c:pt idx="66">
                  <c:v>45480</c:v>
                </c:pt>
                <c:pt idx="67">
                  <c:v>45487</c:v>
                </c:pt>
                <c:pt idx="68">
                  <c:v>45494</c:v>
                </c:pt>
                <c:pt idx="69">
                  <c:v>45501</c:v>
                </c:pt>
                <c:pt idx="70">
                  <c:v>45508</c:v>
                </c:pt>
                <c:pt idx="71">
                  <c:v>45515</c:v>
                </c:pt>
                <c:pt idx="72">
                  <c:v>45522</c:v>
                </c:pt>
                <c:pt idx="73">
                  <c:v>45529</c:v>
                </c:pt>
                <c:pt idx="74">
                  <c:v>45536</c:v>
                </c:pt>
                <c:pt idx="75">
                  <c:v>45543</c:v>
                </c:pt>
                <c:pt idx="76">
                  <c:v>45550</c:v>
                </c:pt>
                <c:pt idx="77">
                  <c:v>45557</c:v>
                </c:pt>
                <c:pt idx="78">
                  <c:v>45564</c:v>
                </c:pt>
                <c:pt idx="79">
                  <c:v>45571</c:v>
                </c:pt>
                <c:pt idx="80">
                  <c:v>45578</c:v>
                </c:pt>
                <c:pt idx="81">
                  <c:v>45585</c:v>
                </c:pt>
                <c:pt idx="82">
                  <c:v>45592</c:v>
                </c:pt>
                <c:pt idx="83">
                  <c:v>45599</c:v>
                </c:pt>
                <c:pt idx="84">
                  <c:v>45606</c:v>
                </c:pt>
                <c:pt idx="85">
                  <c:v>45613</c:v>
                </c:pt>
                <c:pt idx="86">
                  <c:v>45620</c:v>
                </c:pt>
                <c:pt idx="87">
                  <c:v>45627</c:v>
                </c:pt>
                <c:pt idx="88">
                  <c:v>45634</c:v>
                </c:pt>
                <c:pt idx="89">
                  <c:v>45641</c:v>
                </c:pt>
                <c:pt idx="90">
                  <c:v>45648</c:v>
                </c:pt>
                <c:pt idx="91">
                  <c:v>45655</c:v>
                </c:pt>
                <c:pt idx="92">
                  <c:v>45662</c:v>
                </c:pt>
                <c:pt idx="93">
                  <c:v>45669</c:v>
                </c:pt>
                <c:pt idx="94">
                  <c:v>45676</c:v>
                </c:pt>
                <c:pt idx="95">
                  <c:v>45683</c:v>
                </c:pt>
              </c:numCache>
            </c:numRef>
          </c:cat>
          <c:val>
            <c:numRef>
              <c:f>Sheet1!$C$2:$C$97</c:f>
              <c:numCache>
                <c:formatCode>General</c:formatCode>
                <c:ptCount val="96"/>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3050</c:v>
                </c:pt>
                <c:pt idx="32">
                  <c:v>4675</c:v>
                </c:pt>
                <c:pt idx="33">
                  <c:v>4890</c:v>
                </c:pt>
                <c:pt idx="34">
                  <c:v>5500</c:v>
                </c:pt>
                <c:pt idx="35">
                  <c:v>0</c:v>
                </c:pt>
                <c:pt idx="36">
                  <c:v>4865</c:v>
                </c:pt>
                <c:pt idx="37">
                  <c:v>10250</c:v>
                </c:pt>
                <c:pt idx="38">
                  <c:v>41340</c:v>
                </c:pt>
                <c:pt idx="39">
                  <c:v>22155</c:v>
                </c:pt>
                <c:pt idx="40">
                  <c:v>12445</c:v>
                </c:pt>
                <c:pt idx="41">
                  <c:v>38375</c:v>
                </c:pt>
                <c:pt idx="42">
                  <c:v>31810</c:v>
                </c:pt>
                <c:pt idx="43">
                  <c:v>13205</c:v>
                </c:pt>
                <c:pt idx="44">
                  <c:v>3790</c:v>
                </c:pt>
                <c:pt idx="45">
                  <c:v>1290</c:v>
                </c:pt>
                <c:pt idx="46">
                  <c:v>520</c:v>
                </c:pt>
                <c:pt idx="47">
                  <c:v>340</c:v>
                </c:pt>
                <c:pt idx="48">
                  <c:v>265</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numCache>
            </c:numRef>
          </c:val>
          <c:extLst>
            <c:ext xmlns:c16="http://schemas.microsoft.com/office/drawing/2014/chart" uri="{C3380CC4-5D6E-409C-BE32-E72D297353CC}">
              <c16:uniqueId val="{00000000-E3C4-46BC-AA3D-A3795B7CC7B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yyyy\-mm\-dd"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97</c:f>
              <c:numCache>
                <c:formatCode>yyyy\-mm\-dd</c:formatCode>
                <c:ptCount val="96"/>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109</c:v>
                </c:pt>
                <c:pt idx="21">
                  <c:v>45130</c:v>
                </c:pt>
                <c:pt idx="22">
                  <c:v>45172</c:v>
                </c:pt>
                <c:pt idx="23">
                  <c:v>45179</c:v>
                </c:pt>
                <c:pt idx="24">
                  <c:v>45186</c:v>
                </c:pt>
                <c:pt idx="25">
                  <c:v>45193</c:v>
                </c:pt>
                <c:pt idx="26">
                  <c:v>45200</c:v>
                </c:pt>
                <c:pt idx="27">
                  <c:v>45207</c:v>
                </c:pt>
                <c:pt idx="28">
                  <c:v>45214</c:v>
                </c:pt>
                <c:pt idx="29">
                  <c:v>45221</c:v>
                </c:pt>
                <c:pt idx="30">
                  <c:v>45228</c:v>
                </c:pt>
                <c:pt idx="31">
                  <c:v>45235</c:v>
                </c:pt>
                <c:pt idx="32">
                  <c:v>45242</c:v>
                </c:pt>
                <c:pt idx="33">
                  <c:v>45249</c:v>
                </c:pt>
                <c:pt idx="34">
                  <c:v>45256</c:v>
                </c:pt>
                <c:pt idx="35">
                  <c:v>45263</c:v>
                </c:pt>
                <c:pt idx="36">
                  <c:v>45270</c:v>
                </c:pt>
                <c:pt idx="37">
                  <c:v>45277</c:v>
                </c:pt>
                <c:pt idx="38">
                  <c:v>45284</c:v>
                </c:pt>
                <c:pt idx="39">
                  <c:v>45291</c:v>
                </c:pt>
                <c:pt idx="40">
                  <c:v>45298</c:v>
                </c:pt>
                <c:pt idx="41">
                  <c:v>45305</c:v>
                </c:pt>
                <c:pt idx="42">
                  <c:v>45312</c:v>
                </c:pt>
                <c:pt idx="43">
                  <c:v>45319</c:v>
                </c:pt>
                <c:pt idx="44">
                  <c:v>45326</c:v>
                </c:pt>
                <c:pt idx="45">
                  <c:v>45333</c:v>
                </c:pt>
                <c:pt idx="46">
                  <c:v>45340</c:v>
                </c:pt>
                <c:pt idx="47">
                  <c:v>45347</c:v>
                </c:pt>
                <c:pt idx="48">
                  <c:v>45354</c:v>
                </c:pt>
                <c:pt idx="49">
                  <c:v>45361</c:v>
                </c:pt>
                <c:pt idx="50">
                  <c:v>45368</c:v>
                </c:pt>
                <c:pt idx="51">
                  <c:v>45375</c:v>
                </c:pt>
                <c:pt idx="52">
                  <c:v>45382</c:v>
                </c:pt>
                <c:pt idx="53">
                  <c:v>45389</c:v>
                </c:pt>
                <c:pt idx="54">
                  <c:v>45396</c:v>
                </c:pt>
                <c:pt idx="55">
                  <c:v>45403</c:v>
                </c:pt>
                <c:pt idx="56">
                  <c:v>45410</c:v>
                </c:pt>
                <c:pt idx="57">
                  <c:v>45417</c:v>
                </c:pt>
                <c:pt idx="58">
                  <c:v>45424</c:v>
                </c:pt>
                <c:pt idx="59">
                  <c:v>45431</c:v>
                </c:pt>
                <c:pt idx="60">
                  <c:v>45438</c:v>
                </c:pt>
                <c:pt idx="61">
                  <c:v>45445</c:v>
                </c:pt>
                <c:pt idx="62">
                  <c:v>45452</c:v>
                </c:pt>
                <c:pt idx="63">
                  <c:v>45459</c:v>
                </c:pt>
                <c:pt idx="64">
                  <c:v>45466</c:v>
                </c:pt>
                <c:pt idx="65">
                  <c:v>45473</c:v>
                </c:pt>
                <c:pt idx="66">
                  <c:v>45480</c:v>
                </c:pt>
                <c:pt idx="67">
                  <c:v>45487</c:v>
                </c:pt>
                <c:pt idx="68">
                  <c:v>45494</c:v>
                </c:pt>
                <c:pt idx="69">
                  <c:v>45501</c:v>
                </c:pt>
                <c:pt idx="70">
                  <c:v>45508</c:v>
                </c:pt>
                <c:pt idx="71">
                  <c:v>45515</c:v>
                </c:pt>
                <c:pt idx="72">
                  <c:v>45522</c:v>
                </c:pt>
                <c:pt idx="73">
                  <c:v>45529</c:v>
                </c:pt>
                <c:pt idx="74">
                  <c:v>45536</c:v>
                </c:pt>
                <c:pt idx="75">
                  <c:v>45543</c:v>
                </c:pt>
                <c:pt idx="76">
                  <c:v>45550</c:v>
                </c:pt>
                <c:pt idx="77">
                  <c:v>45557</c:v>
                </c:pt>
                <c:pt idx="78">
                  <c:v>45564</c:v>
                </c:pt>
                <c:pt idx="79">
                  <c:v>45571</c:v>
                </c:pt>
                <c:pt idx="80">
                  <c:v>45578</c:v>
                </c:pt>
                <c:pt idx="81">
                  <c:v>45585</c:v>
                </c:pt>
                <c:pt idx="82">
                  <c:v>45592</c:v>
                </c:pt>
                <c:pt idx="83">
                  <c:v>45599</c:v>
                </c:pt>
                <c:pt idx="84">
                  <c:v>45606</c:v>
                </c:pt>
                <c:pt idx="85">
                  <c:v>45613</c:v>
                </c:pt>
                <c:pt idx="86">
                  <c:v>45620</c:v>
                </c:pt>
                <c:pt idx="87">
                  <c:v>45627</c:v>
                </c:pt>
                <c:pt idx="88">
                  <c:v>45634</c:v>
                </c:pt>
                <c:pt idx="89">
                  <c:v>45641</c:v>
                </c:pt>
                <c:pt idx="90">
                  <c:v>45648</c:v>
                </c:pt>
                <c:pt idx="91">
                  <c:v>45655</c:v>
                </c:pt>
                <c:pt idx="92">
                  <c:v>45662</c:v>
                </c:pt>
                <c:pt idx="93">
                  <c:v>45669</c:v>
                </c:pt>
                <c:pt idx="94">
                  <c:v>45676</c:v>
                </c:pt>
                <c:pt idx="95">
                  <c:v>45683</c:v>
                </c:pt>
              </c:numCache>
            </c:numRef>
          </c:cat>
          <c:val>
            <c:numRef>
              <c:f>Sheet1!$B$2:$B$97</c:f>
              <c:numCache>
                <c:formatCode>General</c:formatCode>
                <c:ptCount val="96"/>
                <c:pt idx="0">
                  <c:v>85450</c:v>
                </c:pt>
                <c:pt idx="1">
                  <c:v>90402</c:v>
                </c:pt>
                <c:pt idx="2">
                  <c:v>92029</c:v>
                </c:pt>
                <c:pt idx="3">
                  <c:v>90466</c:v>
                </c:pt>
                <c:pt idx="4">
                  <c:v>93722</c:v>
                </c:pt>
                <c:pt idx="5">
                  <c:v>89629</c:v>
                </c:pt>
                <c:pt idx="6">
                  <c:v>83585</c:v>
                </c:pt>
                <c:pt idx="7">
                  <c:v>85016</c:v>
                </c:pt>
                <c:pt idx="8">
                  <c:v>92907</c:v>
                </c:pt>
                <c:pt idx="9">
                  <c:v>85455</c:v>
                </c:pt>
                <c:pt idx="10">
                  <c:v>85414</c:v>
                </c:pt>
                <c:pt idx="11">
                  <c:v>86377</c:v>
                </c:pt>
                <c:pt idx="12">
                  <c:v>83839</c:v>
                </c:pt>
                <c:pt idx="13">
                  <c:v>92333</c:v>
                </c:pt>
                <c:pt idx="14">
                  <c:v>80286</c:v>
                </c:pt>
                <c:pt idx="15">
                  <c:v>82212</c:v>
                </c:pt>
                <c:pt idx="16">
                  <c:v>82434</c:v>
                </c:pt>
                <c:pt idx="17">
                  <c:v>94186</c:v>
                </c:pt>
                <c:pt idx="18">
                  <c:v>89026</c:v>
                </c:pt>
                <c:pt idx="19">
                  <c:v>87068</c:v>
                </c:pt>
                <c:pt idx="20">
                  <c:v>94456</c:v>
                </c:pt>
                <c:pt idx="21">
                  <c:v>86317</c:v>
                </c:pt>
                <c:pt idx="22">
                  <c:v>85570</c:v>
                </c:pt>
                <c:pt idx="23">
                  <c:v>91155</c:v>
                </c:pt>
                <c:pt idx="24">
                  <c:v>90311</c:v>
                </c:pt>
                <c:pt idx="25">
                  <c:v>87960</c:v>
                </c:pt>
                <c:pt idx="26">
                  <c:v>83702</c:v>
                </c:pt>
                <c:pt idx="27">
                  <c:v>83889</c:v>
                </c:pt>
                <c:pt idx="28">
                  <c:v>72209</c:v>
                </c:pt>
                <c:pt idx="29">
                  <c:v>72787</c:v>
                </c:pt>
                <c:pt idx="30">
                  <c:v>72251</c:v>
                </c:pt>
                <c:pt idx="31">
                  <c:v>76903</c:v>
                </c:pt>
                <c:pt idx="32">
                  <c:v>85286</c:v>
                </c:pt>
                <c:pt idx="33">
                  <c:v>84770</c:v>
                </c:pt>
                <c:pt idx="34">
                  <c:v>79290</c:v>
                </c:pt>
                <c:pt idx="35">
                  <c:v>82584</c:v>
                </c:pt>
                <c:pt idx="36">
                  <c:v>86697</c:v>
                </c:pt>
                <c:pt idx="37">
                  <c:v>80942</c:v>
                </c:pt>
                <c:pt idx="38">
                  <c:v>85038</c:v>
                </c:pt>
                <c:pt idx="39">
                  <c:v>59207</c:v>
                </c:pt>
                <c:pt idx="40">
                  <c:v>70361</c:v>
                </c:pt>
                <c:pt idx="41">
                  <c:v>73694</c:v>
                </c:pt>
                <c:pt idx="42">
                  <c:v>87469</c:v>
                </c:pt>
                <c:pt idx="43">
                  <c:v>96817</c:v>
                </c:pt>
                <c:pt idx="44">
                  <c:v>89581</c:v>
                </c:pt>
                <c:pt idx="45">
                  <c:v>79347</c:v>
                </c:pt>
                <c:pt idx="46">
                  <c:v>68612</c:v>
                </c:pt>
                <c:pt idx="47">
                  <c:v>65512</c:v>
                </c:pt>
                <c:pt idx="48">
                  <c:v>65189</c:v>
                </c:pt>
                <c:pt idx="49">
                  <c:v>64865</c:v>
                </c:pt>
                <c:pt idx="50">
                  <c:v>69450</c:v>
                </c:pt>
                <c:pt idx="51">
                  <c:v>79508</c:v>
                </c:pt>
                <c:pt idx="52">
                  <c:v>81883</c:v>
                </c:pt>
                <c:pt idx="53">
                  <c:v>82500</c:v>
                </c:pt>
                <c:pt idx="54">
                  <c:v>78944</c:v>
                </c:pt>
                <c:pt idx="55">
                  <c:v>77756</c:v>
                </c:pt>
                <c:pt idx="56">
                  <c:v>77908</c:v>
                </c:pt>
                <c:pt idx="57">
                  <c:v>81800</c:v>
                </c:pt>
                <c:pt idx="58">
                  <c:v>80072</c:v>
                </c:pt>
                <c:pt idx="59">
                  <c:v>76579</c:v>
                </c:pt>
                <c:pt idx="60">
                  <c:v>91422</c:v>
                </c:pt>
                <c:pt idx="61">
                  <c:v>98330</c:v>
                </c:pt>
                <c:pt idx="62">
                  <c:v>104843</c:v>
                </c:pt>
                <c:pt idx="63">
                  <c:v>100263</c:v>
                </c:pt>
                <c:pt idx="64">
                  <c:v>99287</c:v>
                </c:pt>
                <c:pt idx="65">
                  <c:v>99414</c:v>
                </c:pt>
                <c:pt idx="66">
                  <c:v>108565</c:v>
                </c:pt>
                <c:pt idx="67">
                  <c:v>89339</c:v>
                </c:pt>
                <c:pt idx="68">
                  <c:v>83627</c:v>
                </c:pt>
                <c:pt idx="69">
                  <c:v>79475</c:v>
                </c:pt>
                <c:pt idx="70">
                  <c:v>83906</c:v>
                </c:pt>
                <c:pt idx="71">
                  <c:v>95696</c:v>
                </c:pt>
                <c:pt idx="72">
                  <c:v>95067</c:v>
                </c:pt>
                <c:pt idx="73">
                  <c:v>97989</c:v>
                </c:pt>
                <c:pt idx="74">
                  <c:v>93908</c:v>
                </c:pt>
                <c:pt idx="75">
                  <c:v>98511</c:v>
                </c:pt>
                <c:pt idx="76">
                  <c:v>91856</c:v>
                </c:pt>
                <c:pt idx="77">
                  <c:v>92940</c:v>
                </c:pt>
                <c:pt idx="78">
                  <c:v>85187</c:v>
                </c:pt>
                <c:pt idx="79">
                  <c:v>93105</c:v>
                </c:pt>
                <c:pt idx="80">
                  <c:v>75556</c:v>
                </c:pt>
                <c:pt idx="81">
                  <c:v>72755</c:v>
                </c:pt>
                <c:pt idx="82">
                  <c:v>81165</c:v>
                </c:pt>
                <c:pt idx="83">
                  <c:v>90943</c:v>
                </c:pt>
                <c:pt idx="84">
                  <c:v>96055</c:v>
                </c:pt>
                <c:pt idx="85">
                  <c:v>72278</c:v>
                </c:pt>
                <c:pt idx="86">
                  <c:v>23330</c:v>
                </c:pt>
                <c:pt idx="87">
                  <c:v>22143</c:v>
                </c:pt>
                <c:pt idx="88">
                  <c:v>24683</c:v>
                </c:pt>
                <c:pt idx="89">
                  <c:v>23055</c:v>
                </c:pt>
                <c:pt idx="90">
                  <c:v>25078</c:v>
                </c:pt>
                <c:pt idx="91">
                  <c:v>25626</c:v>
                </c:pt>
                <c:pt idx="92">
                  <c:v>21307</c:v>
                </c:pt>
                <c:pt idx="93">
                  <c:v>21189</c:v>
                </c:pt>
                <c:pt idx="94">
                  <c:v>24874</c:v>
                </c:pt>
                <c:pt idx="95">
                  <c:v>24616</c:v>
                </c:pt>
              </c:numCache>
            </c:numRef>
          </c:val>
          <c:extLst>
            <c:ext xmlns:c16="http://schemas.microsoft.com/office/drawing/2014/chart" uri="{C3380CC4-5D6E-409C-BE32-E72D297353CC}">
              <c16:uniqueId val="{00000000-72A7-4D08-96D7-E73109FBDC9A}"/>
            </c:ext>
          </c:extLst>
        </c:ser>
        <c:ser>
          <c:idx val="0"/>
          <c:order val="1"/>
          <c:tx>
            <c:strRef>
              <c:f>Sheet1!$C$1</c:f>
              <c:strCache>
                <c:ptCount val="1"/>
                <c:pt idx="0">
                  <c:v>Promo Volume</c:v>
                </c:pt>
              </c:strCache>
            </c:strRef>
          </c:tx>
          <c:spPr>
            <a:solidFill>
              <a:schemeClr val="accent3"/>
            </a:solidFill>
            <a:ln>
              <a:noFill/>
            </a:ln>
            <a:effectLst/>
          </c:spPr>
          <c:invertIfNegative val="0"/>
          <c:cat>
            <c:numRef>
              <c:f>Sheet1!$A$2:$A$97</c:f>
              <c:numCache>
                <c:formatCode>yyyy\-mm\-dd</c:formatCode>
                <c:ptCount val="96"/>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109</c:v>
                </c:pt>
                <c:pt idx="21">
                  <c:v>45130</c:v>
                </c:pt>
                <c:pt idx="22">
                  <c:v>45172</c:v>
                </c:pt>
                <c:pt idx="23">
                  <c:v>45179</c:v>
                </c:pt>
                <c:pt idx="24">
                  <c:v>45186</c:v>
                </c:pt>
                <c:pt idx="25">
                  <c:v>45193</c:v>
                </c:pt>
                <c:pt idx="26">
                  <c:v>45200</c:v>
                </c:pt>
                <c:pt idx="27">
                  <c:v>45207</c:v>
                </c:pt>
                <c:pt idx="28">
                  <c:v>45214</c:v>
                </c:pt>
                <c:pt idx="29">
                  <c:v>45221</c:v>
                </c:pt>
                <c:pt idx="30">
                  <c:v>45228</c:v>
                </c:pt>
                <c:pt idx="31">
                  <c:v>45235</c:v>
                </c:pt>
                <c:pt idx="32">
                  <c:v>45242</c:v>
                </c:pt>
                <c:pt idx="33">
                  <c:v>45249</c:v>
                </c:pt>
                <c:pt idx="34">
                  <c:v>45256</c:v>
                </c:pt>
                <c:pt idx="35">
                  <c:v>45263</c:v>
                </c:pt>
                <c:pt idx="36">
                  <c:v>45270</c:v>
                </c:pt>
                <c:pt idx="37">
                  <c:v>45277</c:v>
                </c:pt>
                <c:pt idx="38">
                  <c:v>45284</c:v>
                </c:pt>
                <c:pt idx="39">
                  <c:v>45291</c:v>
                </c:pt>
                <c:pt idx="40">
                  <c:v>45298</c:v>
                </c:pt>
                <c:pt idx="41">
                  <c:v>45305</c:v>
                </c:pt>
                <c:pt idx="42">
                  <c:v>45312</c:v>
                </c:pt>
                <c:pt idx="43">
                  <c:v>45319</c:v>
                </c:pt>
                <c:pt idx="44">
                  <c:v>45326</c:v>
                </c:pt>
                <c:pt idx="45">
                  <c:v>45333</c:v>
                </c:pt>
                <c:pt idx="46">
                  <c:v>45340</c:v>
                </c:pt>
                <c:pt idx="47">
                  <c:v>45347</c:v>
                </c:pt>
                <c:pt idx="48">
                  <c:v>45354</c:v>
                </c:pt>
                <c:pt idx="49">
                  <c:v>45361</c:v>
                </c:pt>
                <c:pt idx="50">
                  <c:v>45368</c:v>
                </c:pt>
                <c:pt idx="51">
                  <c:v>45375</c:v>
                </c:pt>
                <c:pt idx="52">
                  <c:v>45382</c:v>
                </c:pt>
                <c:pt idx="53">
                  <c:v>45389</c:v>
                </c:pt>
                <c:pt idx="54">
                  <c:v>45396</c:v>
                </c:pt>
                <c:pt idx="55">
                  <c:v>45403</c:v>
                </c:pt>
                <c:pt idx="56">
                  <c:v>45410</c:v>
                </c:pt>
                <c:pt idx="57">
                  <c:v>45417</c:v>
                </c:pt>
                <c:pt idx="58">
                  <c:v>45424</c:v>
                </c:pt>
                <c:pt idx="59">
                  <c:v>45431</c:v>
                </c:pt>
                <c:pt idx="60">
                  <c:v>45438</c:v>
                </c:pt>
                <c:pt idx="61">
                  <c:v>45445</c:v>
                </c:pt>
                <c:pt idx="62">
                  <c:v>45452</c:v>
                </c:pt>
                <c:pt idx="63">
                  <c:v>45459</c:v>
                </c:pt>
                <c:pt idx="64">
                  <c:v>45466</c:v>
                </c:pt>
                <c:pt idx="65">
                  <c:v>45473</c:v>
                </c:pt>
                <c:pt idx="66">
                  <c:v>45480</c:v>
                </c:pt>
                <c:pt idx="67">
                  <c:v>45487</c:v>
                </c:pt>
                <c:pt idx="68">
                  <c:v>45494</c:v>
                </c:pt>
                <c:pt idx="69">
                  <c:v>45501</c:v>
                </c:pt>
                <c:pt idx="70">
                  <c:v>45508</c:v>
                </c:pt>
                <c:pt idx="71">
                  <c:v>45515</c:v>
                </c:pt>
                <c:pt idx="72">
                  <c:v>45522</c:v>
                </c:pt>
                <c:pt idx="73">
                  <c:v>45529</c:v>
                </c:pt>
                <c:pt idx="74">
                  <c:v>45536</c:v>
                </c:pt>
                <c:pt idx="75">
                  <c:v>45543</c:v>
                </c:pt>
                <c:pt idx="76">
                  <c:v>45550</c:v>
                </c:pt>
                <c:pt idx="77">
                  <c:v>45557</c:v>
                </c:pt>
                <c:pt idx="78">
                  <c:v>45564</c:v>
                </c:pt>
                <c:pt idx="79">
                  <c:v>45571</c:v>
                </c:pt>
                <c:pt idx="80">
                  <c:v>45578</c:v>
                </c:pt>
                <c:pt idx="81">
                  <c:v>45585</c:v>
                </c:pt>
                <c:pt idx="82">
                  <c:v>45592</c:v>
                </c:pt>
                <c:pt idx="83">
                  <c:v>45599</c:v>
                </c:pt>
                <c:pt idx="84">
                  <c:v>45606</c:v>
                </c:pt>
                <c:pt idx="85">
                  <c:v>45613</c:v>
                </c:pt>
                <c:pt idx="86">
                  <c:v>45620</c:v>
                </c:pt>
                <c:pt idx="87">
                  <c:v>45627</c:v>
                </c:pt>
                <c:pt idx="88">
                  <c:v>45634</c:v>
                </c:pt>
                <c:pt idx="89">
                  <c:v>45641</c:v>
                </c:pt>
                <c:pt idx="90">
                  <c:v>45648</c:v>
                </c:pt>
                <c:pt idx="91">
                  <c:v>45655</c:v>
                </c:pt>
                <c:pt idx="92">
                  <c:v>45662</c:v>
                </c:pt>
                <c:pt idx="93">
                  <c:v>45669</c:v>
                </c:pt>
                <c:pt idx="94">
                  <c:v>45676</c:v>
                </c:pt>
                <c:pt idx="95">
                  <c:v>45683</c:v>
                </c:pt>
              </c:numCache>
            </c:numRef>
          </c:cat>
          <c:val>
            <c:numRef>
              <c:f>Sheet1!$C$2:$C$97</c:f>
              <c:numCache>
                <c:formatCode>General</c:formatCode>
                <c:ptCount val="96"/>
                <c:pt idx="0">
                  <c:v>47572</c:v>
                </c:pt>
                <c:pt idx="1">
                  <c:v>37906</c:v>
                </c:pt>
                <c:pt idx="2">
                  <c:v>46880</c:v>
                </c:pt>
                <c:pt idx="3">
                  <c:v>29094</c:v>
                </c:pt>
                <c:pt idx="4">
                  <c:v>17969</c:v>
                </c:pt>
                <c:pt idx="5">
                  <c:v>22358</c:v>
                </c:pt>
                <c:pt idx="6">
                  <c:v>21109</c:v>
                </c:pt>
                <c:pt idx="7">
                  <c:v>24565</c:v>
                </c:pt>
                <c:pt idx="8">
                  <c:v>14970</c:v>
                </c:pt>
                <c:pt idx="9">
                  <c:v>14080</c:v>
                </c:pt>
                <c:pt idx="10">
                  <c:v>18131</c:v>
                </c:pt>
                <c:pt idx="11">
                  <c:v>14440</c:v>
                </c:pt>
                <c:pt idx="12">
                  <c:v>11791</c:v>
                </c:pt>
                <c:pt idx="13">
                  <c:v>11226</c:v>
                </c:pt>
                <c:pt idx="14">
                  <c:v>11741</c:v>
                </c:pt>
                <c:pt idx="15">
                  <c:v>18786</c:v>
                </c:pt>
                <c:pt idx="16">
                  <c:v>10885</c:v>
                </c:pt>
                <c:pt idx="17">
                  <c:v>2857</c:v>
                </c:pt>
                <c:pt idx="18">
                  <c:v>1321</c:v>
                </c:pt>
                <c:pt idx="19">
                  <c:v>1215</c:v>
                </c:pt>
                <c:pt idx="20">
                  <c:v>486</c:v>
                </c:pt>
                <c:pt idx="21">
                  <c:v>19149</c:v>
                </c:pt>
                <c:pt idx="22">
                  <c:v>14924</c:v>
                </c:pt>
                <c:pt idx="23">
                  <c:v>6016</c:v>
                </c:pt>
                <c:pt idx="24">
                  <c:v>773</c:v>
                </c:pt>
                <c:pt idx="25">
                  <c:v>391</c:v>
                </c:pt>
                <c:pt idx="26">
                  <c:v>5692</c:v>
                </c:pt>
                <c:pt idx="27">
                  <c:v>9825</c:v>
                </c:pt>
                <c:pt idx="28">
                  <c:v>22331</c:v>
                </c:pt>
                <c:pt idx="29">
                  <c:v>26820</c:v>
                </c:pt>
                <c:pt idx="30">
                  <c:v>26380</c:v>
                </c:pt>
                <c:pt idx="31">
                  <c:v>25008</c:v>
                </c:pt>
                <c:pt idx="32">
                  <c:v>17327</c:v>
                </c:pt>
                <c:pt idx="33">
                  <c:v>19555</c:v>
                </c:pt>
                <c:pt idx="34">
                  <c:v>31929</c:v>
                </c:pt>
                <c:pt idx="35">
                  <c:v>31529</c:v>
                </c:pt>
                <c:pt idx="36">
                  <c:v>41962</c:v>
                </c:pt>
                <c:pt idx="37">
                  <c:v>77019</c:v>
                </c:pt>
                <c:pt idx="38">
                  <c:v>133706</c:v>
                </c:pt>
                <c:pt idx="39">
                  <c:v>248232</c:v>
                </c:pt>
                <c:pt idx="40">
                  <c:v>34844</c:v>
                </c:pt>
                <c:pt idx="41">
                  <c:v>27118</c:v>
                </c:pt>
                <c:pt idx="42">
                  <c:v>18729</c:v>
                </c:pt>
                <c:pt idx="43">
                  <c:v>11129</c:v>
                </c:pt>
                <c:pt idx="44">
                  <c:v>20774</c:v>
                </c:pt>
                <c:pt idx="45">
                  <c:v>34174</c:v>
                </c:pt>
                <c:pt idx="46">
                  <c:v>38165</c:v>
                </c:pt>
                <c:pt idx="47">
                  <c:v>60032</c:v>
                </c:pt>
                <c:pt idx="48">
                  <c:v>52796</c:v>
                </c:pt>
                <c:pt idx="49">
                  <c:v>48706</c:v>
                </c:pt>
                <c:pt idx="50">
                  <c:v>38511</c:v>
                </c:pt>
                <c:pt idx="51">
                  <c:v>30702</c:v>
                </c:pt>
                <c:pt idx="52">
                  <c:v>23867</c:v>
                </c:pt>
                <c:pt idx="53">
                  <c:v>24160</c:v>
                </c:pt>
                <c:pt idx="54">
                  <c:v>23147</c:v>
                </c:pt>
                <c:pt idx="55">
                  <c:v>26906</c:v>
                </c:pt>
                <c:pt idx="56">
                  <c:v>19945</c:v>
                </c:pt>
                <c:pt idx="57">
                  <c:v>20792</c:v>
                </c:pt>
                <c:pt idx="58">
                  <c:v>19828</c:v>
                </c:pt>
                <c:pt idx="59">
                  <c:v>19666</c:v>
                </c:pt>
                <c:pt idx="60">
                  <c:v>13800</c:v>
                </c:pt>
                <c:pt idx="61">
                  <c:v>283</c:v>
                </c:pt>
                <c:pt idx="62">
                  <c:v>422</c:v>
                </c:pt>
                <c:pt idx="63">
                  <c:v>369</c:v>
                </c:pt>
                <c:pt idx="64">
                  <c:v>729</c:v>
                </c:pt>
                <c:pt idx="65">
                  <c:v>246</c:v>
                </c:pt>
                <c:pt idx="66">
                  <c:v>680</c:v>
                </c:pt>
                <c:pt idx="67">
                  <c:v>11671</c:v>
                </c:pt>
                <c:pt idx="68">
                  <c:v>21933</c:v>
                </c:pt>
                <c:pt idx="69">
                  <c:v>22236</c:v>
                </c:pt>
                <c:pt idx="70">
                  <c:v>20768</c:v>
                </c:pt>
                <c:pt idx="71">
                  <c:v>5914</c:v>
                </c:pt>
                <c:pt idx="72">
                  <c:v>4807</c:v>
                </c:pt>
                <c:pt idx="73">
                  <c:v>356</c:v>
                </c:pt>
                <c:pt idx="74">
                  <c:v>3278</c:v>
                </c:pt>
                <c:pt idx="75">
                  <c:v>455</c:v>
                </c:pt>
                <c:pt idx="76">
                  <c:v>525</c:v>
                </c:pt>
                <c:pt idx="77">
                  <c:v>425</c:v>
                </c:pt>
                <c:pt idx="78">
                  <c:v>5691</c:v>
                </c:pt>
                <c:pt idx="79">
                  <c:v>12529</c:v>
                </c:pt>
                <c:pt idx="80">
                  <c:v>23342</c:v>
                </c:pt>
                <c:pt idx="81">
                  <c:v>31967</c:v>
                </c:pt>
                <c:pt idx="82">
                  <c:v>20891</c:v>
                </c:pt>
                <c:pt idx="83">
                  <c:v>10671</c:v>
                </c:pt>
                <c:pt idx="84">
                  <c:v>13507</c:v>
                </c:pt>
                <c:pt idx="85">
                  <c:v>39682</c:v>
                </c:pt>
                <c:pt idx="86">
                  <c:v>93818</c:v>
                </c:pt>
                <c:pt idx="87">
                  <c:v>103439</c:v>
                </c:pt>
                <c:pt idx="88">
                  <c:v>114095</c:v>
                </c:pt>
                <c:pt idx="89">
                  <c:v>129821</c:v>
                </c:pt>
                <c:pt idx="90">
                  <c:v>164996</c:v>
                </c:pt>
                <c:pt idx="91">
                  <c:v>275385</c:v>
                </c:pt>
                <c:pt idx="92">
                  <c:v>84730</c:v>
                </c:pt>
                <c:pt idx="93">
                  <c:v>73287</c:v>
                </c:pt>
                <c:pt idx="94">
                  <c:v>71775</c:v>
                </c:pt>
                <c:pt idx="95">
                  <c:v>63962</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43</c:f>
              <c:numCache>
                <c:formatCode>yyyy\-mm\-dd</c:formatCode>
                <c:ptCount val="42"/>
                <c:pt idx="0">
                  <c:v>44934</c:v>
                </c:pt>
                <c:pt idx="1">
                  <c:v>44941</c:v>
                </c:pt>
                <c:pt idx="2">
                  <c:v>44948</c:v>
                </c:pt>
                <c:pt idx="3">
                  <c:v>44955</c:v>
                </c:pt>
                <c:pt idx="4">
                  <c:v>44962</c:v>
                </c:pt>
                <c:pt idx="5">
                  <c:v>44969</c:v>
                </c:pt>
                <c:pt idx="6">
                  <c:v>44976</c:v>
                </c:pt>
                <c:pt idx="7">
                  <c:v>44983</c:v>
                </c:pt>
                <c:pt idx="8">
                  <c:v>44990</c:v>
                </c:pt>
                <c:pt idx="9">
                  <c:v>44997</c:v>
                </c:pt>
                <c:pt idx="10">
                  <c:v>45011</c:v>
                </c:pt>
                <c:pt idx="11">
                  <c:v>45018</c:v>
                </c:pt>
                <c:pt idx="12">
                  <c:v>45081</c:v>
                </c:pt>
                <c:pt idx="13">
                  <c:v>45088</c:v>
                </c:pt>
                <c:pt idx="14">
                  <c:v>45144</c:v>
                </c:pt>
                <c:pt idx="15">
                  <c:v>45207</c:v>
                </c:pt>
                <c:pt idx="16">
                  <c:v>45277</c:v>
                </c:pt>
                <c:pt idx="17">
                  <c:v>45284</c:v>
                </c:pt>
                <c:pt idx="18">
                  <c:v>45291</c:v>
                </c:pt>
                <c:pt idx="19">
                  <c:v>45298</c:v>
                </c:pt>
                <c:pt idx="20">
                  <c:v>45305</c:v>
                </c:pt>
                <c:pt idx="21">
                  <c:v>45312</c:v>
                </c:pt>
                <c:pt idx="22">
                  <c:v>45319</c:v>
                </c:pt>
                <c:pt idx="23">
                  <c:v>45326</c:v>
                </c:pt>
                <c:pt idx="24">
                  <c:v>45333</c:v>
                </c:pt>
                <c:pt idx="25">
                  <c:v>45340</c:v>
                </c:pt>
                <c:pt idx="26">
                  <c:v>45347</c:v>
                </c:pt>
                <c:pt idx="27">
                  <c:v>45354</c:v>
                </c:pt>
                <c:pt idx="28">
                  <c:v>45375</c:v>
                </c:pt>
                <c:pt idx="29">
                  <c:v>45382</c:v>
                </c:pt>
                <c:pt idx="30">
                  <c:v>45389</c:v>
                </c:pt>
                <c:pt idx="31">
                  <c:v>45396</c:v>
                </c:pt>
                <c:pt idx="32">
                  <c:v>45403</c:v>
                </c:pt>
                <c:pt idx="33">
                  <c:v>45410</c:v>
                </c:pt>
                <c:pt idx="34">
                  <c:v>45417</c:v>
                </c:pt>
                <c:pt idx="35">
                  <c:v>45424</c:v>
                </c:pt>
                <c:pt idx="36">
                  <c:v>45431</c:v>
                </c:pt>
                <c:pt idx="37">
                  <c:v>45438</c:v>
                </c:pt>
                <c:pt idx="38">
                  <c:v>45445</c:v>
                </c:pt>
                <c:pt idx="39">
                  <c:v>45452</c:v>
                </c:pt>
                <c:pt idx="40">
                  <c:v>45459</c:v>
                </c:pt>
                <c:pt idx="41">
                  <c:v>45466</c:v>
                </c:pt>
              </c:numCache>
            </c:numRef>
          </c:cat>
          <c:val>
            <c:numRef>
              <c:f>Sheet1!$B$2:$B$43</c:f>
              <c:numCache>
                <c:formatCode>General</c:formatCode>
                <c:ptCount val="42"/>
                <c:pt idx="0">
                  <c:v>821728</c:v>
                </c:pt>
                <c:pt idx="1">
                  <c:v>833774</c:v>
                </c:pt>
                <c:pt idx="2">
                  <c:v>845152</c:v>
                </c:pt>
                <c:pt idx="3">
                  <c:v>820136</c:v>
                </c:pt>
                <c:pt idx="4">
                  <c:v>871205</c:v>
                </c:pt>
                <c:pt idx="5">
                  <c:v>883032</c:v>
                </c:pt>
                <c:pt idx="6">
                  <c:v>838691</c:v>
                </c:pt>
                <c:pt idx="7">
                  <c:v>885584</c:v>
                </c:pt>
                <c:pt idx="8">
                  <c:v>941989</c:v>
                </c:pt>
                <c:pt idx="9">
                  <c:v>924701</c:v>
                </c:pt>
                <c:pt idx="10">
                  <c:v>867954</c:v>
                </c:pt>
                <c:pt idx="11">
                  <c:v>858302</c:v>
                </c:pt>
                <c:pt idx="12">
                  <c:v>958392</c:v>
                </c:pt>
                <c:pt idx="13">
                  <c:v>975643</c:v>
                </c:pt>
                <c:pt idx="14">
                  <c:v>1000931</c:v>
                </c:pt>
                <c:pt idx="15">
                  <c:v>893182</c:v>
                </c:pt>
                <c:pt idx="16">
                  <c:v>857373</c:v>
                </c:pt>
                <c:pt idx="17">
                  <c:v>910192</c:v>
                </c:pt>
                <c:pt idx="18">
                  <c:v>728699</c:v>
                </c:pt>
                <c:pt idx="19">
                  <c:v>824991</c:v>
                </c:pt>
                <c:pt idx="20">
                  <c:v>781875</c:v>
                </c:pt>
                <c:pt idx="21">
                  <c:v>748172</c:v>
                </c:pt>
                <c:pt idx="22">
                  <c:v>797534</c:v>
                </c:pt>
                <c:pt idx="23">
                  <c:v>851612</c:v>
                </c:pt>
                <c:pt idx="24">
                  <c:v>830431</c:v>
                </c:pt>
                <c:pt idx="25">
                  <c:v>790047</c:v>
                </c:pt>
                <c:pt idx="26">
                  <c:v>858906</c:v>
                </c:pt>
                <c:pt idx="27">
                  <c:v>909454</c:v>
                </c:pt>
                <c:pt idx="28">
                  <c:v>848186</c:v>
                </c:pt>
                <c:pt idx="29">
                  <c:v>867282</c:v>
                </c:pt>
                <c:pt idx="30">
                  <c:v>836506</c:v>
                </c:pt>
                <c:pt idx="31">
                  <c:v>719746</c:v>
                </c:pt>
                <c:pt idx="32">
                  <c:v>693889</c:v>
                </c:pt>
                <c:pt idx="33">
                  <c:v>662154</c:v>
                </c:pt>
                <c:pt idx="34">
                  <c:v>709633</c:v>
                </c:pt>
                <c:pt idx="35">
                  <c:v>715816</c:v>
                </c:pt>
                <c:pt idx="36">
                  <c:v>706929</c:v>
                </c:pt>
                <c:pt idx="37">
                  <c:v>738071</c:v>
                </c:pt>
                <c:pt idx="38">
                  <c:v>734619</c:v>
                </c:pt>
                <c:pt idx="39">
                  <c:v>820517</c:v>
                </c:pt>
                <c:pt idx="40">
                  <c:v>758841</c:v>
                </c:pt>
                <c:pt idx="41">
                  <c:v>779052</c:v>
                </c:pt>
              </c:numCache>
            </c:numRef>
          </c:val>
          <c:extLst>
            <c:ext xmlns:c16="http://schemas.microsoft.com/office/drawing/2014/chart" uri="{C3380CC4-5D6E-409C-BE32-E72D297353CC}">
              <c16:uniqueId val="{00000000-72A7-4D08-96D7-E73109FBDC9A}"/>
            </c:ext>
          </c:extLst>
        </c:ser>
        <c:ser>
          <c:idx val="0"/>
          <c:order val="1"/>
          <c:tx>
            <c:strRef>
              <c:f>Sheet1!$C$1</c:f>
              <c:strCache>
                <c:ptCount val="1"/>
                <c:pt idx="0">
                  <c:v>Promo Volume</c:v>
                </c:pt>
              </c:strCache>
            </c:strRef>
          </c:tx>
          <c:spPr>
            <a:solidFill>
              <a:schemeClr val="accent3"/>
            </a:solidFill>
            <a:ln>
              <a:noFill/>
            </a:ln>
            <a:effectLst/>
          </c:spPr>
          <c:invertIfNegative val="0"/>
          <c:cat>
            <c:numRef>
              <c:f>Sheet1!$A$2:$A$43</c:f>
              <c:numCache>
                <c:formatCode>yyyy\-mm\-dd</c:formatCode>
                <c:ptCount val="42"/>
                <c:pt idx="0">
                  <c:v>44934</c:v>
                </c:pt>
                <c:pt idx="1">
                  <c:v>44941</c:v>
                </c:pt>
                <c:pt idx="2">
                  <c:v>44948</c:v>
                </c:pt>
                <c:pt idx="3">
                  <c:v>44955</c:v>
                </c:pt>
                <c:pt idx="4">
                  <c:v>44962</c:v>
                </c:pt>
                <c:pt idx="5">
                  <c:v>44969</c:v>
                </c:pt>
                <c:pt idx="6">
                  <c:v>44976</c:v>
                </c:pt>
                <c:pt idx="7">
                  <c:v>44983</c:v>
                </c:pt>
                <c:pt idx="8">
                  <c:v>44990</c:v>
                </c:pt>
                <c:pt idx="9">
                  <c:v>44997</c:v>
                </c:pt>
                <c:pt idx="10">
                  <c:v>45011</c:v>
                </c:pt>
                <c:pt idx="11">
                  <c:v>45018</c:v>
                </c:pt>
                <c:pt idx="12">
                  <c:v>45081</c:v>
                </c:pt>
                <c:pt idx="13">
                  <c:v>45088</c:v>
                </c:pt>
                <c:pt idx="14">
                  <c:v>45144</c:v>
                </c:pt>
                <c:pt idx="15">
                  <c:v>45207</c:v>
                </c:pt>
                <c:pt idx="16">
                  <c:v>45277</c:v>
                </c:pt>
                <c:pt idx="17">
                  <c:v>45284</c:v>
                </c:pt>
                <c:pt idx="18">
                  <c:v>45291</c:v>
                </c:pt>
                <c:pt idx="19">
                  <c:v>45298</c:v>
                </c:pt>
                <c:pt idx="20">
                  <c:v>45305</c:v>
                </c:pt>
                <c:pt idx="21">
                  <c:v>45312</c:v>
                </c:pt>
                <c:pt idx="22">
                  <c:v>45319</c:v>
                </c:pt>
                <c:pt idx="23">
                  <c:v>45326</c:v>
                </c:pt>
                <c:pt idx="24">
                  <c:v>45333</c:v>
                </c:pt>
                <c:pt idx="25">
                  <c:v>45340</c:v>
                </c:pt>
                <c:pt idx="26">
                  <c:v>45347</c:v>
                </c:pt>
                <c:pt idx="27">
                  <c:v>45354</c:v>
                </c:pt>
                <c:pt idx="28">
                  <c:v>45375</c:v>
                </c:pt>
                <c:pt idx="29">
                  <c:v>45382</c:v>
                </c:pt>
                <c:pt idx="30">
                  <c:v>45389</c:v>
                </c:pt>
                <c:pt idx="31">
                  <c:v>45396</c:v>
                </c:pt>
                <c:pt idx="32">
                  <c:v>45403</c:v>
                </c:pt>
                <c:pt idx="33">
                  <c:v>45410</c:v>
                </c:pt>
                <c:pt idx="34">
                  <c:v>45417</c:v>
                </c:pt>
                <c:pt idx="35">
                  <c:v>45424</c:v>
                </c:pt>
                <c:pt idx="36">
                  <c:v>45431</c:v>
                </c:pt>
                <c:pt idx="37">
                  <c:v>45438</c:v>
                </c:pt>
                <c:pt idx="38">
                  <c:v>45445</c:v>
                </c:pt>
                <c:pt idx="39">
                  <c:v>45452</c:v>
                </c:pt>
                <c:pt idx="40">
                  <c:v>45459</c:v>
                </c:pt>
                <c:pt idx="41">
                  <c:v>45466</c:v>
                </c:pt>
              </c:numCache>
            </c:numRef>
          </c:cat>
          <c:val>
            <c:numRef>
              <c:f>Sheet1!$C$2:$C$43</c:f>
              <c:numCache>
                <c:formatCode>General</c:formatCode>
                <c:ptCount val="42"/>
                <c:pt idx="0">
                  <c:v>12732</c:v>
                </c:pt>
                <c:pt idx="1">
                  <c:v>16805</c:v>
                </c:pt>
                <c:pt idx="2">
                  <c:v>10936</c:v>
                </c:pt>
                <c:pt idx="3">
                  <c:v>4899</c:v>
                </c:pt>
                <c:pt idx="4">
                  <c:v>3963</c:v>
                </c:pt>
                <c:pt idx="5">
                  <c:v>2114</c:v>
                </c:pt>
                <c:pt idx="6">
                  <c:v>2775</c:v>
                </c:pt>
                <c:pt idx="7">
                  <c:v>2991</c:v>
                </c:pt>
                <c:pt idx="8">
                  <c:v>1455</c:v>
                </c:pt>
                <c:pt idx="9">
                  <c:v>1648</c:v>
                </c:pt>
                <c:pt idx="10">
                  <c:v>2390</c:v>
                </c:pt>
                <c:pt idx="11">
                  <c:v>2103</c:v>
                </c:pt>
                <c:pt idx="12">
                  <c:v>5994</c:v>
                </c:pt>
                <c:pt idx="13">
                  <c:v>1385</c:v>
                </c:pt>
                <c:pt idx="14">
                  <c:v>7241</c:v>
                </c:pt>
                <c:pt idx="15">
                  <c:v>13424</c:v>
                </c:pt>
                <c:pt idx="16">
                  <c:v>6876</c:v>
                </c:pt>
                <c:pt idx="17">
                  <c:v>10430</c:v>
                </c:pt>
                <c:pt idx="18">
                  <c:v>6675</c:v>
                </c:pt>
                <c:pt idx="19">
                  <c:v>19088</c:v>
                </c:pt>
                <c:pt idx="20">
                  <c:v>37833</c:v>
                </c:pt>
                <c:pt idx="21">
                  <c:v>33792</c:v>
                </c:pt>
                <c:pt idx="22">
                  <c:v>34711</c:v>
                </c:pt>
                <c:pt idx="23">
                  <c:v>34036</c:v>
                </c:pt>
                <c:pt idx="24">
                  <c:v>42328</c:v>
                </c:pt>
                <c:pt idx="25">
                  <c:v>45838</c:v>
                </c:pt>
                <c:pt idx="26">
                  <c:v>28448</c:v>
                </c:pt>
                <c:pt idx="27">
                  <c:v>5061</c:v>
                </c:pt>
                <c:pt idx="28">
                  <c:v>6060</c:v>
                </c:pt>
                <c:pt idx="29">
                  <c:v>5521</c:v>
                </c:pt>
                <c:pt idx="30">
                  <c:v>99224</c:v>
                </c:pt>
                <c:pt idx="31">
                  <c:v>168610</c:v>
                </c:pt>
                <c:pt idx="32">
                  <c:v>173541</c:v>
                </c:pt>
                <c:pt idx="33">
                  <c:v>168751</c:v>
                </c:pt>
                <c:pt idx="34">
                  <c:v>188270</c:v>
                </c:pt>
                <c:pt idx="35">
                  <c:v>191569</c:v>
                </c:pt>
                <c:pt idx="36">
                  <c:v>189183</c:v>
                </c:pt>
                <c:pt idx="37">
                  <c:v>199318</c:v>
                </c:pt>
                <c:pt idx="38">
                  <c:v>197256</c:v>
                </c:pt>
                <c:pt idx="39">
                  <c:v>220550</c:v>
                </c:pt>
                <c:pt idx="40">
                  <c:v>202736</c:v>
                </c:pt>
                <c:pt idx="41">
                  <c:v>175344</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vert="horz"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1"/>
      <c:txPr>
        <a:bodyPr/>
        <a:lstStyle/>
        <a:p>
          <a:pPr>
            <a:defRPr sz="800">
              <a:latin typeface="Nexa Book"/>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spPr>
              <a:solidFill>
                <a:srgbClr val="FFBFBF"/>
              </a:solidFill>
            </c:spPr>
            <c:extLst>
              <c:ext xmlns:c16="http://schemas.microsoft.com/office/drawing/2014/chart" uri="{C3380CC4-5D6E-409C-BE32-E72D297353CC}">
                <c16:uniqueId val="{00000003-B1F3-4B1C-B6BD-D7555A955EE3}"/>
              </c:ext>
            </c:extLst>
          </c:dPt>
          <c:dPt>
            <c:idx val="3"/>
            <c:invertIfNegative val="0"/>
            <c:bubble3D val="0"/>
            <c:spPr>
              <a:solidFill>
                <a:srgbClr val="FF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Schick</c:v>
                </c:pt>
                <c:pt idx="1">
                  <c:v>Bic</c:v>
                </c:pt>
                <c:pt idx="2">
                  <c:v>Equate</c:v>
                </c:pt>
                <c:pt idx="3">
                  <c:v>Gillette</c:v>
                </c:pt>
              </c:strCache>
            </c:strRef>
          </c:cat>
          <c:val>
            <c:numRef>
              <c:f>Sheet1!$B$2:$B$5</c:f>
              <c:numCache>
                <c:formatCode>General</c:formatCode>
                <c:ptCount val="4"/>
                <c:pt idx="0">
                  <c:v>57.135856754244777</c:v>
                </c:pt>
                <c:pt idx="1">
                  <c:v>-3.2647624465476346</c:v>
                </c:pt>
                <c:pt idx="2">
                  <c:v>-1.563559470331223</c:v>
                </c:pt>
                <c:pt idx="3">
                  <c:v>-1.3241112967135764</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40</c:f>
              <c:numCache>
                <c:formatCode>yyyy\-mm\-dd</c:formatCode>
                <c:ptCount val="39"/>
                <c:pt idx="0">
                  <c:v>45032</c:v>
                </c:pt>
                <c:pt idx="1">
                  <c:v>45039</c:v>
                </c:pt>
                <c:pt idx="2">
                  <c:v>45046</c:v>
                </c:pt>
                <c:pt idx="3">
                  <c:v>45053</c:v>
                </c:pt>
                <c:pt idx="4">
                  <c:v>45060</c:v>
                </c:pt>
                <c:pt idx="5">
                  <c:v>45067</c:v>
                </c:pt>
                <c:pt idx="6">
                  <c:v>45074</c:v>
                </c:pt>
                <c:pt idx="7">
                  <c:v>45081</c:v>
                </c:pt>
                <c:pt idx="8">
                  <c:v>45088</c:v>
                </c:pt>
                <c:pt idx="9">
                  <c:v>45095</c:v>
                </c:pt>
                <c:pt idx="10">
                  <c:v>45102</c:v>
                </c:pt>
                <c:pt idx="11">
                  <c:v>45109</c:v>
                </c:pt>
                <c:pt idx="12">
                  <c:v>45214</c:v>
                </c:pt>
                <c:pt idx="13">
                  <c:v>45221</c:v>
                </c:pt>
                <c:pt idx="14">
                  <c:v>45228</c:v>
                </c:pt>
                <c:pt idx="15">
                  <c:v>45235</c:v>
                </c:pt>
                <c:pt idx="16">
                  <c:v>45256</c:v>
                </c:pt>
                <c:pt idx="17">
                  <c:v>45270</c:v>
                </c:pt>
                <c:pt idx="18">
                  <c:v>45277</c:v>
                </c:pt>
                <c:pt idx="19">
                  <c:v>45312</c:v>
                </c:pt>
                <c:pt idx="20">
                  <c:v>45333</c:v>
                </c:pt>
                <c:pt idx="21">
                  <c:v>45347</c:v>
                </c:pt>
                <c:pt idx="22">
                  <c:v>45354</c:v>
                </c:pt>
                <c:pt idx="23">
                  <c:v>45368</c:v>
                </c:pt>
                <c:pt idx="24">
                  <c:v>45382</c:v>
                </c:pt>
                <c:pt idx="25">
                  <c:v>45403</c:v>
                </c:pt>
                <c:pt idx="26">
                  <c:v>45410</c:v>
                </c:pt>
                <c:pt idx="27">
                  <c:v>45438</c:v>
                </c:pt>
                <c:pt idx="28">
                  <c:v>45494</c:v>
                </c:pt>
                <c:pt idx="29">
                  <c:v>45564</c:v>
                </c:pt>
                <c:pt idx="30">
                  <c:v>45592</c:v>
                </c:pt>
                <c:pt idx="31">
                  <c:v>45613</c:v>
                </c:pt>
                <c:pt idx="32">
                  <c:v>45641</c:v>
                </c:pt>
                <c:pt idx="33">
                  <c:v>45648</c:v>
                </c:pt>
                <c:pt idx="34">
                  <c:v>45655</c:v>
                </c:pt>
                <c:pt idx="35">
                  <c:v>45662</c:v>
                </c:pt>
                <c:pt idx="36">
                  <c:v>45669</c:v>
                </c:pt>
                <c:pt idx="37">
                  <c:v>45676</c:v>
                </c:pt>
                <c:pt idx="38">
                  <c:v>45683</c:v>
                </c:pt>
              </c:numCache>
            </c:numRef>
          </c:cat>
          <c:val>
            <c:numRef>
              <c:f>Sheet1!$B$2:$B$40</c:f>
              <c:numCache>
                <c:formatCode>General</c:formatCode>
                <c:ptCount val="39"/>
                <c:pt idx="0">
                  <c:v>20988</c:v>
                </c:pt>
                <c:pt idx="1">
                  <c:v>48042</c:v>
                </c:pt>
                <c:pt idx="2">
                  <c:v>71042</c:v>
                </c:pt>
                <c:pt idx="3">
                  <c:v>80096</c:v>
                </c:pt>
                <c:pt idx="4">
                  <c:v>77012</c:v>
                </c:pt>
                <c:pt idx="5">
                  <c:v>76214</c:v>
                </c:pt>
                <c:pt idx="6">
                  <c:v>79650</c:v>
                </c:pt>
                <c:pt idx="7">
                  <c:v>84564</c:v>
                </c:pt>
                <c:pt idx="8">
                  <c:v>84620</c:v>
                </c:pt>
                <c:pt idx="9">
                  <c:v>82700</c:v>
                </c:pt>
                <c:pt idx="10">
                  <c:v>80707</c:v>
                </c:pt>
                <c:pt idx="11">
                  <c:v>84221</c:v>
                </c:pt>
                <c:pt idx="12">
                  <c:v>77286</c:v>
                </c:pt>
                <c:pt idx="13">
                  <c:v>76338</c:v>
                </c:pt>
                <c:pt idx="14">
                  <c:v>76620</c:v>
                </c:pt>
                <c:pt idx="15">
                  <c:v>80000</c:v>
                </c:pt>
                <c:pt idx="16">
                  <c:v>73362</c:v>
                </c:pt>
                <c:pt idx="17">
                  <c:v>83452</c:v>
                </c:pt>
                <c:pt idx="18">
                  <c:v>81266</c:v>
                </c:pt>
                <c:pt idx="19">
                  <c:v>71580</c:v>
                </c:pt>
                <c:pt idx="20">
                  <c:v>77172</c:v>
                </c:pt>
                <c:pt idx="21">
                  <c:v>77524</c:v>
                </c:pt>
                <c:pt idx="22">
                  <c:v>81326</c:v>
                </c:pt>
                <c:pt idx="23">
                  <c:v>77696</c:v>
                </c:pt>
                <c:pt idx="24">
                  <c:v>76520</c:v>
                </c:pt>
                <c:pt idx="25">
                  <c:v>79030</c:v>
                </c:pt>
                <c:pt idx="26">
                  <c:v>76806</c:v>
                </c:pt>
                <c:pt idx="27">
                  <c:v>79198</c:v>
                </c:pt>
                <c:pt idx="28">
                  <c:v>73024</c:v>
                </c:pt>
                <c:pt idx="29">
                  <c:v>74544</c:v>
                </c:pt>
                <c:pt idx="30">
                  <c:v>75076</c:v>
                </c:pt>
                <c:pt idx="31">
                  <c:v>76036</c:v>
                </c:pt>
                <c:pt idx="32">
                  <c:v>66280</c:v>
                </c:pt>
                <c:pt idx="33">
                  <c:v>61982</c:v>
                </c:pt>
                <c:pt idx="34">
                  <c:v>55060</c:v>
                </c:pt>
                <c:pt idx="35">
                  <c:v>55320</c:v>
                </c:pt>
                <c:pt idx="36">
                  <c:v>50102</c:v>
                </c:pt>
                <c:pt idx="37">
                  <c:v>62660</c:v>
                </c:pt>
                <c:pt idx="38">
                  <c:v>80610</c:v>
                </c:pt>
              </c:numCache>
            </c:numRef>
          </c:val>
          <c:extLst>
            <c:ext xmlns:c16="http://schemas.microsoft.com/office/drawing/2014/chart" uri="{C3380CC4-5D6E-409C-BE32-E72D297353CC}">
              <c16:uniqueId val="{00000000-72A7-4D08-96D7-E73109FBDC9A}"/>
            </c:ext>
          </c:extLst>
        </c:ser>
        <c:ser>
          <c:idx val="0"/>
          <c:order val="1"/>
          <c:tx>
            <c:strRef>
              <c:f>Sheet1!$C$1</c:f>
              <c:strCache>
                <c:ptCount val="1"/>
                <c:pt idx="0">
                  <c:v>Promo Volume</c:v>
                </c:pt>
              </c:strCache>
            </c:strRef>
          </c:tx>
          <c:spPr>
            <a:solidFill>
              <a:schemeClr val="accent3"/>
            </a:solidFill>
            <a:ln>
              <a:noFill/>
            </a:ln>
            <a:effectLst/>
          </c:spPr>
          <c:invertIfNegative val="0"/>
          <c:cat>
            <c:numRef>
              <c:f>Sheet1!$A$2:$A$40</c:f>
              <c:numCache>
                <c:formatCode>yyyy\-mm\-dd</c:formatCode>
                <c:ptCount val="39"/>
                <c:pt idx="0">
                  <c:v>45032</c:v>
                </c:pt>
                <c:pt idx="1">
                  <c:v>45039</c:v>
                </c:pt>
                <c:pt idx="2">
                  <c:v>45046</c:v>
                </c:pt>
                <c:pt idx="3">
                  <c:v>45053</c:v>
                </c:pt>
                <c:pt idx="4">
                  <c:v>45060</c:v>
                </c:pt>
                <c:pt idx="5">
                  <c:v>45067</c:v>
                </c:pt>
                <c:pt idx="6">
                  <c:v>45074</c:v>
                </c:pt>
                <c:pt idx="7">
                  <c:v>45081</c:v>
                </c:pt>
                <c:pt idx="8">
                  <c:v>45088</c:v>
                </c:pt>
                <c:pt idx="9">
                  <c:v>45095</c:v>
                </c:pt>
                <c:pt idx="10">
                  <c:v>45102</c:v>
                </c:pt>
                <c:pt idx="11">
                  <c:v>45109</c:v>
                </c:pt>
                <c:pt idx="12">
                  <c:v>45214</c:v>
                </c:pt>
                <c:pt idx="13">
                  <c:v>45221</c:v>
                </c:pt>
                <c:pt idx="14">
                  <c:v>45228</c:v>
                </c:pt>
                <c:pt idx="15">
                  <c:v>45235</c:v>
                </c:pt>
                <c:pt idx="16">
                  <c:v>45256</c:v>
                </c:pt>
                <c:pt idx="17">
                  <c:v>45270</c:v>
                </c:pt>
                <c:pt idx="18">
                  <c:v>45277</c:v>
                </c:pt>
                <c:pt idx="19">
                  <c:v>45312</c:v>
                </c:pt>
                <c:pt idx="20">
                  <c:v>45333</c:v>
                </c:pt>
                <c:pt idx="21">
                  <c:v>45347</c:v>
                </c:pt>
                <c:pt idx="22">
                  <c:v>45354</c:v>
                </c:pt>
                <c:pt idx="23">
                  <c:v>45368</c:v>
                </c:pt>
                <c:pt idx="24">
                  <c:v>45382</c:v>
                </c:pt>
                <c:pt idx="25">
                  <c:v>45403</c:v>
                </c:pt>
                <c:pt idx="26">
                  <c:v>45410</c:v>
                </c:pt>
                <c:pt idx="27">
                  <c:v>45438</c:v>
                </c:pt>
                <c:pt idx="28">
                  <c:v>45494</c:v>
                </c:pt>
                <c:pt idx="29">
                  <c:v>45564</c:v>
                </c:pt>
                <c:pt idx="30">
                  <c:v>45592</c:v>
                </c:pt>
                <c:pt idx="31">
                  <c:v>45613</c:v>
                </c:pt>
                <c:pt idx="32">
                  <c:v>45641</c:v>
                </c:pt>
                <c:pt idx="33">
                  <c:v>45648</c:v>
                </c:pt>
                <c:pt idx="34">
                  <c:v>45655</c:v>
                </c:pt>
                <c:pt idx="35">
                  <c:v>45662</c:v>
                </c:pt>
                <c:pt idx="36">
                  <c:v>45669</c:v>
                </c:pt>
                <c:pt idx="37">
                  <c:v>45676</c:v>
                </c:pt>
                <c:pt idx="38">
                  <c:v>45683</c:v>
                </c:pt>
              </c:numCache>
            </c:numRef>
          </c:cat>
          <c:val>
            <c:numRef>
              <c:f>Sheet1!$C$2:$C$40</c:f>
              <c:numCache>
                <c:formatCode>General</c:formatCode>
                <c:ptCount val="39"/>
                <c:pt idx="0">
                  <c:v>17780</c:v>
                </c:pt>
                <c:pt idx="1">
                  <c:v>19184</c:v>
                </c:pt>
                <c:pt idx="2">
                  <c:v>8968</c:v>
                </c:pt>
                <c:pt idx="3">
                  <c:v>6922</c:v>
                </c:pt>
                <c:pt idx="4">
                  <c:v>4914</c:v>
                </c:pt>
                <c:pt idx="5">
                  <c:v>3306</c:v>
                </c:pt>
                <c:pt idx="6">
                  <c:v>2578</c:v>
                </c:pt>
                <c:pt idx="7">
                  <c:v>1840</c:v>
                </c:pt>
                <c:pt idx="8">
                  <c:v>2114</c:v>
                </c:pt>
                <c:pt idx="9">
                  <c:v>1046</c:v>
                </c:pt>
                <c:pt idx="10">
                  <c:v>972</c:v>
                </c:pt>
                <c:pt idx="11">
                  <c:v>760</c:v>
                </c:pt>
                <c:pt idx="12">
                  <c:v>696</c:v>
                </c:pt>
                <c:pt idx="13">
                  <c:v>980</c:v>
                </c:pt>
                <c:pt idx="14">
                  <c:v>1106</c:v>
                </c:pt>
                <c:pt idx="15">
                  <c:v>1056</c:v>
                </c:pt>
                <c:pt idx="16">
                  <c:v>1148</c:v>
                </c:pt>
                <c:pt idx="17">
                  <c:v>1360</c:v>
                </c:pt>
                <c:pt idx="18">
                  <c:v>1124</c:v>
                </c:pt>
                <c:pt idx="19">
                  <c:v>1090</c:v>
                </c:pt>
                <c:pt idx="20">
                  <c:v>1230</c:v>
                </c:pt>
                <c:pt idx="21">
                  <c:v>1362</c:v>
                </c:pt>
                <c:pt idx="22">
                  <c:v>1046</c:v>
                </c:pt>
                <c:pt idx="23">
                  <c:v>1224</c:v>
                </c:pt>
                <c:pt idx="24">
                  <c:v>1164</c:v>
                </c:pt>
                <c:pt idx="25">
                  <c:v>1084</c:v>
                </c:pt>
                <c:pt idx="26">
                  <c:v>1016</c:v>
                </c:pt>
                <c:pt idx="27">
                  <c:v>884</c:v>
                </c:pt>
                <c:pt idx="28">
                  <c:v>666</c:v>
                </c:pt>
                <c:pt idx="29">
                  <c:v>917</c:v>
                </c:pt>
                <c:pt idx="30">
                  <c:v>630</c:v>
                </c:pt>
                <c:pt idx="31">
                  <c:v>686</c:v>
                </c:pt>
                <c:pt idx="32">
                  <c:v>18368</c:v>
                </c:pt>
                <c:pt idx="33">
                  <c:v>26592</c:v>
                </c:pt>
                <c:pt idx="34">
                  <c:v>16054</c:v>
                </c:pt>
                <c:pt idx="35">
                  <c:v>22270</c:v>
                </c:pt>
                <c:pt idx="36">
                  <c:v>14890</c:v>
                </c:pt>
                <c:pt idx="37">
                  <c:v>7150</c:v>
                </c:pt>
                <c:pt idx="38">
                  <c:v>3384</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vert="horz"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1"/>
      <c:txPr>
        <a:bodyPr/>
        <a:lstStyle/>
        <a:p>
          <a:pPr>
            <a:defRPr sz="800">
              <a:latin typeface="Nexa Book"/>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219792786125353E-2"/>
          <c:y val="0.22555108645669017"/>
          <c:w val="0.96766497516299987"/>
          <c:h val="0.76466540290122786"/>
        </c:manualLayout>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1</c:f>
              <c:numCache>
                <c:formatCode>yyyy\-mm\-dd</c:formatCode>
                <c:ptCount val="100"/>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51</c:v>
                </c:pt>
                <c:pt idx="29">
                  <c:v>45158</c:v>
                </c:pt>
                <c:pt idx="30">
                  <c:v>45165</c:v>
                </c:pt>
                <c:pt idx="31">
                  <c:v>45172</c:v>
                </c:pt>
                <c:pt idx="32">
                  <c:v>45179</c:v>
                </c:pt>
                <c:pt idx="33">
                  <c:v>45186</c:v>
                </c:pt>
                <c:pt idx="34">
                  <c:v>45193</c:v>
                </c:pt>
                <c:pt idx="35">
                  <c:v>45200</c:v>
                </c:pt>
                <c:pt idx="36">
                  <c:v>45207</c:v>
                </c:pt>
                <c:pt idx="37">
                  <c:v>45214</c:v>
                </c:pt>
                <c:pt idx="38">
                  <c:v>45221</c:v>
                </c:pt>
                <c:pt idx="39">
                  <c:v>45228</c:v>
                </c:pt>
                <c:pt idx="40">
                  <c:v>45235</c:v>
                </c:pt>
                <c:pt idx="41">
                  <c:v>45242</c:v>
                </c:pt>
                <c:pt idx="42">
                  <c:v>45249</c:v>
                </c:pt>
                <c:pt idx="43">
                  <c:v>45256</c:v>
                </c:pt>
                <c:pt idx="44">
                  <c:v>45263</c:v>
                </c:pt>
                <c:pt idx="45">
                  <c:v>45270</c:v>
                </c:pt>
                <c:pt idx="46">
                  <c:v>45277</c:v>
                </c:pt>
                <c:pt idx="47">
                  <c:v>45284</c:v>
                </c:pt>
                <c:pt idx="48">
                  <c:v>45291</c:v>
                </c:pt>
                <c:pt idx="49">
                  <c:v>45298</c:v>
                </c:pt>
                <c:pt idx="50">
                  <c:v>45305</c:v>
                </c:pt>
                <c:pt idx="51">
                  <c:v>45312</c:v>
                </c:pt>
                <c:pt idx="52">
                  <c:v>45319</c:v>
                </c:pt>
                <c:pt idx="53">
                  <c:v>45326</c:v>
                </c:pt>
                <c:pt idx="54">
                  <c:v>45340</c:v>
                </c:pt>
                <c:pt idx="55">
                  <c:v>45347</c:v>
                </c:pt>
                <c:pt idx="56">
                  <c:v>45354</c:v>
                </c:pt>
                <c:pt idx="57">
                  <c:v>45361</c:v>
                </c:pt>
                <c:pt idx="58">
                  <c:v>45368</c:v>
                </c:pt>
                <c:pt idx="59">
                  <c:v>45375</c:v>
                </c:pt>
                <c:pt idx="60">
                  <c:v>45389</c:v>
                </c:pt>
                <c:pt idx="61">
                  <c:v>45396</c:v>
                </c:pt>
                <c:pt idx="62">
                  <c:v>45403</c:v>
                </c:pt>
                <c:pt idx="63">
                  <c:v>45410</c:v>
                </c:pt>
                <c:pt idx="64">
                  <c:v>45417</c:v>
                </c:pt>
                <c:pt idx="65">
                  <c:v>45424</c:v>
                </c:pt>
                <c:pt idx="66">
                  <c:v>45431</c:v>
                </c:pt>
                <c:pt idx="67">
                  <c:v>45438</c:v>
                </c:pt>
                <c:pt idx="68">
                  <c:v>45445</c:v>
                </c:pt>
                <c:pt idx="69">
                  <c:v>45452</c:v>
                </c:pt>
                <c:pt idx="70">
                  <c:v>45459</c:v>
                </c:pt>
                <c:pt idx="71">
                  <c:v>45466</c:v>
                </c:pt>
                <c:pt idx="72">
                  <c:v>45473</c:v>
                </c:pt>
                <c:pt idx="73">
                  <c:v>45480</c:v>
                </c:pt>
                <c:pt idx="74">
                  <c:v>45487</c:v>
                </c:pt>
                <c:pt idx="75">
                  <c:v>45508</c:v>
                </c:pt>
                <c:pt idx="76">
                  <c:v>45515</c:v>
                </c:pt>
                <c:pt idx="77">
                  <c:v>45522</c:v>
                </c:pt>
                <c:pt idx="78">
                  <c:v>45529</c:v>
                </c:pt>
                <c:pt idx="79">
                  <c:v>45536</c:v>
                </c:pt>
                <c:pt idx="80">
                  <c:v>45543</c:v>
                </c:pt>
                <c:pt idx="81">
                  <c:v>45550</c:v>
                </c:pt>
                <c:pt idx="82">
                  <c:v>45557</c:v>
                </c:pt>
                <c:pt idx="83">
                  <c:v>45564</c:v>
                </c:pt>
                <c:pt idx="84">
                  <c:v>45578</c:v>
                </c:pt>
                <c:pt idx="85">
                  <c:v>45585</c:v>
                </c:pt>
                <c:pt idx="86">
                  <c:v>45592</c:v>
                </c:pt>
                <c:pt idx="87">
                  <c:v>45599</c:v>
                </c:pt>
                <c:pt idx="88">
                  <c:v>45606</c:v>
                </c:pt>
                <c:pt idx="89">
                  <c:v>45613</c:v>
                </c:pt>
                <c:pt idx="90">
                  <c:v>45620</c:v>
                </c:pt>
                <c:pt idx="91">
                  <c:v>45627</c:v>
                </c:pt>
                <c:pt idx="92">
                  <c:v>45634</c:v>
                </c:pt>
                <c:pt idx="93">
                  <c:v>45641</c:v>
                </c:pt>
                <c:pt idx="94">
                  <c:v>45648</c:v>
                </c:pt>
                <c:pt idx="95">
                  <c:v>45655</c:v>
                </c:pt>
                <c:pt idx="96">
                  <c:v>45662</c:v>
                </c:pt>
                <c:pt idx="97">
                  <c:v>45669</c:v>
                </c:pt>
                <c:pt idx="98">
                  <c:v>45676</c:v>
                </c:pt>
                <c:pt idx="99">
                  <c:v>45683</c:v>
                </c:pt>
              </c:numCache>
            </c:numRef>
          </c:cat>
          <c:val>
            <c:numRef>
              <c:f>Sheet1!$B$2:$B$101</c:f>
              <c:numCache>
                <c:formatCode>General</c:formatCode>
                <c:ptCount val="100"/>
                <c:pt idx="0">
                  <c:v>156680</c:v>
                </c:pt>
                <c:pt idx="1">
                  <c:v>232060</c:v>
                </c:pt>
                <c:pt idx="2">
                  <c:v>238860</c:v>
                </c:pt>
                <c:pt idx="3">
                  <c:v>189020</c:v>
                </c:pt>
                <c:pt idx="4">
                  <c:v>0</c:v>
                </c:pt>
                <c:pt idx="5">
                  <c:v>0</c:v>
                </c:pt>
                <c:pt idx="6">
                  <c:v>0</c:v>
                </c:pt>
                <c:pt idx="7">
                  <c:v>0</c:v>
                </c:pt>
                <c:pt idx="8">
                  <c:v>0</c:v>
                </c:pt>
                <c:pt idx="9">
                  <c:v>205060</c:v>
                </c:pt>
                <c:pt idx="10">
                  <c:v>191945</c:v>
                </c:pt>
                <c:pt idx="11">
                  <c:v>201600</c:v>
                </c:pt>
                <c:pt idx="12">
                  <c:v>176060</c:v>
                </c:pt>
                <c:pt idx="13">
                  <c:v>213540</c:v>
                </c:pt>
                <c:pt idx="14">
                  <c:v>173500</c:v>
                </c:pt>
                <c:pt idx="15">
                  <c:v>212560</c:v>
                </c:pt>
                <c:pt idx="16">
                  <c:v>273145</c:v>
                </c:pt>
                <c:pt idx="17">
                  <c:v>0</c:v>
                </c:pt>
                <c:pt idx="18">
                  <c:v>0</c:v>
                </c:pt>
                <c:pt idx="19">
                  <c:v>188080</c:v>
                </c:pt>
                <c:pt idx="20">
                  <c:v>192880</c:v>
                </c:pt>
                <c:pt idx="21">
                  <c:v>20960</c:v>
                </c:pt>
                <c:pt idx="22">
                  <c:v>12760</c:v>
                </c:pt>
                <c:pt idx="23">
                  <c:v>14740</c:v>
                </c:pt>
                <c:pt idx="24">
                  <c:v>9060</c:v>
                </c:pt>
                <c:pt idx="25">
                  <c:v>36440</c:v>
                </c:pt>
                <c:pt idx="26">
                  <c:v>205220</c:v>
                </c:pt>
                <c:pt idx="27">
                  <c:v>200100</c:v>
                </c:pt>
                <c:pt idx="28">
                  <c:v>0</c:v>
                </c:pt>
                <c:pt idx="29">
                  <c:v>0</c:v>
                </c:pt>
                <c:pt idx="30">
                  <c:v>199540</c:v>
                </c:pt>
                <c:pt idx="31">
                  <c:v>221300</c:v>
                </c:pt>
                <c:pt idx="32">
                  <c:v>194440</c:v>
                </c:pt>
                <c:pt idx="33">
                  <c:v>203620</c:v>
                </c:pt>
                <c:pt idx="34">
                  <c:v>0</c:v>
                </c:pt>
                <c:pt idx="35">
                  <c:v>0</c:v>
                </c:pt>
                <c:pt idx="36">
                  <c:v>0</c:v>
                </c:pt>
                <c:pt idx="37">
                  <c:v>0</c:v>
                </c:pt>
                <c:pt idx="38">
                  <c:v>186640</c:v>
                </c:pt>
                <c:pt idx="39">
                  <c:v>180980</c:v>
                </c:pt>
                <c:pt idx="40">
                  <c:v>248520</c:v>
                </c:pt>
                <c:pt idx="41">
                  <c:v>0</c:v>
                </c:pt>
                <c:pt idx="42">
                  <c:v>0</c:v>
                </c:pt>
                <c:pt idx="43">
                  <c:v>320</c:v>
                </c:pt>
                <c:pt idx="44">
                  <c:v>166900</c:v>
                </c:pt>
                <c:pt idx="45">
                  <c:v>205340</c:v>
                </c:pt>
                <c:pt idx="46">
                  <c:v>205760</c:v>
                </c:pt>
                <c:pt idx="47">
                  <c:v>205740</c:v>
                </c:pt>
                <c:pt idx="48">
                  <c:v>780</c:v>
                </c:pt>
                <c:pt idx="49">
                  <c:v>120</c:v>
                </c:pt>
                <c:pt idx="50">
                  <c:v>60</c:v>
                </c:pt>
                <c:pt idx="51">
                  <c:v>125</c:v>
                </c:pt>
                <c:pt idx="52">
                  <c:v>9080</c:v>
                </c:pt>
                <c:pt idx="53">
                  <c:v>0</c:v>
                </c:pt>
                <c:pt idx="54">
                  <c:v>0</c:v>
                </c:pt>
                <c:pt idx="55">
                  <c:v>0</c:v>
                </c:pt>
                <c:pt idx="56">
                  <c:v>202860</c:v>
                </c:pt>
                <c:pt idx="57">
                  <c:v>198540</c:v>
                </c:pt>
                <c:pt idx="58">
                  <c:v>216920</c:v>
                </c:pt>
                <c:pt idx="59">
                  <c:v>229880</c:v>
                </c:pt>
                <c:pt idx="60">
                  <c:v>164320</c:v>
                </c:pt>
                <c:pt idx="61">
                  <c:v>120800</c:v>
                </c:pt>
                <c:pt idx="62">
                  <c:v>131820</c:v>
                </c:pt>
                <c:pt idx="63">
                  <c:v>157060</c:v>
                </c:pt>
                <c:pt idx="64">
                  <c:v>169650</c:v>
                </c:pt>
                <c:pt idx="65">
                  <c:v>173060</c:v>
                </c:pt>
                <c:pt idx="66">
                  <c:v>137660</c:v>
                </c:pt>
                <c:pt idx="67">
                  <c:v>158280</c:v>
                </c:pt>
                <c:pt idx="68">
                  <c:v>16600</c:v>
                </c:pt>
                <c:pt idx="69">
                  <c:v>3440</c:v>
                </c:pt>
                <c:pt idx="70">
                  <c:v>2560</c:v>
                </c:pt>
                <c:pt idx="71">
                  <c:v>3640</c:v>
                </c:pt>
                <c:pt idx="72">
                  <c:v>14530</c:v>
                </c:pt>
                <c:pt idx="73">
                  <c:v>20560</c:v>
                </c:pt>
                <c:pt idx="74">
                  <c:v>161840</c:v>
                </c:pt>
                <c:pt idx="75">
                  <c:v>148260</c:v>
                </c:pt>
                <c:pt idx="76">
                  <c:v>168920</c:v>
                </c:pt>
                <c:pt idx="77">
                  <c:v>148060</c:v>
                </c:pt>
                <c:pt idx="78">
                  <c:v>158980</c:v>
                </c:pt>
                <c:pt idx="79">
                  <c:v>180370</c:v>
                </c:pt>
                <c:pt idx="80">
                  <c:v>169620</c:v>
                </c:pt>
                <c:pt idx="81">
                  <c:v>169590</c:v>
                </c:pt>
                <c:pt idx="82">
                  <c:v>164760</c:v>
                </c:pt>
                <c:pt idx="83">
                  <c:v>170300</c:v>
                </c:pt>
                <c:pt idx="84">
                  <c:v>185160</c:v>
                </c:pt>
                <c:pt idx="85">
                  <c:v>154620</c:v>
                </c:pt>
                <c:pt idx="86">
                  <c:v>166860</c:v>
                </c:pt>
                <c:pt idx="87">
                  <c:v>0</c:v>
                </c:pt>
                <c:pt idx="88">
                  <c:v>175</c:v>
                </c:pt>
                <c:pt idx="89">
                  <c:v>500</c:v>
                </c:pt>
                <c:pt idx="90">
                  <c:v>20</c:v>
                </c:pt>
                <c:pt idx="91">
                  <c:v>40</c:v>
                </c:pt>
                <c:pt idx="92">
                  <c:v>30580</c:v>
                </c:pt>
                <c:pt idx="93">
                  <c:v>169160</c:v>
                </c:pt>
                <c:pt idx="94">
                  <c:v>163120</c:v>
                </c:pt>
                <c:pt idx="95">
                  <c:v>137480</c:v>
                </c:pt>
                <c:pt idx="96">
                  <c:v>17980</c:v>
                </c:pt>
                <c:pt idx="97">
                  <c:v>0</c:v>
                </c:pt>
                <c:pt idx="98">
                  <c:v>140</c:v>
                </c:pt>
                <c:pt idx="99">
                  <c:v>180</c:v>
                </c:pt>
              </c:numCache>
            </c:numRef>
          </c:val>
          <c:extLst>
            <c:ext xmlns:c16="http://schemas.microsoft.com/office/drawing/2014/chart" uri="{C3380CC4-5D6E-409C-BE32-E72D297353CC}">
              <c16:uniqueId val="{00000001-E3C4-46BC-AA3D-A3795B7CC7BA}"/>
            </c:ext>
          </c:extLst>
        </c:ser>
        <c:ser>
          <c:idx val="0"/>
          <c:order val="1"/>
          <c:tx>
            <c:strRef>
              <c:f>Sheet1!$C$1</c:f>
              <c:strCache>
                <c:ptCount val="1"/>
                <c:pt idx="0">
                  <c:v>Promo Volume</c:v>
                </c:pt>
              </c:strCache>
            </c:strRef>
          </c:tx>
          <c:spPr>
            <a:solidFill>
              <a:schemeClr val="accent3"/>
            </a:solidFill>
            <a:ln>
              <a:noFill/>
            </a:ln>
            <a:effectLst/>
          </c:spPr>
          <c:invertIfNegative val="0"/>
          <c:cat>
            <c:numRef>
              <c:f>Sheet1!$A$2:$A$101</c:f>
              <c:numCache>
                <c:formatCode>yyyy\-mm\-dd</c:formatCode>
                <c:ptCount val="100"/>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51</c:v>
                </c:pt>
                <c:pt idx="29">
                  <c:v>45158</c:v>
                </c:pt>
                <c:pt idx="30">
                  <c:v>45165</c:v>
                </c:pt>
                <c:pt idx="31">
                  <c:v>45172</c:v>
                </c:pt>
                <c:pt idx="32">
                  <c:v>45179</c:v>
                </c:pt>
                <c:pt idx="33">
                  <c:v>45186</c:v>
                </c:pt>
                <c:pt idx="34">
                  <c:v>45193</c:v>
                </c:pt>
                <c:pt idx="35">
                  <c:v>45200</c:v>
                </c:pt>
                <c:pt idx="36">
                  <c:v>45207</c:v>
                </c:pt>
                <c:pt idx="37">
                  <c:v>45214</c:v>
                </c:pt>
                <c:pt idx="38">
                  <c:v>45221</c:v>
                </c:pt>
                <c:pt idx="39">
                  <c:v>45228</c:v>
                </c:pt>
                <c:pt idx="40">
                  <c:v>45235</c:v>
                </c:pt>
                <c:pt idx="41">
                  <c:v>45242</c:v>
                </c:pt>
                <c:pt idx="42">
                  <c:v>45249</c:v>
                </c:pt>
                <c:pt idx="43">
                  <c:v>45256</c:v>
                </c:pt>
                <c:pt idx="44">
                  <c:v>45263</c:v>
                </c:pt>
                <c:pt idx="45">
                  <c:v>45270</c:v>
                </c:pt>
                <c:pt idx="46">
                  <c:v>45277</c:v>
                </c:pt>
                <c:pt idx="47">
                  <c:v>45284</c:v>
                </c:pt>
                <c:pt idx="48">
                  <c:v>45291</c:v>
                </c:pt>
                <c:pt idx="49">
                  <c:v>45298</c:v>
                </c:pt>
                <c:pt idx="50">
                  <c:v>45305</c:v>
                </c:pt>
                <c:pt idx="51">
                  <c:v>45312</c:v>
                </c:pt>
                <c:pt idx="52">
                  <c:v>45319</c:v>
                </c:pt>
                <c:pt idx="53">
                  <c:v>45326</c:v>
                </c:pt>
                <c:pt idx="54">
                  <c:v>45340</c:v>
                </c:pt>
                <c:pt idx="55">
                  <c:v>45347</c:v>
                </c:pt>
                <c:pt idx="56">
                  <c:v>45354</c:v>
                </c:pt>
                <c:pt idx="57">
                  <c:v>45361</c:v>
                </c:pt>
                <c:pt idx="58">
                  <c:v>45368</c:v>
                </c:pt>
                <c:pt idx="59">
                  <c:v>45375</c:v>
                </c:pt>
                <c:pt idx="60">
                  <c:v>45389</c:v>
                </c:pt>
                <c:pt idx="61">
                  <c:v>45396</c:v>
                </c:pt>
                <c:pt idx="62">
                  <c:v>45403</c:v>
                </c:pt>
                <c:pt idx="63">
                  <c:v>45410</c:v>
                </c:pt>
                <c:pt idx="64">
                  <c:v>45417</c:v>
                </c:pt>
                <c:pt idx="65">
                  <c:v>45424</c:v>
                </c:pt>
                <c:pt idx="66">
                  <c:v>45431</c:v>
                </c:pt>
                <c:pt idx="67">
                  <c:v>45438</c:v>
                </c:pt>
                <c:pt idx="68">
                  <c:v>45445</c:v>
                </c:pt>
                <c:pt idx="69">
                  <c:v>45452</c:v>
                </c:pt>
                <c:pt idx="70">
                  <c:v>45459</c:v>
                </c:pt>
                <c:pt idx="71">
                  <c:v>45466</c:v>
                </c:pt>
                <c:pt idx="72">
                  <c:v>45473</c:v>
                </c:pt>
                <c:pt idx="73">
                  <c:v>45480</c:v>
                </c:pt>
                <c:pt idx="74">
                  <c:v>45487</c:v>
                </c:pt>
                <c:pt idx="75">
                  <c:v>45508</c:v>
                </c:pt>
                <c:pt idx="76">
                  <c:v>45515</c:v>
                </c:pt>
                <c:pt idx="77">
                  <c:v>45522</c:v>
                </c:pt>
                <c:pt idx="78">
                  <c:v>45529</c:v>
                </c:pt>
                <c:pt idx="79">
                  <c:v>45536</c:v>
                </c:pt>
                <c:pt idx="80">
                  <c:v>45543</c:v>
                </c:pt>
                <c:pt idx="81">
                  <c:v>45550</c:v>
                </c:pt>
                <c:pt idx="82">
                  <c:v>45557</c:v>
                </c:pt>
                <c:pt idx="83">
                  <c:v>45564</c:v>
                </c:pt>
                <c:pt idx="84">
                  <c:v>45578</c:v>
                </c:pt>
                <c:pt idx="85">
                  <c:v>45585</c:v>
                </c:pt>
                <c:pt idx="86">
                  <c:v>45592</c:v>
                </c:pt>
                <c:pt idx="87">
                  <c:v>45599</c:v>
                </c:pt>
                <c:pt idx="88">
                  <c:v>45606</c:v>
                </c:pt>
                <c:pt idx="89">
                  <c:v>45613</c:v>
                </c:pt>
                <c:pt idx="90">
                  <c:v>45620</c:v>
                </c:pt>
                <c:pt idx="91">
                  <c:v>45627</c:v>
                </c:pt>
                <c:pt idx="92">
                  <c:v>45634</c:v>
                </c:pt>
                <c:pt idx="93">
                  <c:v>45641</c:v>
                </c:pt>
                <c:pt idx="94">
                  <c:v>45648</c:v>
                </c:pt>
                <c:pt idx="95">
                  <c:v>45655</c:v>
                </c:pt>
                <c:pt idx="96">
                  <c:v>45662</c:v>
                </c:pt>
                <c:pt idx="97">
                  <c:v>45669</c:v>
                </c:pt>
                <c:pt idx="98">
                  <c:v>45676</c:v>
                </c:pt>
                <c:pt idx="99">
                  <c:v>45683</c:v>
                </c:pt>
              </c:numCache>
            </c:numRef>
          </c:cat>
          <c:val>
            <c:numRef>
              <c:f>Sheet1!$C$2:$C$101</c:f>
              <c:numCache>
                <c:formatCode>General</c:formatCode>
                <c:ptCount val="100"/>
                <c:pt idx="0">
                  <c:v>82385</c:v>
                </c:pt>
                <c:pt idx="1">
                  <c:v>37785</c:v>
                </c:pt>
                <c:pt idx="2">
                  <c:v>32565</c:v>
                </c:pt>
                <c:pt idx="3">
                  <c:v>80990</c:v>
                </c:pt>
                <c:pt idx="4">
                  <c:v>0</c:v>
                </c:pt>
                <c:pt idx="5">
                  <c:v>0</c:v>
                </c:pt>
                <c:pt idx="6">
                  <c:v>0</c:v>
                </c:pt>
                <c:pt idx="7">
                  <c:v>0</c:v>
                </c:pt>
                <c:pt idx="8">
                  <c:v>0</c:v>
                </c:pt>
                <c:pt idx="9">
                  <c:v>85445</c:v>
                </c:pt>
                <c:pt idx="10">
                  <c:v>131080</c:v>
                </c:pt>
                <c:pt idx="11">
                  <c:v>106425</c:v>
                </c:pt>
                <c:pt idx="12">
                  <c:v>94670</c:v>
                </c:pt>
                <c:pt idx="13">
                  <c:v>81835</c:v>
                </c:pt>
                <c:pt idx="14">
                  <c:v>89265</c:v>
                </c:pt>
                <c:pt idx="15">
                  <c:v>107720</c:v>
                </c:pt>
                <c:pt idx="16">
                  <c:v>2820</c:v>
                </c:pt>
                <c:pt idx="17">
                  <c:v>0</c:v>
                </c:pt>
                <c:pt idx="18">
                  <c:v>0</c:v>
                </c:pt>
                <c:pt idx="19">
                  <c:v>78975</c:v>
                </c:pt>
                <c:pt idx="20">
                  <c:v>94165</c:v>
                </c:pt>
                <c:pt idx="21">
                  <c:v>293260</c:v>
                </c:pt>
                <c:pt idx="22">
                  <c:v>374525</c:v>
                </c:pt>
                <c:pt idx="23">
                  <c:v>375095</c:v>
                </c:pt>
                <c:pt idx="24">
                  <c:v>369045</c:v>
                </c:pt>
                <c:pt idx="25">
                  <c:v>337830</c:v>
                </c:pt>
                <c:pt idx="26">
                  <c:v>74925</c:v>
                </c:pt>
                <c:pt idx="27">
                  <c:v>61380</c:v>
                </c:pt>
                <c:pt idx="28">
                  <c:v>0</c:v>
                </c:pt>
                <c:pt idx="29">
                  <c:v>0</c:v>
                </c:pt>
                <c:pt idx="30">
                  <c:v>92610</c:v>
                </c:pt>
                <c:pt idx="31">
                  <c:v>70190</c:v>
                </c:pt>
                <c:pt idx="32">
                  <c:v>90505</c:v>
                </c:pt>
                <c:pt idx="33">
                  <c:v>59355</c:v>
                </c:pt>
                <c:pt idx="34">
                  <c:v>0</c:v>
                </c:pt>
                <c:pt idx="35">
                  <c:v>0</c:v>
                </c:pt>
                <c:pt idx="36">
                  <c:v>0</c:v>
                </c:pt>
                <c:pt idx="37">
                  <c:v>0</c:v>
                </c:pt>
                <c:pt idx="38">
                  <c:v>81380</c:v>
                </c:pt>
                <c:pt idx="39">
                  <c:v>101315</c:v>
                </c:pt>
                <c:pt idx="40">
                  <c:v>82960</c:v>
                </c:pt>
                <c:pt idx="41">
                  <c:v>370715</c:v>
                </c:pt>
                <c:pt idx="42">
                  <c:v>347800</c:v>
                </c:pt>
                <c:pt idx="43">
                  <c:v>306190</c:v>
                </c:pt>
                <c:pt idx="44">
                  <c:v>87065</c:v>
                </c:pt>
                <c:pt idx="45">
                  <c:v>69520</c:v>
                </c:pt>
                <c:pt idx="46">
                  <c:v>65215</c:v>
                </c:pt>
                <c:pt idx="47">
                  <c:v>95400</c:v>
                </c:pt>
                <c:pt idx="48">
                  <c:v>256870</c:v>
                </c:pt>
                <c:pt idx="49">
                  <c:v>362385</c:v>
                </c:pt>
                <c:pt idx="50">
                  <c:v>379230</c:v>
                </c:pt>
                <c:pt idx="51">
                  <c:v>348940</c:v>
                </c:pt>
                <c:pt idx="52">
                  <c:v>300020</c:v>
                </c:pt>
                <c:pt idx="53">
                  <c:v>0</c:v>
                </c:pt>
                <c:pt idx="54">
                  <c:v>0</c:v>
                </c:pt>
                <c:pt idx="55">
                  <c:v>0</c:v>
                </c:pt>
                <c:pt idx="56">
                  <c:v>69880</c:v>
                </c:pt>
                <c:pt idx="57">
                  <c:v>90165</c:v>
                </c:pt>
                <c:pt idx="58">
                  <c:v>65135</c:v>
                </c:pt>
                <c:pt idx="59">
                  <c:v>24340</c:v>
                </c:pt>
                <c:pt idx="60">
                  <c:v>86355</c:v>
                </c:pt>
                <c:pt idx="61">
                  <c:v>200865</c:v>
                </c:pt>
                <c:pt idx="62">
                  <c:v>188060</c:v>
                </c:pt>
                <c:pt idx="63">
                  <c:v>104420</c:v>
                </c:pt>
                <c:pt idx="64">
                  <c:v>54460</c:v>
                </c:pt>
                <c:pt idx="65">
                  <c:v>37460</c:v>
                </c:pt>
                <c:pt idx="66">
                  <c:v>63420</c:v>
                </c:pt>
                <c:pt idx="67">
                  <c:v>56845</c:v>
                </c:pt>
                <c:pt idx="68">
                  <c:v>213695</c:v>
                </c:pt>
                <c:pt idx="69">
                  <c:v>288120</c:v>
                </c:pt>
                <c:pt idx="70">
                  <c:v>286380</c:v>
                </c:pt>
                <c:pt idx="71">
                  <c:v>280440</c:v>
                </c:pt>
                <c:pt idx="72">
                  <c:v>278160</c:v>
                </c:pt>
                <c:pt idx="73">
                  <c:v>257200</c:v>
                </c:pt>
                <c:pt idx="74">
                  <c:v>26580</c:v>
                </c:pt>
                <c:pt idx="75">
                  <c:v>53250</c:v>
                </c:pt>
                <c:pt idx="76">
                  <c:v>66225</c:v>
                </c:pt>
                <c:pt idx="77">
                  <c:v>77510</c:v>
                </c:pt>
                <c:pt idx="78">
                  <c:v>63095</c:v>
                </c:pt>
                <c:pt idx="79">
                  <c:v>13520</c:v>
                </c:pt>
                <c:pt idx="80">
                  <c:v>14580</c:v>
                </c:pt>
                <c:pt idx="81">
                  <c:v>13440</c:v>
                </c:pt>
                <c:pt idx="82">
                  <c:v>14500</c:v>
                </c:pt>
                <c:pt idx="83">
                  <c:v>15360</c:v>
                </c:pt>
                <c:pt idx="84">
                  <c:v>910</c:v>
                </c:pt>
                <c:pt idx="85">
                  <c:v>53165</c:v>
                </c:pt>
                <c:pt idx="86">
                  <c:v>68325</c:v>
                </c:pt>
                <c:pt idx="87">
                  <c:v>285865</c:v>
                </c:pt>
                <c:pt idx="88">
                  <c:v>313980</c:v>
                </c:pt>
                <c:pt idx="89">
                  <c:v>296770</c:v>
                </c:pt>
                <c:pt idx="90">
                  <c:v>289345</c:v>
                </c:pt>
                <c:pt idx="91">
                  <c:v>266660</c:v>
                </c:pt>
                <c:pt idx="92">
                  <c:v>205270</c:v>
                </c:pt>
                <c:pt idx="93">
                  <c:v>58285</c:v>
                </c:pt>
                <c:pt idx="94">
                  <c:v>84160</c:v>
                </c:pt>
                <c:pt idx="95">
                  <c:v>76150</c:v>
                </c:pt>
                <c:pt idx="96">
                  <c:v>232055</c:v>
                </c:pt>
                <c:pt idx="97">
                  <c:v>404220</c:v>
                </c:pt>
                <c:pt idx="98">
                  <c:v>424980</c:v>
                </c:pt>
                <c:pt idx="99">
                  <c:v>386300</c:v>
                </c:pt>
              </c:numCache>
            </c:numRef>
          </c:val>
          <c:extLst>
            <c:ext xmlns:c16="http://schemas.microsoft.com/office/drawing/2014/chart" uri="{C3380CC4-5D6E-409C-BE32-E72D297353CC}">
              <c16:uniqueId val="{00000000-E3C4-46BC-AA3D-A3795B7CC7B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yyyy\-mm\-dd"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1</c:f>
              <c:numCache>
                <c:formatCode>yyyy\-mm\-dd</c:formatCode>
                <c:ptCount val="100"/>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51</c:v>
                </c:pt>
                <c:pt idx="29">
                  <c:v>45158</c:v>
                </c:pt>
                <c:pt idx="30">
                  <c:v>45165</c:v>
                </c:pt>
                <c:pt idx="31">
                  <c:v>45172</c:v>
                </c:pt>
                <c:pt idx="32">
                  <c:v>45179</c:v>
                </c:pt>
                <c:pt idx="33">
                  <c:v>45186</c:v>
                </c:pt>
                <c:pt idx="34">
                  <c:v>45193</c:v>
                </c:pt>
                <c:pt idx="35">
                  <c:v>45200</c:v>
                </c:pt>
                <c:pt idx="36">
                  <c:v>45207</c:v>
                </c:pt>
                <c:pt idx="37">
                  <c:v>45214</c:v>
                </c:pt>
                <c:pt idx="38">
                  <c:v>45221</c:v>
                </c:pt>
                <c:pt idx="39">
                  <c:v>45228</c:v>
                </c:pt>
                <c:pt idx="40">
                  <c:v>45235</c:v>
                </c:pt>
                <c:pt idx="41">
                  <c:v>45242</c:v>
                </c:pt>
                <c:pt idx="42">
                  <c:v>45249</c:v>
                </c:pt>
                <c:pt idx="43">
                  <c:v>45256</c:v>
                </c:pt>
                <c:pt idx="44">
                  <c:v>45263</c:v>
                </c:pt>
                <c:pt idx="45">
                  <c:v>45270</c:v>
                </c:pt>
                <c:pt idx="46">
                  <c:v>45277</c:v>
                </c:pt>
                <c:pt idx="47">
                  <c:v>45284</c:v>
                </c:pt>
                <c:pt idx="48">
                  <c:v>45291</c:v>
                </c:pt>
                <c:pt idx="49">
                  <c:v>45298</c:v>
                </c:pt>
                <c:pt idx="50">
                  <c:v>45305</c:v>
                </c:pt>
                <c:pt idx="51">
                  <c:v>45312</c:v>
                </c:pt>
                <c:pt idx="52">
                  <c:v>45319</c:v>
                </c:pt>
                <c:pt idx="53">
                  <c:v>45326</c:v>
                </c:pt>
                <c:pt idx="54">
                  <c:v>45340</c:v>
                </c:pt>
                <c:pt idx="55">
                  <c:v>45347</c:v>
                </c:pt>
                <c:pt idx="56">
                  <c:v>45354</c:v>
                </c:pt>
                <c:pt idx="57">
                  <c:v>45361</c:v>
                </c:pt>
                <c:pt idx="58">
                  <c:v>45368</c:v>
                </c:pt>
                <c:pt idx="59">
                  <c:v>45375</c:v>
                </c:pt>
                <c:pt idx="60">
                  <c:v>45389</c:v>
                </c:pt>
                <c:pt idx="61">
                  <c:v>45396</c:v>
                </c:pt>
                <c:pt idx="62">
                  <c:v>45403</c:v>
                </c:pt>
                <c:pt idx="63">
                  <c:v>45410</c:v>
                </c:pt>
                <c:pt idx="64">
                  <c:v>45417</c:v>
                </c:pt>
                <c:pt idx="65">
                  <c:v>45424</c:v>
                </c:pt>
                <c:pt idx="66">
                  <c:v>45431</c:v>
                </c:pt>
                <c:pt idx="67">
                  <c:v>45438</c:v>
                </c:pt>
                <c:pt idx="68">
                  <c:v>45445</c:v>
                </c:pt>
                <c:pt idx="69">
                  <c:v>45452</c:v>
                </c:pt>
                <c:pt idx="70">
                  <c:v>45459</c:v>
                </c:pt>
                <c:pt idx="71">
                  <c:v>45466</c:v>
                </c:pt>
                <c:pt idx="72">
                  <c:v>45473</c:v>
                </c:pt>
                <c:pt idx="73">
                  <c:v>45480</c:v>
                </c:pt>
                <c:pt idx="74">
                  <c:v>45487</c:v>
                </c:pt>
                <c:pt idx="75">
                  <c:v>45508</c:v>
                </c:pt>
                <c:pt idx="76">
                  <c:v>45515</c:v>
                </c:pt>
                <c:pt idx="77">
                  <c:v>45522</c:v>
                </c:pt>
                <c:pt idx="78">
                  <c:v>45529</c:v>
                </c:pt>
                <c:pt idx="79">
                  <c:v>45536</c:v>
                </c:pt>
                <c:pt idx="80">
                  <c:v>45543</c:v>
                </c:pt>
                <c:pt idx="81">
                  <c:v>45550</c:v>
                </c:pt>
                <c:pt idx="82">
                  <c:v>45557</c:v>
                </c:pt>
                <c:pt idx="83">
                  <c:v>45564</c:v>
                </c:pt>
                <c:pt idx="84">
                  <c:v>45578</c:v>
                </c:pt>
                <c:pt idx="85">
                  <c:v>45585</c:v>
                </c:pt>
                <c:pt idx="86">
                  <c:v>45592</c:v>
                </c:pt>
                <c:pt idx="87">
                  <c:v>45599</c:v>
                </c:pt>
                <c:pt idx="88">
                  <c:v>45606</c:v>
                </c:pt>
                <c:pt idx="89">
                  <c:v>45613</c:v>
                </c:pt>
                <c:pt idx="90">
                  <c:v>45620</c:v>
                </c:pt>
                <c:pt idx="91">
                  <c:v>45627</c:v>
                </c:pt>
                <c:pt idx="92">
                  <c:v>45634</c:v>
                </c:pt>
                <c:pt idx="93">
                  <c:v>45641</c:v>
                </c:pt>
                <c:pt idx="94">
                  <c:v>45648</c:v>
                </c:pt>
                <c:pt idx="95">
                  <c:v>45655</c:v>
                </c:pt>
                <c:pt idx="96">
                  <c:v>45662</c:v>
                </c:pt>
                <c:pt idx="97">
                  <c:v>45669</c:v>
                </c:pt>
                <c:pt idx="98">
                  <c:v>45676</c:v>
                </c:pt>
                <c:pt idx="99">
                  <c:v>45683</c:v>
                </c:pt>
              </c:numCache>
            </c:numRef>
          </c:cat>
          <c:val>
            <c:numRef>
              <c:f>Sheet1!$B$2:$B$101</c:f>
              <c:numCache>
                <c:formatCode>General</c:formatCode>
                <c:ptCount val="100"/>
                <c:pt idx="0">
                  <c:v>360607</c:v>
                </c:pt>
                <c:pt idx="1">
                  <c:v>352249</c:v>
                </c:pt>
                <c:pt idx="2">
                  <c:v>342992</c:v>
                </c:pt>
                <c:pt idx="3">
                  <c:v>328492</c:v>
                </c:pt>
                <c:pt idx="4">
                  <c:v>339350</c:v>
                </c:pt>
                <c:pt idx="5">
                  <c:v>346982</c:v>
                </c:pt>
                <c:pt idx="6">
                  <c:v>334096</c:v>
                </c:pt>
                <c:pt idx="7">
                  <c:v>336495</c:v>
                </c:pt>
                <c:pt idx="8">
                  <c:v>358221</c:v>
                </c:pt>
                <c:pt idx="9">
                  <c:v>339625</c:v>
                </c:pt>
                <c:pt idx="10">
                  <c:v>320878</c:v>
                </c:pt>
                <c:pt idx="11">
                  <c:v>327195</c:v>
                </c:pt>
                <c:pt idx="12">
                  <c:v>360794</c:v>
                </c:pt>
                <c:pt idx="13">
                  <c:v>361445</c:v>
                </c:pt>
                <c:pt idx="14">
                  <c:v>307922</c:v>
                </c:pt>
                <c:pt idx="15">
                  <c:v>352501</c:v>
                </c:pt>
                <c:pt idx="16">
                  <c:v>362104</c:v>
                </c:pt>
                <c:pt idx="17">
                  <c:v>389632</c:v>
                </c:pt>
                <c:pt idx="18">
                  <c:v>365463</c:v>
                </c:pt>
                <c:pt idx="19">
                  <c:v>363794</c:v>
                </c:pt>
                <c:pt idx="20">
                  <c:v>385878</c:v>
                </c:pt>
                <c:pt idx="21">
                  <c:v>402742</c:v>
                </c:pt>
                <c:pt idx="22">
                  <c:v>411659</c:v>
                </c:pt>
                <c:pt idx="23">
                  <c:v>398022</c:v>
                </c:pt>
                <c:pt idx="24">
                  <c:v>386487</c:v>
                </c:pt>
                <c:pt idx="25">
                  <c:v>401198</c:v>
                </c:pt>
                <c:pt idx="26">
                  <c:v>0</c:v>
                </c:pt>
                <c:pt idx="27">
                  <c:v>0</c:v>
                </c:pt>
                <c:pt idx="28">
                  <c:v>251962</c:v>
                </c:pt>
                <c:pt idx="29">
                  <c:v>35160</c:v>
                </c:pt>
                <c:pt idx="30">
                  <c:v>20498</c:v>
                </c:pt>
                <c:pt idx="31">
                  <c:v>17883</c:v>
                </c:pt>
                <c:pt idx="32">
                  <c:v>18859</c:v>
                </c:pt>
                <c:pt idx="33">
                  <c:v>16659</c:v>
                </c:pt>
                <c:pt idx="34">
                  <c:v>19135</c:v>
                </c:pt>
                <c:pt idx="35">
                  <c:v>25785</c:v>
                </c:pt>
                <c:pt idx="36">
                  <c:v>30853</c:v>
                </c:pt>
                <c:pt idx="37">
                  <c:v>34539</c:v>
                </c:pt>
                <c:pt idx="38">
                  <c:v>36233</c:v>
                </c:pt>
                <c:pt idx="39">
                  <c:v>38811</c:v>
                </c:pt>
                <c:pt idx="40">
                  <c:v>422506</c:v>
                </c:pt>
                <c:pt idx="41">
                  <c:v>410500</c:v>
                </c:pt>
                <c:pt idx="42">
                  <c:v>366254</c:v>
                </c:pt>
                <c:pt idx="43">
                  <c:v>333519</c:v>
                </c:pt>
                <c:pt idx="44">
                  <c:v>367563</c:v>
                </c:pt>
                <c:pt idx="45">
                  <c:v>364252</c:v>
                </c:pt>
                <c:pt idx="46">
                  <c:v>379089</c:v>
                </c:pt>
                <c:pt idx="47">
                  <c:v>413928</c:v>
                </c:pt>
                <c:pt idx="48">
                  <c:v>320297</c:v>
                </c:pt>
                <c:pt idx="49">
                  <c:v>362390</c:v>
                </c:pt>
                <c:pt idx="50">
                  <c:v>309163</c:v>
                </c:pt>
                <c:pt idx="51">
                  <c:v>315193</c:v>
                </c:pt>
                <c:pt idx="52">
                  <c:v>340848</c:v>
                </c:pt>
                <c:pt idx="53">
                  <c:v>355996</c:v>
                </c:pt>
                <c:pt idx="54">
                  <c:v>301344</c:v>
                </c:pt>
                <c:pt idx="55">
                  <c:v>279597</c:v>
                </c:pt>
                <c:pt idx="56">
                  <c:v>335054</c:v>
                </c:pt>
                <c:pt idx="57">
                  <c:v>0</c:v>
                </c:pt>
                <c:pt idx="58">
                  <c:v>344234</c:v>
                </c:pt>
                <c:pt idx="59">
                  <c:v>264455</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362277</c:v>
                </c:pt>
                <c:pt idx="78">
                  <c:v>0</c:v>
                </c:pt>
                <c:pt idx="79">
                  <c:v>0</c:v>
                </c:pt>
                <c:pt idx="80">
                  <c:v>0</c:v>
                </c:pt>
                <c:pt idx="81">
                  <c:v>0</c:v>
                </c:pt>
                <c:pt idx="82">
                  <c:v>0</c:v>
                </c:pt>
                <c:pt idx="83">
                  <c:v>0</c:v>
                </c:pt>
                <c:pt idx="84">
                  <c:v>272432</c:v>
                </c:pt>
                <c:pt idx="85">
                  <c:v>269867</c:v>
                </c:pt>
                <c:pt idx="86">
                  <c:v>299321</c:v>
                </c:pt>
                <c:pt idx="87">
                  <c:v>345554</c:v>
                </c:pt>
                <c:pt idx="88">
                  <c:v>354622</c:v>
                </c:pt>
                <c:pt idx="89">
                  <c:v>336014</c:v>
                </c:pt>
                <c:pt idx="90">
                  <c:v>330034</c:v>
                </c:pt>
                <c:pt idx="91">
                  <c:v>265530</c:v>
                </c:pt>
                <c:pt idx="92">
                  <c:v>278416</c:v>
                </c:pt>
                <c:pt idx="93">
                  <c:v>323708</c:v>
                </c:pt>
                <c:pt idx="94">
                  <c:v>370460</c:v>
                </c:pt>
                <c:pt idx="95">
                  <c:v>313626</c:v>
                </c:pt>
                <c:pt idx="96">
                  <c:v>336739</c:v>
                </c:pt>
                <c:pt idx="97">
                  <c:v>316330</c:v>
                </c:pt>
                <c:pt idx="98">
                  <c:v>0</c:v>
                </c:pt>
                <c:pt idx="99">
                  <c:v>0</c:v>
                </c:pt>
              </c:numCache>
            </c:numRef>
          </c:val>
          <c:extLst>
            <c:ext xmlns:c16="http://schemas.microsoft.com/office/drawing/2014/chart" uri="{C3380CC4-5D6E-409C-BE32-E72D297353CC}">
              <c16:uniqueId val="{00000000-72A7-4D08-96D7-E73109FBDC9A}"/>
            </c:ext>
          </c:extLst>
        </c:ser>
        <c:ser>
          <c:idx val="0"/>
          <c:order val="1"/>
          <c:tx>
            <c:strRef>
              <c:f>Sheet1!$C$1</c:f>
              <c:strCache>
                <c:ptCount val="1"/>
                <c:pt idx="0">
                  <c:v>Promo Volume</c:v>
                </c:pt>
              </c:strCache>
            </c:strRef>
          </c:tx>
          <c:spPr>
            <a:solidFill>
              <a:schemeClr val="accent3"/>
            </a:solidFill>
            <a:ln>
              <a:noFill/>
            </a:ln>
            <a:effectLst/>
          </c:spPr>
          <c:invertIfNegative val="0"/>
          <c:cat>
            <c:numRef>
              <c:f>Sheet1!$A$2:$A$101</c:f>
              <c:numCache>
                <c:formatCode>yyyy\-mm\-dd</c:formatCode>
                <c:ptCount val="100"/>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51</c:v>
                </c:pt>
                <c:pt idx="29">
                  <c:v>45158</c:v>
                </c:pt>
                <c:pt idx="30">
                  <c:v>45165</c:v>
                </c:pt>
                <c:pt idx="31">
                  <c:v>45172</c:v>
                </c:pt>
                <c:pt idx="32">
                  <c:v>45179</c:v>
                </c:pt>
                <c:pt idx="33">
                  <c:v>45186</c:v>
                </c:pt>
                <c:pt idx="34">
                  <c:v>45193</c:v>
                </c:pt>
                <c:pt idx="35">
                  <c:v>45200</c:v>
                </c:pt>
                <c:pt idx="36">
                  <c:v>45207</c:v>
                </c:pt>
                <c:pt idx="37">
                  <c:v>45214</c:v>
                </c:pt>
                <c:pt idx="38">
                  <c:v>45221</c:v>
                </c:pt>
                <c:pt idx="39">
                  <c:v>45228</c:v>
                </c:pt>
                <c:pt idx="40">
                  <c:v>45235</c:v>
                </c:pt>
                <c:pt idx="41">
                  <c:v>45242</c:v>
                </c:pt>
                <c:pt idx="42">
                  <c:v>45249</c:v>
                </c:pt>
                <c:pt idx="43">
                  <c:v>45256</c:v>
                </c:pt>
                <c:pt idx="44">
                  <c:v>45263</c:v>
                </c:pt>
                <c:pt idx="45">
                  <c:v>45270</c:v>
                </c:pt>
                <c:pt idx="46">
                  <c:v>45277</c:v>
                </c:pt>
                <c:pt idx="47">
                  <c:v>45284</c:v>
                </c:pt>
                <c:pt idx="48">
                  <c:v>45291</c:v>
                </c:pt>
                <c:pt idx="49">
                  <c:v>45298</c:v>
                </c:pt>
                <c:pt idx="50">
                  <c:v>45305</c:v>
                </c:pt>
                <c:pt idx="51">
                  <c:v>45312</c:v>
                </c:pt>
                <c:pt idx="52">
                  <c:v>45319</c:v>
                </c:pt>
                <c:pt idx="53">
                  <c:v>45326</c:v>
                </c:pt>
                <c:pt idx="54">
                  <c:v>45340</c:v>
                </c:pt>
                <c:pt idx="55">
                  <c:v>45347</c:v>
                </c:pt>
                <c:pt idx="56">
                  <c:v>45354</c:v>
                </c:pt>
                <c:pt idx="57">
                  <c:v>45361</c:v>
                </c:pt>
                <c:pt idx="58">
                  <c:v>45368</c:v>
                </c:pt>
                <c:pt idx="59">
                  <c:v>45375</c:v>
                </c:pt>
                <c:pt idx="60">
                  <c:v>45389</c:v>
                </c:pt>
                <c:pt idx="61">
                  <c:v>45396</c:v>
                </c:pt>
                <c:pt idx="62">
                  <c:v>45403</c:v>
                </c:pt>
                <c:pt idx="63">
                  <c:v>45410</c:v>
                </c:pt>
                <c:pt idx="64">
                  <c:v>45417</c:v>
                </c:pt>
                <c:pt idx="65">
                  <c:v>45424</c:v>
                </c:pt>
                <c:pt idx="66">
                  <c:v>45431</c:v>
                </c:pt>
                <c:pt idx="67">
                  <c:v>45438</c:v>
                </c:pt>
                <c:pt idx="68">
                  <c:v>45445</c:v>
                </c:pt>
                <c:pt idx="69">
                  <c:v>45452</c:v>
                </c:pt>
                <c:pt idx="70">
                  <c:v>45459</c:v>
                </c:pt>
                <c:pt idx="71">
                  <c:v>45466</c:v>
                </c:pt>
                <c:pt idx="72">
                  <c:v>45473</c:v>
                </c:pt>
                <c:pt idx="73">
                  <c:v>45480</c:v>
                </c:pt>
                <c:pt idx="74">
                  <c:v>45487</c:v>
                </c:pt>
                <c:pt idx="75">
                  <c:v>45508</c:v>
                </c:pt>
                <c:pt idx="76">
                  <c:v>45515</c:v>
                </c:pt>
                <c:pt idx="77">
                  <c:v>45522</c:v>
                </c:pt>
                <c:pt idx="78">
                  <c:v>45529</c:v>
                </c:pt>
                <c:pt idx="79">
                  <c:v>45536</c:v>
                </c:pt>
                <c:pt idx="80">
                  <c:v>45543</c:v>
                </c:pt>
                <c:pt idx="81">
                  <c:v>45550</c:v>
                </c:pt>
                <c:pt idx="82">
                  <c:v>45557</c:v>
                </c:pt>
                <c:pt idx="83">
                  <c:v>45564</c:v>
                </c:pt>
                <c:pt idx="84">
                  <c:v>45578</c:v>
                </c:pt>
                <c:pt idx="85">
                  <c:v>45585</c:v>
                </c:pt>
                <c:pt idx="86">
                  <c:v>45592</c:v>
                </c:pt>
                <c:pt idx="87">
                  <c:v>45599</c:v>
                </c:pt>
                <c:pt idx="88">
                  <c:v>45606</c:v>
                </c:pt>
                <c:pt idx="89">
                  <c:v>45613</c:v>
                </c:pt>
                <c:pt idx="90">
                  <c:v>45620</c:v>
                </c:pt>
                <c:pt idx="91">
                  <c:v>45627</c:v>
                </c:pt>
                <c:pt idx="92">
                  <c:v>45634</c:v>
                </c:pt>
                <c:pt idx="93">
                  <c:v>45641</c:v>
                </c:pt>
                <c:pt idx="94">
                  <c:v>45648</c:v>
                </c:pt>
                <c:pt idx="95">
                  <c:v>45655</c:v>
                </c:pt>
                <c:pt idx="96">
                  <c:v>45662</c:v>
                </c:pt>
                <c:pt idx="97">
                  <c:v>45669</c:v>
                </c:pt>
                <c:pt idx="98">
                  <c:v>45676</c:v>
                </c:pt>
                <c:pt idx="99">
                  <c:v>45683</c:v>
                </c:pt>
              </c:numCache>
            </c:numRef>
          </c:cat>
          <c:val>
            <c:numRef>
              <c:f>Sheet1!$C$2:$C$101</c:f>
              <c:numCache>
                <c:formatCode>General</c:formatCode>
                <c:ptCount val="100"/>
                <c:pt idx="0">
                  <c:v>64667</c:v>
                </c:pt>
                <c:pt idx="1">
                  <c:v>42852</c:v>
                </c:pt>
                <c:pt idx="2">
                  <c:v>35164</c:v>
                </c:pt>
                <c:pt idx="3">
                  <c:v>25722</c:v>
                </c:pt>
                <c:pt idx="4">
                  <c:v>26786</c:v>
                </c:pt>
                <c:pt idx="5">
                  <c:v>30736</c:v>
                </c:pt>
                <c:pt idx="6">
                  <c:v>37173</c:v>
                </c:pt>
                <c:pt idx="7">
                  <c:v>75134</c:v>
                </c:pt>
                <c:pt idx="8">
                  <c:v>60902</c:v>
                </c:pt>
                <c:pt idx="9">
                  <c:v>56603</c:v>
                </c:pt>
                <c:pt idx="10">
                  <c:v>56632</c:v>
                </c:pt>
                <c:pt idx="11">
                  <c:v>71144</c:v>
                </c:pt>
                <c:pt idx="12">
                  <c:v>2547</c:v>
                </c:pt>
                <c:pt idx="13">
                  <c:v>37345</c:v>
                </c:pt>
                <c:pt idx="14">
                  <c:v>56291</c:v>
                </c:pt>
                <c:pt idx="15">
                  <c:v>50081</c:v>
                </c:pt>
                <c:pt idx="16">
                  <c:v>7683</c:v>
                </c:pt>
                <c:pt idx="17">
                  <c:v>2404</c:v>
                </c:pt>
                <c:pt idx="18">
                  <c:v>2232</c:v>
                </c:pt>
                <c:pt idx="19">
                  <c:v>1606</c:v>
                </c:pt>
                <c:pt idx="20">
                  <c:v>1255</c:v>
                </c:pt>
                <c:pt idx="21">
                  <c:v>1901</c:v>
                </c:pt>
                <c:pt idx="22">
                  <c:v>1725</c:v>
                </c:pt>
                <c:pt idx="23">
                  <c:v>862</c:v>
                </c:pt>
                <c:pt idx="24">
                  <c:v>2127</c:v>
                </c:pt>
                <c:pt idx="25">
                  <c:v>2886</c:v>
                </c:pt>
                <c:pt idx="26">
                  <c:v>0</c:v>
                </c:pt>
                <c:pt idx="27">
                  <c:v>0</c:v>
                </c:pt>
                <c:pt idx="28">
                  <c:v>167672</c:v>
                </c:pt>
                <c:pt idx="29">
                  <c:v>418146</c:v>
                </c:pt>
                <c:pt idx="30">
                  <c:v>423573</c:v>
                </c:pt>
                <c:pt idx="31">
                  <c:v>421880</c:v>
                </c:pt>
                <c:pt idx="32">
                  <c:v>423350</c:v>
                </c:pt>
                <c:pt idx="33">
                  <c:v>407095</c:v>
                </c:pt>
                <c:pt idx="34">
                  <c:v>397584</c:v>
                </c:pt>
                <c:pt idx="35">
                  <c:v>393285</c:v>
                </c:pt>
                <c:pt idx="36">
                  <c:v>414853</c:v>
                </c:pt>
                <c:pt idx="37">
                  <c:v>418524</c:v>
                </c:pt>
                <c:pt idx="38">
                  <c:v>408006</c:v>
                </c:pt>
                <c:pt idx="39">
                  <c:v>387093</c:v>
                </c:pt>
                <c:pt idx="40">
                  <c:v>22028</c:v>
                </c:pt>
                <c:pt idx="41">
                  <c:v>26488</c:v>
                </c:pt>
                <c:pt idx="42">
                  <c:v>34566</c:v>
                </c:pt>
                <c:pt idx="43">
                  <c:v>51502</c:v>
                </c:pt>
                <c:pt idx="44">
                  <c:v>62994</c:v>
                </c:pt>
                <c:pt idx="45">
                  <c:v>112572</c:v>
                </c:pt>
                <c:pt idx="46">
                  <c:v>106864</c:v>
                </c:pt>
                <c:pt idx="47">
                  <c:v>174603</c:v>
                </c:pt>
                <c:pt idx="48">
                  <c:v>317552</c:v>
                </c:pt>
                <c:pt idx="49">
                  <c:v>11348</c:v>
                </c:pt>
                <c:pt idx="50">
                  <c:v>21360</c:v>
                </c:pt>
                <c:pt idx="51">
                  <c:v>9072</c:v>
                </c:pt>
                <c:pt idx="52">
                  <c:v>3816</c:v>
                </c:pt>
                <c:pt idx="53">
                  <c:v>2476</c:v>
                </c:pt>
                <c:pt idx="54">
                  <c:v>34978</c:v>
                </c:pt>
                <c:pt idx="55">
                  <c:v>121649</c:v>
                </c:pt>
                <c:pt idx="56">
                  <c:v>42472</c:v>
                </c:pt>
                <c:pt idx="57">
                  <c:v>0</c:v>
                </c:pt>
                <c:pt idx="58">
                  <c:v>1003</c:v>
                </c:pt>
                <c:pt idx="59">
                  <c:v>119643</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1683</c:v>
                </c:pt>
                <c:pt idx="78">
                  <c:v>0</c:v>
                </c:pt>
                <c:pt idx="79">
                  <c:v>0</c:v>
                </c:pt>
                <c:pt idx="80">
                  <c:v>0</c:v>
                </c:pt>
                <c:pt idx="81">
                  <c:v>0</c:v>
                </c:pt>
                <c:pt idx="82">
                  <c:v>0</c:v>
                </c:pt>
                <c:pt idx="83">
                  <c:v>0</c:v>
                </c:pt>
                <c:pt idx="84">
                  <c:v>86535</c:v>
                </c:pt>
                <c:pt idx="85">
                  <c:v>109076</c:v>
                </c:pt>
                <c:pt idx="86">
                  <c:v>70912</c:v>
                </c:pt>
                <c:pt idx="87">
                  <c:v>30284</c:v>
                </c:pt>
                <c:pt idx="88">
                  <c:v>38753</c:v>
                </c:pt>
                <c:pt idx="89">
                  <c:v>47520</c:v>
                </c:pt>
                <c:pt idx="90">
                  <c:v>55336</c:v>
                </c:pt>
                <c:pt idx="91">
                  <c:v>122843</c:v>
                </c:pt>
                <c:pt idx="92">
                  <c:v>190112</c:v>
                </c:pt>
                <c:pt idx="93">
                  <c:v>159134</c:v>
                </c:pt>
                <c:pt idx="94">
                  <c:v>160254</c:v>
                </c:pt>
                <c:pt idx="95">
                  <c:v>334412</c:v>
                </c:pt>
                <c:pt idx="96">
                  <c:v>7227</c:v>
                </c:pt>
                <c:pt idx="97">
                  <c:v>2106</c:v>
                </c:pt>
                <c:pt idx="98">
                  <c:v>0</c:v>
                </c:pt>
                <c:pt idx="99">
                  <c:v>0</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97</c:f>
              <c:numCache>
                <c:formatCode>yyyy\-mm\-dd</c:formatCode>
                <c:ptCount val="96"/>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109</c:v>
                </c:pt>
                <c:pt idx="21">
                  <c:v>45130</c:v>
                </c:pt>
                <c:pt idx="22">
                  <c:v>45172</c:v>
                </c:pt>
                <c:pt idx="23">
                  <c:v>45179</c:v>
                </c:pt>
                <c:pt idx="24">
                  <c:v>45186</c:v>
                </c:pt>
                <c:pt idx="25">
                  <c:v>45193</c:v>
                </c:pt>
                <c:pt idx="26">
                  <c:v>45200</c:v>
                </c:pt>
                <c:pt idx="27">
                  <c:v>45207</c:v>
                </c:pt>
                <c:pt idx="28">
                  <c:v>45214</c:v>
                </c:pt>
                <c:pt idx="29">
                  <c:v>45221</c:v>
                </c:pt>
                <c:pt idx="30">
                  <c:v>45228</c:v>
                </c:pt>
                <c:pt idx="31">
                  <c:v>45235</c:v>
                </c:pt>
                <c:pt idx="32">
                  <c:v>45242</c:v>
                </c:pt>
                <c:pt idx="33">
                  <c:v>45249</c:v>
                </c:pt>
                <c:pt idx="34">
                  <c:v>45256</c:v>
                </c:pt>
                <c:pt idx="35">
                  <c:v>45263</c:v>
                </c:pt>
                <c:pt idx="36">
                  <c:v>45270</c:v>
                </c:pt>
                <c:pt idx="37">
                  <c:v>45277</c:v>
                </c:pt>
                <c:pt idx="38">
                  <c:v>45284</c:v>
                </c:pt>
                <c:pt idx="39">
                  <c:v>45291</c:v>
                </c:pt>
                <c:pt idx="40">
                  <c:v>45298</c:v>
                </c:pt>
                <c:pt idx="41">
                  <c:v>45305</c:v>
                </c:pt>
                <c:pt idx="42">
                  <c:v>45312</c:v>
                </c:pt>
                <c:pt idx="43">
                  <c:v>45319</c:v>
                </c:pt>
                <c:pt idx="44">
                  <c:v>45326</c:v>
                </c:pt>
                <c:pt idx="45">
                  <c:v>45333</c:v>
                </c:pt>
                <c:pt idx="46">
                  <c:v>45340</c:v>
                </c:pt>
                <c:pt idx="47">
                  <c:v>45347</c:v>
                </c:pt>
                <c:pt idx="48">
                  <c:v>45354</c:v>
                </c:pt>
                <c:pt idx="49">
                  <c:v>45361</c:v>
                </c:pt>
                <c:pt idx="50">
                  <c:v>45368</c:v>
                </c:pt>
                <c:pt idx="51">
                  <c:v>45375</c:v>
                </c:pt>
                <c:pt idx="52">
                  <c:v>45382</c:v>
                </c:pt>
                <c:pt idx="53">
                  <c:v>45389</c:v>
                </c:pt>
                <c:pt idx="54">
                  <c:v>45396</c:v>
                </c:pt>
                <c:pt idx="55">
                  <c:v>45403</c:v>
                </c:pt>
                <c:pt idx="56">
                  <c:v>45410</c:v>
                </c:pt>
                <c:pt idx="57">
                  <c:v>45417</c:v>
                </c:pt>
                <c:pt idx="58">
                  <c:v>45424</c:v>
                </c:pt>
                <c:pt idx="59">
                  <c:v>45431</c:v>
                </c:pt>
                <c:pt idx="60">
                  <c:v>45438</c:v>
                </c:pt>
                <c:pt idx="61">
                  <c:v>45445</c:v>
                </c:pt>
                <c:pt idx="62">
                  <c:v>45452</c:v>
                </c:pt>
                <c:pt idx="63">
                  <c:v>45459</c:v>
                </c:pt>
                <c:pt idx="64">
                  <c:v>45466</c:v>
                </c:pt>
                <c:pt idx="65">
                  <c:v>45473</c:v>
                </c:pt>
                <c:pt idx="66">
                  <c:v>45480</c:v>
                </c:pt>
                <c:pt idx="67">
                  <c:v>45487</c:v>
                </c:pt>
                <c:pt idx="68">
                  <c:v>45494</c:v>
                </c:pt>
                <c:pt idx="69">
                  <c:v>45501</c:v>
                </c:pt>
                <c:pt idx="70">
                  <c:v>45508</c:v>
                </c:pt>
                <c:pt idx="71">
                  <c:v>45515</c:v>
                </c:pt>
                <c:pt idx="72">
                  <c:v>45522</c:v>
                </c:pt>
                <c:pt idx="73">
                  <c:v>45529</c:v>
                </c:pt>
                <c:pt idx="74">
                  <c:v>45536</c:v>
                </c:pt>
                <c:pt idx="75">
                  <c:v>45543</c:v>
                </c:pt>
                <c:pt idx="76">
                  <c:v>45550</c:v>
                </c:pt>
                <c:pt idx="77">
                  <c:v>45557</c:v>
                </c:pt>
                <c:pt idx="78">
                  <c:v>45564</c:v>
                </c:pt>
                <c:pt idx="79">
                  <c:v>45571</c:v>
                </c:pt>
                <c:pt idx="80">
                  <c:v>45578</c:v>
                </c:pt>
                <c:pt idx="81">
                  <c:v>45585</c:v>
                </c:pt>
                <c:pt idx="82">
                  <c:v>45592</c:v>
                </c:pt>
                <c:pt idx="83">
                  <c:v>45599</c:v>
                </c:pt>
                <c:pt idx="84">
                  <c:v>45606</c:v>
                </c:pt>
                <c:pt idx="85">
                  <c:v>45613</c:v>
                </c:pt>
                <c:pt idx="86">
                  <c:v>45620</c:v>
                </c:pt>
                <c:pt idx="87">
                  <c:v>45627</c:v>
                </c:pt>
                <c:pt idx="88">
                  <c:v>45634</c:v>
                </c:pt>
                <c:pt idx="89">
                  <c:v>45641</c:v>
                </c:pt>
                <c:pt idx="90">
                  <c:v>45648</c:v>
                </c:pt>
                <c:pt idx="91">
                  <c:v>45655</c:v>
                </c:pt>
                <c:pt idx="92">
                  <c:v>45662</c:v>
                </c:pt>
                <c:pt idx="93">
                  <c:v>45669</c:v>
                </c:pt>
                <c:pt idx="94">
                  <c:v>45676</c:v>
                </c:pt>
                <c:pt idx="95">
                  <c:v>45683</c:v>
                </c:pt>
              </c:numCache>
            </c:numRef>
          </c:cat>
          <c:val>
            <c:numRef>
              <c:f>Sheet1!$B$2:$B$97</c:f>
              <c:numCache>
                <c:formatCode>General</c:formatCode>
                <c:ptCount val="96"/>
                <c:pt idx="0">
                  <c:v>85304</c:v>
                </c:pt>
                <c:pt idx="1">
                  <c:v>89737</c:v>
                </c:pt>
                <c:pt idx="2">
                  <c:v>91217</c:v>
                </c:pt>
                <c:pt idx="3">
                  <c:v>89095</c:v>
                </c:pt>
                <c:pt idx="4">
                  <c:v>92200</c:v>
                </c:pt>
                <c:pt idx="5">
                  <c:v>87923</c:v>
                </c:pt>
                <c:pt idx="6">
                  <c:v>82067</c:v>
                </c:pt>
                <c:pt idx="7">
                  <c:v>83238</c:v>
                </c:pt>
                <c:pt idx="8">
                  <c:v>90793</c:v>
                </c:pt>
                <c:pt idx="9">
                  <c:v>83601</c:v>
                </c:pt>
                <c:pt idx="10">
                  <c:v>83674</c:v>
                </c:pt>
                <c:pt idx="11">
                  <c:v>84639</c:v>
                </c:pt>
                <c:pt idx="12">
                  <c:v>81973</c:v>
                </c:pt>
                <c:pt idx="13">
                  <c:v>90139</c:v>
                </c:pt>
                <c:pt idx="14">
                  <c:v>77886</c:v>
                </c:pt>
                <c:pt idx="15">
                  <c:v>80011</c:v>
                </c:pt>
                <c:pt idx="16">
                  <c:v>80198</c:v>
                </c:pt>
                <c:pt idx="17">
                  <c:v>91826</c:v>
                </c:pt>
                <c:pt idx="18">
                  <c:v>86840</c:v>
                </c:pt>
                <c:pt idx="19">
                  <c:v>84944</c:v>
                </c:pt>
                <c:pt idx="20">
                  <c:v>92102</c:v>
                </c:pt>
                <c:pt idx="21">
                  <c:v>83773</c:v>
                </c:pt>
                <c:pt idx="22">
                  <c:v>83072</c:v>
                </c:pt>
                <c:pt idx="23">
                  <c:v>88805</c:v>
                </c:pt>
                <c:pt idx="24">
                  <c:v>87855</c:v>
                </c:pt>
                <c:pt idx="25">
                  <c:v>85622</c:v>
                </c:pt>
                <c:pt idx="26">
                  <c:v>81384</c:v>
                </c:pt>
                <c:pt idx="27">
                  <c:v>81469</c:v>
                </c:pt>
                <c:pt idx="28">
                  <c:v>69759</c:v>
                </c:pt>
                <c:pt idx="29">
                  <c:v>70345</c:v>
                </c:pt>
                <c:pt idx="30">
                  <c:v>69999</c:v>
                </c:pt>
                <c:pt idx="31">
                  <c:v>74451</c:v>
                </c:pt>
                <c:pt idx="32">
                  <c:v>82844</c:v>
                </c:pt>
                <c:pt idx="33">
                  <c:v>82368</c:v>
                </c:pt>
                <c:pt idx="34">
                  <c:v>77176</c:v>
                </c:pt>
                <c:pt idx="35">
                  <c:v>80354</c:v>
                </c:pt>
                <c:pt idx="36">
                  <c:v>84529</c:v>
                </c:pt>
                <c:pt idx="37">
                  <c:v>79574</c:v>
                </c:pt>
                <c:pt idx="38">
                  <c:v>84044</c:v>
                </c:pt>
                <c:pt idx="39">
                  <c:v>58571</c:v>
                </c:pt>
                <c:pt idx="40">
                  <c:v>69963</c:v>
                </c:pt>
                <c:pt idx="41">
                  <c:v>73062</c:v>
                </c:pt>
                <c:pt idx="42">
                  <c:v>87089</c:v>
                </c:pt>
                <c:pt idx="43">
                  <c:v>96669</c:v>
                </c:pt>
                <c:pt idx="44">
                  <c:v>89339</c:v>
                </c:pt>
                <c:pt idx="45">
                  <c:v>79275</c:v>
                </c:pt>
                <c:pt idx="46">
                  <c:v>68462</c:v>
                </c:pt>
                <c:pt idx="47">
                  <c:v>65348</c:v>
                </c:pt>
                <c:pt idx="48">
                  <c:v>64989</c:v>
                </c:pt>
                <c:pt idx="49">
                  <c:v>64685</c:v>
                </c:pt>
                <c:pt idx="50">
                  <c:v>69244</c:v>
                </c:pt>
                <c:pt idx="51">
                  <c:v>79418</c:v>
                </c:pt>
                <c:pt idx="52">
                  <c:v>81701</c:v>
                </c:pt>
                <c:pt idx="53">
                  <c:v>82440</c:v>
                </c:pt>
                <c:pt idx="54">
                  <c:v>78732</c:v>
                </c:pt>
                <c:pt idx="55">
                  <c:v>77568</c:v>
                </c:pt>
                <c:pt idx="56">
                  <c:v>77748</c:v>
                </c:pt>
                <c:pt idx="57">
                  <c:v>81678</c:v>
                </c:pt>
                <c:pt idx="58">
                  <c:v>79930</c:v>
                </c:pt>
                <c:pt idx="59">
                  <c:v>76539</c:v>
                </c:pt>
                <c:pt idx="60">
                  <c:v>91324</c:v>
                </c:pt>
                <c:pt idx="61">
                  <c:v>98280</c:v>
                </c:pt>
                <c:pt idx="62">
                  <c:v>104781</c:v>
                </c:pt>
                <c:pt idx="63">
                  <c:v>100215</c:v>
                </c:pt>
                <c:pt idx="64">
                  <c:v>99259</c:v>
                </c:pt>
                <c:pt idx="65">
                  <c:v>99382</c:v>
                </c:pt>
                <c:pt idx="66">
                  <c:v>108441</c:v>
                </c:pt>
                <c:pt idx="67">
                  <c:v>89327</c:v>
                </c:pt>
                <c:pt idx="68">
                  <c:v>83609</c:v>
                </c:pt>
                <c:pt idx="69">
                  <c:v>79459</c:v>
                </c:pt>
                <c:pt idx="70">
                  <c:v>83894</c:v>
                </c:pt>
                <c:pt idx="71">
                  <c:v>95676</c:v>
                </c:pt>
                <c:pt idx="72">
                  <c:v>95059</c:v>
                </c:pt>
                <c:pt idx="73">
                  <c:v>97961</c:v>
                </c:pt>
                <c:pt idx="74">
                  <c:v>93900</c:v>
                </c:pt>
                <c:pt idx="75">
                  <c:v>98467</c:v>
                </c:pt>
                <c:pt idx="76">
                  <c:v>91834</c:v>
                </c:pt>
                <c:pt idx="77">
                  <c:v>92928</c:v>
                </c:pt>
                <c:pt idx="78">
                  <c:v>85175</c:v>
                </c:pt>
                <c:pt idx="79">
                  <c:v>93101</c:v>
                </c:pt>
                <c:pt idx="80">
                  <c:v>75554</c:v>
                </c:pt>
                <c:pt idx="81">
                  <c:v>72739</c:v>
                </c:pt>
                <c:pt idx="82">
                  <c:v>81161</c:v>
                </c:pt>
                <c:pt idx="83">
                  <c:v>90939</c:v>
                </c:pt>
                <c:pt idx="84">
                  <c:v>96049</c:v>
                </c:pt>
                <c:pt idx="85">
                  <c:v>72254</c:v>
                </c:pt>
                <c:pt idx="86">
                  <c:v>23222</c:v>
                </c:pt>
                <c:pt idx="87">
                  <c:v>22139</c:v>
                </c:pt>
                <c:pt idx="88">
                  <c:v>24583</c:v>
                </c:pt>
                <c:pt idx="89">
                  <c:v>23023</c:v>
                </c:pt>
                <c:pt idx="90">
                  <c:v>25068</c:v>
                </c:pt>
                <c:pt idx="91">
                  <c:v>25590</c:v>
                </c:pt>
                <c:pt idx="92">
                  <c:v>21245</c:v>
                </c:pt>
                <c:pt idx="93">
                  <c:v>20999</c:v>
                </c:pt>
                <c:pt idx="94">
                  <c:v>23948</c:v>
                </c:pt>
                <c:pt idx="95">
                  <c:v>23020</c:v>
                </c:pt>
              </c:numCache>
            </c:numRef>
          </c:val>
          <c:extLst>
            <c:ext xmlns:c16="http://schemas.microsoft.com/office/drawing/2014/chart" uri="{C3380CC4-5D6E-409C-BE32-E72D297353CC}">
              <c16:uniqueId val="{00000000-72A7-4D08-96D7-E73109FBDC9A}"/>
            </c:ext>
          </c:extLst>
        </c:ser>
        <c:ser>
          <c:idx val="0"/>
          <c:order val="1"/>
          <c:tx>
            <c:strRef>
              <c:f>Sheet1!$C$1</c:f>
              <c:strCache>
                <c:ptCount val="1"/>
                <c:pt idx="0">
                  <c:v>Promo Volume</c:v>
                </c:pt>
              </c:strCache>
            </c:strRef>
          </c:tx>
          <c:spPr>
            <a:solidFill>
              <a:schemeClr val="accent3"/>
            </a:solidFill>
            <a:ln>
              <a:noFill/>
            </a:ln>
            <a:effectLst/>
          </c:spPr>
          <c:invertIfNegative val="0"/>
          <c:cat>
            <c:numRef>
              <c:f>Sheet1!$A$2:$A$97</c:f>
              <c:numCache>
                <c:formatCode>yyyy\-mm\-dd</c:formatCode>
                <c:ptCount val="96"/>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109</c:v>
                </c:pt>
                <c:pt idx="21">
                  <c:v>45130</c:v>
                </c:pt>
                <c:pt idx="22">
                  <c:v>45172</c:v>
                </c:pt>
                <c:pt idx="23">
                  <c:v>45179</c:v>
                </c:pt>
                <c:pt idx="24">
                  <c:v>45186</c:v>
                </c:pt>
                <c:pt idx="25">
                  <c:v>45193</c:v>
                </c:pt>
                <c:pt idx="26">
                  <c:v>45200</c:v>
                </c:pt>
                <c:pt idx="27">
                  <c:v>45207</c:v>
                </c:pt>
                <c:pt idx="28">
                  <c:v>45214</c:v>
                </c:pt>
                <c:pt idx="29">
                  <c:v>45221</c:v>
                </c:pt>
                <c:pt idx="30">
                  <c:v>45228</c:v>
                </c:pt>
                <c:pt idx="31">
                  <c:v>45235</c:v>
                </c:pt>
                <c:pt idx="32">
                  <c:v>45242</c:v>
                </c:pt>
                <c:pt idx="33">
                  <c:v>45249</c:v>
                </c:pt>
                <c:pt idx="34">
                  <c:v>45256</c:v>
                </c:pt>
                <c:pt idx="35">
                  <c:v>45263</c:v>
                </c:pt>
                <c:pt idx="36">
                  <c:v>45270</c:v>
                </c:pt>
                <c:pt idx="37">
                  <c:v>45277</c:v>
                </c:pt>
                <c:pt idx="38">
                  <c:v>45284</c:v>
                </c:pt>
                <c:pt idx="39">
                  <c:v>45291</c:v>
                </c:pt>
                <c:pt idx="40">
                  <c:v>45298</c:v>
                </c:pt>
                <c:pt idx="41">
                  <c:v>45305</c:v>
                </c:pt>
                <c:pt idx="42">
                  <c:v>45312</c:v>
                </c:pt>
                <c:pt idx="43">
                  <c:v>45319</c:v>
                </c:pt>
                <c:pt idx="44">
                  <c:v>45326</c:v>
                </c:pt>
                <c:pt idx="45">
                  <c:v>45333</c:v>
                </c:pt>
                <c:pt idx="46">
                  <c:v>45340</c:v>
                </c:pt>
                <c:pt idx="47">
                  <c:v>45347</c:v>
                </c:pt>
                <c:pt idx="48">
                  <c:v>45354</c:v>
                </c:pt>
                <c:pt idx="49">
                  <c:v>45361</c:v>
                </c:pt>
                <c:pt idx="50">
                  <c:v>45368</c:v>
                </c:pt>
                <c:pt idx="51">
                  <c:v>45375</c:v>
                </c:pt>
                <c:pt idx="52">
                  <c:v>45382</c:v>
                </c:pt>
                <c:pt idx="53">
                  <c:v>45389</c:v>
                </c:pt>
                <c:pt idx="54">
                  <c:v>45396</c:v>
                </c:pt>
                <c:pt idx="55">
                  <c:v>45403</c:v>
                </c:pt>
                <c:pt idx="56">
                  <c:v>45410</c:v>
                </c:pt>
                <c:pt idx="57">
                  <c:v>45417</c:v>
                </c:pt>
                <c:pt idx="58">
                  <c:v>45424</c:v>
                </c:pt>
                <c:pt idx="59">
                  <c:v>45431</c:v>
                </c:pt>
                <c:pt idx="60">
                  <c:v>45438</c:v>
                </c:pt>
                <c:pt idx="61">
                  <c:v>45445</c:v>
                </c:pt>
                <c:pt idx="62">
                  <c:v>45452</c:v>
                </c:pt>
                <c:pt idx="63">
                  <c:v>45459</c:v>
                </c:pt>
                <c:pt idx="64">
                  <c:v>45466</c:v>
                </c:pt>
                <c:pt idx="65">
                  <c:v>45473</c:v>
                </c:pt>
                <c:pt idx="66">
                  <c:v>45480</c:v>
                </c:pt>
                <c:pt idx="67">
                  <c:v>45487</c:v>
                </c:pt>
                <c:pt idx="68">
                  <c:v>45494</c:v>
                </c:pt>
                <c:pt idx="69">
                  <c:v>45501</c:v>
                </c:pt>
                <c:pt idx="70">
                  <c:v>45508</c:v>
                </c:pt>
                <c:pt idx="71">
                  <c:v>45515</c:v>
                </c:pt>
                <c:pt idx="72">
                  <c:v>45522</c:v>
                </c:pt>
                <c:pt idx="73">
                  <c:v>45529</c:v>
                </c:pt>
                <c:pt idx="74">
                  <c:v>45536</c:v>
                </c:pt>
                <c:pt idx="75">
                  <c:v>45543</c:v>
                </c:pt>
                <c:pt idx="76">
                  <c:v>45550</c:v>
                </c:pt>
                <c:pt idx="77">
                  <c:v>45557</c:v>
                </c:pt>
                <c:pt idx="78">
                  <c:v>45564</c:v>
                </c:pt>
                <c:pt idx="79">
                  <c:v>45571</c:v>
                </c:pt>
                <c:pt idx="80">
                  <c:v>45578</c:v>
                </c:pt>
                <c:pt idx="81">
                  <c:v>45585</c:v>
                </c:pt>
                <c:pt idx="82">
                  <c:v>45592</c:v>
                </c:pt>
                <c:pt idx="83">
                  <c:v>45599</c:v>
                </c:pt>
                <c:pt idx="84">
                  <c:v>45606</c:v>
                </c:pt>
                <c:pt idx="85">
                  <c:v>45613</c:v>
                </c:pt>
                <c:pt idx="86">
                  <c:v>45620</c:v>
                </c:pt>
                <c:pt idx="87">
                  <c:v>45627</c:v>
                </c:pt>
                <c:pt idx="88">
                  <c:v>45634</c:v>
                </c:pt>
                <c:pt idx="89">
                  <c:v>45641</c:v>
                </c:pt>
                <c:pt idx="90">
                  <c:v>45648</c:v>
                </c:pt>
                <c:pt idx="91">
                  <c:v>45655</c:v>
                </c:pt>
                <c:pt idx="92">
                  <c:v>45662</c:v>
                </c:pt>
                <c:pt idx="93">
                  <c:v>45669</c:v>
                </c:pt>
                <c:pt idx="94">
                  <c:v>45676</c:v>
                </c:pt>
                <c:pt idx="95">
                  <c:v>45683</c:v>
                </c:pt>
              </c:numCache>
            </c:numRef>
          </c:cat>
          <c:val>
            <c:numRef>
              <c:f>Sheet1!$C$2:$C$97</c:f>
              <c:numCache>
                <c:formatCode>General</c:formatCode>
                <c:ptCount val="96"/>
                <c:pt idx="0">
                  <c:v>47518</c:v>
                </c:pt>
                <c:pt idx="1">
                  <c:v>37894</c:v>
                </c:pt>
                <c:pt idx="2">
                  <c:v>46850</c:v>
                </c:pt>
                <c:pt idx="3">
                  <c:v>29062</c:v>
                </c:pt>
                <c:pt idx="4">
                  <c:v>17959</c:v>
                </c:pt>
                <c:pt idx="5">
                  <c:v>22264</c:v>
                </c:pt>
                <c:pt idx="6">
                  <c:v>20957</c:v>
                </c:pt>
                <c:pt idx="7">
                  <c:v>24389</c:v>
                </c:pt>
                <c:pt idx="8">
                  <c:v>14896</c:v>
                </c:pt>
                <c:pt idx="9">
                  <c:v>13958</c:v>
                </c:pt>
                <c:pt idx="10">
                  <c:v>17983</c:v>
                </c:pt>
                <c:pt idx="11">
                  <c:v>14286</c:v>
                </c:pt>
                <c:pt idx="12">
                  <c:v>11607</c:v>
                </c:pt>
                <c:pt idx="13">
                  <c:v>11038</c:v>
                </c:pt>
                <c:pt idx="14">
                  <c:v>11643</c:v>
                </c:pt>
                <c:pt idx="15">
                  <c:v>18624</c:v>
                </c:pt>
                <c:pt idx="16">
                  <c:v>10749</c:v>
                </c:pt>
                <c:pt idx="17">
                  <c:v>2685</c:v>
                </c:pt>
                <c:pt idx="18">
                  <c:v>1169</c:v>
                </c:pt>
                <c:pt idx="19">
                  <c:v>1081</c:v>
                </c:pt>
                <c:pt idx="20">
                  <c:v>302</c:v>
                </c:pt>
                <c:pt idx="21">
                  <c:v>18987</c:v>
                </c:pt>
                <c:pt idx="22">
                  <c:v>14840</c:v>
                </c:pt>
                <c:pt idx="23">
                  <c:v>5912</c:v>
                </c:pt>
                <c:pt idx="24">
                  <c:v>613</c:v>
                </c:pt>
                <c:pt idx="25">
                  <c:v>227</c:v>
                </c:pt>
                <c:pt idx="26">
                  <c:v>5558</c:v>
                </c:pt>
                <c:pt idx="27">
                  <c:v>9641</c:v>
                </c:pt>
                <c:pt idx="28">
                  <c:v>21451</c:v>
                </c:pt>
                <c:pt idx="29">
                  <c:v>25382</c:v>
                </c:pt>
                <c:pt idx="30">
                  <c:v>24732</c:v>
                </c:pt>
                <c:pt idx="31">
                  <c:v>23278</c:v>
                </c:pt>
                <c:pt idx="32">
                  <c:v>15155</c:v>
                </c:pt>
                <c:pt idx="33">
                  <c:v>16883</c:v>
                </c:pt>
                <c:pt idx="34">
                  <c:v>26903</c:v>
                </c:pt>
                <c:pt idx="35">
                  <c:v>26749</c:v>
                </c:pt>
                <c:pt idx="36">
                  <c:v>34552</c:v>
                </c:pt>
                <c:pt idx="37">
                  <c:v>64235</c:v>
                </c:pt>
                <c:pt idx="38">
                  <c:v>102616</c:v>
                </c:pt>
                <c:pt idx="39">
                  <c:v>146644</c:v>
                </c:pt>
                <c:pt idx="40">
                  <c:v>9188</c:v>
                </c:pt>
                <c:pt idx="41">
                  <c:v>19874</c:v>
                </c:pt>
                <c:pt idx="42">
                  <c:v>12809</c:v>
                </c:pt>
                <c:pt idx="43">
                  <c:v>6377</c:v>
                </c:pt>
                <c:pt idx="44">
                  <c:v>18518</c:v>
                </c:pt>
                <c:pt idx="45">
                  <c:v>32674</c:v>
                </c:pt>
                <c:pt idx="46">
                  <c:v>37375</c:v>
                </c:pt>
                <c:pt idx="47">
                  <c:v>59320</c:v>
                </c:pt>
                <c:pt idx="48">
                  <c:v>52268</c:v>
                </c:pt>
                <c:pt idx="49">
                  <c:v>48538</c:v>
                </c:pt>
                <c:pt idx="50">
                  <c:v>38347</c:v>
                </c:pt>
                <c:pt idx="51">
                  <c:v>30372</c:v>
                </c:pt>
                <c:pt idx="52">
                  <c:v>23753</c:v>
                </c:pt>
                <c:pt idx="53">
                  <c:v>24122</c:v>
                </c:pt>
                <c:pt idx="54">
                  <c:v>23099</c:v>
                </c:pt>
                <c:pt idx="55">
                  <c:v>26870</c:v>
                </c:pt>
                <c:pt idx="56">
                  <c:v>19885</c:v>
                </c:pt>
                <c:pt idx="57">
                  <c:v>20776</c:v>
                </c:pt>
                <c:pt idx="58">
                  <c:v>19802</c:v>
                </c:pt>
                <c:pt idx="59">
                  <c:v>19626</c:v>
                </c:pt>
                <c:pt idx="60">
                  <c:v>13708</c:v>
                </c:pt>
                <c:pt idx="61">
                  <c:v>283</c:v>
                </c:pt>
                <c:pt idx="62">
                  <c:v>422</c:v>
                </c:pt>
                <c:pt idx="63">
                  <c:v>303</c:v>
                </c:pt>
                <c:pt idx="64">
                  <c:v>719</c:v>
                </c:pt>
                <c:pt idx="65">
                  <c:v>232</c:v>
                </c:pt>
                <c:pt idx="66">
                  <c:v>630</c:v>
                </c:pt>
                <c:pt idx="67">
                  <c:v>11609</c:v>
                </c:pt>
                <c:pt idx="68">
                  <c:v>21871</c:v>
                </c:pt>
                <c:pt idx="69">
                  <c:v>22126</c:v>
                </c:pt>
                <c:pt idx="70">
                  <c:v>20762</c:v>
                </c:pt>
                <c:pt idx="71">
                  <c:v>5906</c:v>
                </c:pt>
                <c:pt idx="72">
                  <c:v>4807</c:v>
                </c:pt>
                <c:pt idx="73">
                  <c:v>356</c:v>
                </c:pt>
                <c:pt idx="74">
                  <c:v>3278</c:v>
                </c:pt>
                <c:pt idx="75">
                  <c:v>453</c:v>
                </c:pt>
                <c:pt idx="76">
                  <c:v>521</c:v>
                </c:pt>
                <c:pt idx="77">
                  <c:v>423</c:v>
                </c:pt>
                <c:pt idx="78">
                  <c:v>5675</c:v>
                </c:pt>
                <c:pt idx="79">
                  <c:v>12525</c:v>
                </c:pt>
                <c:pt idx="80">
                  <c:v>23332</c:v>
                </c:pt>
                <c:pt idx="81">
                  <c:v>31963</c:v>
                </c:pt>
                <c:pt idx="82">
                  <c:v>20877</c:v>
                </c:pt>
                <c:pt idx="83">
                  <c:v>10671</c:v>
                </c:pt>
                <c:pt idx="84">
                  <c:v>13495</c:v>
                </c:pt>
                <c:pt idx="85">
                  <c:v>39680</c:v>
                </c:pt>
                <c:pt idx="86">
                  <c:v>93818</c:v>
                </c:pt>
                <c:pt idx="87">
                  <c:v>103439</c:v>
                </c:pt>
                <c:pt idx="88">
                  <c:v>114095</c:v>
                </c:pt>
                <c:pt idx="89">
                  <c:v>129713</c:v>
                </c:pt>
                <c:pt idx="90">
                  <c:v>164986</c:v>
                </c:pt>
                <c:pt idx="91">
                  <c:v>275385</c:v>
                </c:pt>
                <c:pt idx="92">
                  <c:v>84722</c:v>
                </c:pt>
                <c:pt idx="93">
                  <c:v>73283</c:v>
                </c:pt>
                <c:pt idx="94">
                  <c:v>71761</c:v>
                </c:pt>
                <c:pt idx="95">
                  <c:v>63952</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vert="horz"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1"/>
      <c:txPr>
        <a:bodyPr/>
        <a:lstStyle/>
        <a:p>
          <a:pPr>
            <a:defRPr sz="800">
              <a:latin typeface="Nexa Book"/>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219792786125353E-2"/>
          <c:y val="0.22555108645669017"/>
          <c:w val="0.96766497516299987"/>
          <c:h val="0.76466540290122786"/>
        </c:manualLayout>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23</c:f>
              <c:numCache>
                <c:formatCode>yyyy\-mm\-dd</c:formatCode>
                <c:ptCount val="22"/>
                <c:pt idx="0">
                  <c:v>44983</c:v>
                </c:pt>
                <c:pt idx="1">
                  <c:v>45214</c:v>
                </c:pt>
                <c:pt idx="2">
                  <c:v>45221</c:v>
                </c:pt>
                <c:pt idx="3">
                  <c:v>45228</c:v>
                </c:pt>
                <c:pt idx="4">
                  <c:v>45235</c:v>
                </c:pt>
                <c:pt idx="5">
                  <c:v>45242</c:v>
                </c:pt>
                <c:pt idx="6">
                  <c:v>45249</c:v>
                </c:pt>
                <c:pt idx="7">
                  <c:v>45256</c:v>
                </c:pt>
                <c:pt idx="8">
                  <c:v>45263</c:v>
                </c:pt>
                <c:pt idx="9">
                  <c:v>45270</c:v>
                </c:pt>
                <c:pt idx="10">
                  <c:v>45277</c:v>
                </c:pt>
                <c:pt idx="11">
                  <c:v>45284</c:v>
                </c:pt>
                <c:pt idx="12">
                  <c:v>45291</c:v>
                </c:pt>
                <c:pt idx="13">
                  <c:v>45298</c:v>
                </c:pt>
                <c:pt idx="14">
                  <c:v>45305</c:v>
                </c:pt>
                <c:pt idx="15">
                  <c:v>45312</c:v>
                </c:pt>
                <c:pt idx="16">
                  <c:v>45319</c:v>
                </c:pt>
                <c:pt idx="17">
                  <c:v>45326</c:v>
                </c:pt>
                <c:pt idx="18">
                  <c:v>45333</c:v>
                </c:pt>
                <c:pt idx="19">
                  <c:v>45340</c:v>
                </c:pt>
                <c:pt idx="20">
                  <c:v>45347</c:v>
                </c:pt>
                <c:pt idx="21">
                  <c:v>45354</c:v>
                </c:pt>
              </c:numCache>
            </c:numRef>
          </c:cat>
          <c:val>
            <c:numRef>
              <c:f>Sheet1!$B$2:$B$23</c:f>
              <c:numCache>
                <c:formatCode>General</c:formatCode>
                <c:ptCount val="22"/>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numCache>
            </c:numRef>
          </c:val>
          <c:extLst>
            <c:ext xmlns:c16="http://schemas.microsoft.com/office/drawing/2014/chart" uri="{C3380CC4-5D6E-409C-BE32-E72D297353CC}">
              <c16:uniqueId val="{00000001-E3C4-46BC-AA3D-A3795B7CC7BA}"/>
            </c:ext>
          </c:extLst>
        </c:ser>
        <c:ser>
          <c:idx val="0"/>
          <c:order val="1"/>
          <c:tx>
            <c:strRef>
              <c:f>Sheet1!$C$1</c:f>
              <c:strCache>
                <c:ptCount val="1"/>
                <c:pt idx="0">
                  <c:v>Promo Volume</c:v>
                </c:pt>
              </c:strCache>
            </c:strRef>
          </c:tx>
          <c:spPr>
            <a:solidFill>
              <a:schemeClr val="accent3"/>
            </a:solidFill>
            <a:ln>
              <a:noFill/>
            </a:ln>
            <a:effectLst/>
          </c:spPr>
          <c:invertIfNegative val="0"/>
          <c:cat>
            <c:numRef>
              <c:f>Sheet1!$A$2:$A$23</c:f>
              <c:numCache>
                <c:formatCode>yyyy\-mm\-dd</c:formatCode>
                <c:ptCount val="22"/>
                <c:pt idx="0">
                  <c:v>44983</c:v>
                </c:pt>
                <c:pt idx="1">
                  <c:v>45214</c:v>
                </c:pt>
                <c:pt idx="2">
                  <c:v>45221</c:v>
                </c:pt>
                <c:pt idx="3">
                  <c:v>45228</c:v>
                </c:pt>
                <c:pt idx="4">
                  <c:v>45235</c:v>
                </c:pt>
                <c:pt idx="5">
                  <c:v>45242</c:v>
                </c:pt>
                <c:pt idx="6">
                  <c:v>45249</c:v>
                </c:pt>
                <c:pt idx="7">
                  <c:v>45256</c:v>
                </c:pt>
                <c:pt idx="8">
                  <c:v>45263</c:v>
                </c:pt>
                <c:pt idx="9">
                  <c:v>45270</c:v>
                </c:pt>
                <c:pt idx="10">
                  <c:v>45277</c:v>
                </c:pt>
                <c:pt idx="11">
                  <c:v>45284</c:v>
                </c:pt>
                <c:pt idx="12">
                  <c:v>45291</c:v>
                </c:pt>
                <c:pt idx="13">
                  <c:v>45298</c:v>
                </c:pt>
                <c:pt idx="14">
                  <c:v>45305</c:v>
                </c:pt>
                <c:pt idx="15">
                  <c:v>45312</c:v>
                </c:pt>
                <c:pt idx="16">
                  <c:v>45319</c:v>
                </c:pt>
                <c:pt idx="17">
                  <c:v>45326</c:v>
                </c:pt>
                <c:pt idx="18">
                  <c:v>45333</c:v>
                </c:pt>
                <c:pt idx="19">
                  <c:v>45340</c:v>
                </c:pt>
                <c:pt idx="20">
                  <c:v>45347</c:v>
                </c:pt>
                <c:pt idx="21">
                  <c:v>45354</c:v>
                </c:pt>
              </c:numCache>
            </c:numRef>
          </c:cat>
          <c:val>
            <c:numRef>
              <c:f>Sheet1!$C$2:$C$23</c:f>
              <c:numCache>
                <c:formatCode>General</c:formatCode>
                <c:ptCount val="22"/>
                <c:pt idx="0">
                  <c:v>0</c:v>
                </c:pt>
                <c:pt idx="1">
                  <c:v>0</c:v>
                </c:pt>
                <c:pt idx="2">
                  <c:v>0</c:v>
                </c:pt>
                <c:pt idx="3">
                  <c:v>0</c:v>
                </c:pt>
                <c:pt idx="4">
                  <c:v>3050</c:v>
                </c:pt>
                <c:pt idx="5">
                  <c:v>4675</c:v>
                </c:pt>
                <c:pt idx="6">
                  <c:v>4890</c:v>
                </c:pt>
                <c:pt idx="7">
                  <c:v>5500</c:v>
                </c:pt>
                <c:pt idx="8">
                  <c:v>0</c:v>
                </c:pt>
                <c:pt idx="9">
                  <c:v>4865</c:v>
                </c:pt>
                <c:pt idx="10">
                  <c:v>10250</c:v>
                </c:pt>
                <c:pt idx="11">
                  <c:v>41340</c:v>
                </c:pt>
                <c:pt idx="12">
                  <c:v>22155</c:v>
                </c:pt>
                <c:pt idx="13">
                  <c:v>12445</c:v>
                </c:pt>
                <c:pt idx="14">
                  <c:v>38375</c:v>
                </c:pt>
                <c:pt idx="15">
                  <c:v>31810</c:v>
                </c:pt>
                <c:pt idx="16">
                  <c:v>13205</c:v>
                </c:pt>
                <c:pt idx="17">
                  <c:v>3790</c:v>
                </c:pt>
                <c:pt idx="18">
                  <c:v>1290</c:v>
                </c:pt>
                <c:pt idx="19">
                  <c:v>520</c:v>
                </c:pt>
                <c:pt idx="20">
                  <c:v>340</c:v>
                </c:pt>
                <c:pt idx="21">
                  <c:v>265</c:v>
                </c:pt>
              </c:numCache>
            </c:numRef>
          </c:val>
          <c:extLst>
            <c:ext xmlns:c16="http://schemas.microsoft.com/office/drawing/2014/chart" uri="{C3380CC4-5D6E-409C-BE32-E72D297353CC}">
              <c16:uniqueId val="{00000000-E3C4-46BC-AA3D-A3795B7CC7B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yyyy\-mm\-dd"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23</c:f>
              <c:numCache>
                <c:formatCode>yyyy\-mm\-dd</c:formatCode>
                <c:ptCount val="22"/>
                <c:pt idx="0">
                  <c:v>44983</c:v>
                </c:pt>
                <c:pt idx="1">
                  <c:v>45214</c:v>
                </c:pt>
                <c:pt idx="2">
                  <c:v>45221</c:v>
                </c:pt>
                <c:pt idx="3">
                  <c:v>45228</c:v>
                </c:pt>
                <c:pt idx="4">
                  <c:v>45235</c:v>
                </c:pt>
                <c:pt idx="5">
                  <c:v>45242</c:v>
                </c:pt>
                <c:pt idx="6">
                  <c:v>45249</c:v>
                </c:pt>
                <c:pt idx="7">
                  <c:v>45256</c:v>
                </c:pt>
                <c:pt idx="8">
                  <c:v>45263</c:v>
                </c:pt>
                <c:pt idx="9">
                  <c:v>45270</c:v>
                </c:pt>
                <c:pt idx="10">
                  <c:v>45277</c:v>
                </c:pt>
                <c:pt idx="11">
                  <c:v>45284</c:v>
                </c:pt>
                <c:pt idx="12">
                  <c:v>45291</c:v>
                </c:pt>
                <c:pt idx="13">
                  <c:v>45298</c:v>
                </c:pt>
                <c:pt idx="14">
                  <c:v>45305</c:v>
                </c:pt>
                <c:pt idx="15">
                  <c:v>45312</c:v>
                </c:pt>
                <c:pt idx="16">
                  <c:v>45319</c:v>
                </c:pt>
                <c:pt idx="17">
                  <c:v>45326</c:v>
                </c:pt>
                <c:pt idx="18">
                  <c:v>45333</c:v>
                </c:pt>
                <c:pt idx="19">
                  <c:v>45340</c:v>
                </c:pt>
                <c:pt idx="20">
                  <c:v>45347</c:v>
                </c:pt>
                <c:pt idx="21">
                  <c:v>45354</c:v>
                </c:pt>
              </c:numCache>
            </c:numRef>
          </c:cat>
          <c:val>
            <c:numRef>
              <c:f>Sheet1!$B$2:$B$23</c:f>
              <c:numCache>
                <c:formatCode>General</c:formatCode>
                <c:ptCount val="22"/>
                <c:pt idx="0">
                  <c:v>1054</c:v>
                </c:pt>
                <c:pt idx="1">
                  <c:v>944</c:v>
                </c:pt>
                <c:pt idx="2">
                  <c:v>932</c:v>
                </c:pt>
                <c:pt idx="3">
                  <c:v>896</c:v>
                </c:pt>
                <c:pt idx="4">
                  <c:v>868</c:v>
                </c:pt>
                <c:pt idx="5">
                  <c:v>874</c:v>
                </c:pt>
                <c:pt idx="6">
                  <c:v>850</c:v>
                </c:pt>
                <c:pt idx="7">
                  <c:v>718</c:v>
                </c:pt>
                <c:pt idx="8">
                  <c:v>772</c:v>
                </c:pt>
                <c:pt idx="9">
                  <c:v>676</c:v>
                </c:pt>
                <c:pt idx="10">
                  <c:v>468</c:v>
                </c:pt>
                <c:pt idx="11">
                  <c:v>374</c:v>
                </c:pt>
                <c:pt idx="12">
                  <c:v>256</c:v>
                </c:pt>
                <c:pt idx="13">
                  <c:v>150</c:v>
                </c:pt>
                <c:pt idx="14">
                  <c:v>40</c:v>
                </c:pt>
                <c:pt idx="15">
                  <c:v>36</c:v>
                </c:pt>
                <c:pt idx="16">
                  <c:v>4</c:v>
                </c:pt>
                <c:pt idx="17">
                  <c:v>10</c:v>
                </c:pt>
                <c:pt idx="18">
                  <c:v>0</c:v>
                </c:pt>
                <c:pt idx="19">
                  <c:v>0</c:v>
                </c:pt>
                <c:pt idx="20">
                  <c:v>0</c:v>
                </c:pt>
                <c:pt idx="21">
                  <c:v>0</c:v>
                </c:pt>
              </c:numCache>
            </c:numRef>
          </c:val>
          <c:extLst>
            <c:ext xmlns:c16="http://schemas.microsoft.com/office/drawing/2014/chart" uri="{C3380CC4-5D6E-409C-BE32-E72D297353CC}">
              <c16:uniqueId val="{00000000-72A7-4D08-96D7-E73109FBDC9A}"/>
            </c:ext>
          </c:extLst>
        </c:ser>
        <c:ser>
          <c:idx val="0"/>
          <c:order val="1"/>
          <c:tx>
            <c:strRef>
              <c:f>Sheet1!$C$1</c:f>
              <c:strCache>
                <c:ptCount val="1"/>
                <c:pt idx="0">
                  <c:v>Promo Volume</c:v>
                </c:pt>
              </c:strCache>
            </c:strRef>
          </c:tx>
          <c:spPr>
            <a:solidFill>
              <a:schemeClr val="accent3"/>
            </a:solidFill>
            <a:ln>
              <a:noFill/>
            </a:ln>
            <a:effectLst/>
          </c:spPr>
          <c:invertIfNegative val="0"/>
          <c:cat>
            <c:numRef>
              <c:f>Sheet1!$A$2:$A$23</c:f>
              <c:numCache>
                <c:formatCode>yyyy\-mm\-dd</c:formatCode>
                <c:ptCount val="22"/>
                <c:pt idx="0">
                  <c:v>44983</c:v>
                </c:pt>
                <c:pt idx="1">
                  <c:v>45214</c:v>
                </c:pt>
                <c:pt idx="2">
                  <c:v>45221</c:v>
                </c:pt>
                <c:pt idx="3">
                  <c:v>45228</c:v>
                </c:pt>
                <c:pt idx="4">
                  <c:v>45235</c:v>
                </c:pt>
                <c:pt idx="5">
                  <c:v>45242</c:v>
                </c:pt>
                <c:pt idx="6">
                  <c:v>45249</c:v>
                </c:pt>
                <c:pt idx="7">
                  <c:v>45256</c:v>
                </c:pt>
                <c:pt idx="8">
                  <c:v>45263</c:v>
                </c:pt>
                <c:pt idx="9">
                  <c:v>45270</c:v>
                </c:pt>
                <c:pt idx="10">
                  <c:v>45277</c:v>
                </c:pt>
                <c:pt idx="11">
                  <c:v>45284</c:v>
                </c:pt>
                <c:pt idx="12">
                  <c:v>45291</c:v>
                </c:pt>
                <c:pt idx="13">
                  <c:v>45298</c:v>
                </c:pt>
                <c:pt idx="14">
                  <c:v>45305</c:v>
                </c:pt>
                <c:pt idx="15">
                  <c:v>45312</c:v>
                </c:pt>
                <c:pt idx="16">
                  <c:v>45319</c:v>
                </c:pt>
                <c:pt idx="17">
                  <c:v>45326</c:v>
                </c:pt>
                <c:pt idx="18">
                  <c:v>45333</c:v>
                </c:pt>
                <c:pt idx="19">
                  <c:v>45340</c:v>
                </c:pt>
                <c:pt idx="20">
                  <c:v>45347</c:v>
                </c:pt>
                <c:pt idx="21">
                  <c:v>45354</c:v>
                </c:pt>
              </c:numCache>
            </c:numRef>
          </c:cat>
          <c:val>
            <c:numRef>
              <c:f>Sheet1!$C$2:$C$23</c:f>
              <c:numCache>
                <c:formatCode>General</c:formatCode>
                <c:ptCount val="22"/>
                <c:pt idx="0">
                  <c:v>72</c:v>
                </c:pt>
                <c:pt idx="1">
                  <c:v>784</c:v>
                </c:pt>
                <c:pt idx="2">
                  <c:v>1358</c:v>
                </c:pt>
                <c:pt idx="3">
                  <c:v>1556</c:v>
                </c:pt>
                <c:pt idx="4">
                  <c:v>1718</c:v>
                </c:pt>
                <c:pt idx="5">
                  <c:v>2172</c:v>
                </c:pt>
                <c:pt idx="6">
                  <c:v>2644</c:v>
                </c:pt>
                <c:pt idx="7">
                  <c:v>5026</c:v>
                </c:pt>
                <c:pt idx="8">
                  <c:v>4780</c:v>
                </c:pt>
                <c:pt idx="9">
                  <c:v>7410</c:v>
                </c:pt>
                <c:pt idx="10">
                  <c:v>11988</c:v>
                </c:pt>
                <c:pt idx="11">
                  <c:v>29446</c:v>
                </c:pt>
                <c:pt idx="12">
                  <c:v>100380</c:v>
                </c:pt>
                <c:pt idx="13">
                  <c:v>24608</c:v>
                </c:pt>
                <c:pt idx="14">
                  <c:v>2032</c:v>
                </c:pt>
                <c:pt idx="15">
                  <c:v>720</c:v>
                </c:pt>
                <c:pt idx="16">
                  <c:v>444</c:v>
                </c:pt>
                <c:pt idx="17">
                  <c:v>176</c:v>
                </c:pt>
                <c:pt idx="18">
                  <c:v>0</c:v>
                </c:pt>
                <c:pt idx="19">
                  <c:v>0</c:v>
                </c:pt>
                <c:pt idx="20">
                  <c:v>0</c:v>
                </c:pt>
                <c:pt idx="21">
                  <c:v>0</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3</c:f>
              <c:numCache>
                <c:formatCode>yyyy\-mm\-dd</c:formatCode>
                <c:ptCount val="12"/>
                <c:pt idx="0">
                  <c:v>45277</c:v>
                </c:pt>
                <c:pt idx="1">
                  <c:v>45284</c:v>
                </c:pt>
                <c:pt idx="2">
                  <c:v>45291</c:v>
                </c:pt>
                <c:pt idx="3">
                  <c:v>45298</c:v>
                </c:pt>
                <c:pt idx="4">
                  <c:v>45305</c:v>
                </c:pt>
                <c:pt idx="5">
                  <c:v>45312</c:v>
                </c:pt>
                <c:pt idx="6">
                  <c:v>45319</c:v>
                </c:pt>
                <c:pt idx="7">
                  <c:v>45326</c:v>
                </c:pt>
                <c:pt idx="8">
                  <c:v>45333</c:v>
                </c:pt>
                <c:pt idx="9">
                  <c:v>45340</c:v>
                </c:pt>
                <c:pt idx="10">
                  <c:v>45347</c:v>
                </c:pt>
                <c:pt idx="11">
                  <c:v>45354</c:v>
                </c:pt>
              </c:numCache>
            </c:numRef>
          </c:cat>
          <c:val>
            <c:numRef>
              <c:f>Sheet1!$B$2:$B$13</c:f>
              <c:numCache>
                <c:formatCode>General</c:formatCode>
                <c:ptCount val="12"/>
                <c:pt idx="0">
                  <c:v>900</c:v>
                </c:pt>
                <c:pt idx="1">
                  <c:v>512</c:v>
                </c:pt>
                <c:pt idx="2">
                  <c:v>376</c:v>
                </c:pt>
                <c:pt idx="3">
                  <c:v>240</c:v>
                </c:pt>
                <c:pt idx="4">
                  <c:v>592</c:v>
                </c:pt>
                <c:pt idx="5">
                  <c:v>344</c:v>
                </c:pt>
                <c:pt idx="6">
                  <c:v>144</c:v>
                </c:pt>
                <c:pt idx="7">
                  <c:v>132</c:v>
                </c:pt>
                <c:pt idx="8">
                  <c:v>68</c:v>
                </c:pt>
                <c:pt idx="9">
                  <c:v>144</c:v>
                </c:pt>
                <c:pt idx="10">
                  <c:v>152</c:v>
                </c:pt>
                <c:pt idx="11">
                  <c:v>192</c:v>
                </c:pt>
              </c:numCache>
            </c:numRef>
          </c:val>
          <c:extLst>
            <c:ext xmlns:c16="http://schemas.microsoft.com/office/drawing/2014/chart" uri="{C3380CC4-5D6E-409C-BE32-E72D297353CC}">
              <c16:uniqueId val="{00000000-72A7-4D08-96D7-E73109FBDC9A}"/>
            </c:ext>
          </c:extLst>
        </c:ser>
        <c:ser>
          <c:idx val="0"/>
          <c:order val="1"/>
          <c:tx>
            <c:strRef>
              <c:f>Sheet1!$C$1</c:f>
              <c:strCache>
                <c:ptCount val="1"/>
                <c:pt idx="0">
                  <c:v>Promo Volume</c:v>
                </c:pt>
              </c:strCache>
            </c:strRef>
          </c:tx>
          <c:spPr>
            <a:solidFill>
              <a:schemeClr val="accent3"/>
            </a:solidFill>
            <a:ln>
              <a:noFill/>
            </a:ln>
            <a:effectLst/>
          </c:spPr>
          <c:invertIfNegative val="0"/>
          <c:cat>
            <c:numRef>
              <c:f>Sheet1!$A$2:$A$13</c:f>
              <c:numCache>
                <c:formatCode>yyyy\-mm\-dd</c:formatCode>
                <c:ptCount val="12"/>
                <c:pt idx="0">
                  <c:v>45277</c:v>
                </c:pt>
                <c:pt idx="1">
                  <c:v>45284</c:v>
                </c:pt>
                <c:pt idx="2">
                  <c:v>45291</c:v>
                </c:pt>
                <c:pt idx="3">
                  <c:v>45298</c:v>
                </c:pt>
                <c:pt idx="4">
                  <c:v>45305</c:v>
                </c:pt>
                <c:pt idx="5">
                  <c:v>45312</c:v>
                </c:pt>
                <c:pt idx="6">
                  <c:v>45319</c:v>
                </c:pt>
                <c:pt idx="7">
                  <c:v>45326</c:v>
                </c:pt>
                <c:pt idx="8">
                  <c:v>45333</c:v>
                </c:pt>
                <c:pt idx="9">
                  <c:v>45340</c:v>
                </c:pt>
                <c:pt idx="10">
                  <c:v>45347</c:v>
                </c:pt>
                <c:pt idx="11">
                  <c:v>45354</c:v>
                </c:pt>
              </c:numCache>
            </c:numRef>
          </c:cat>
          <c:val>
            <c:numRef>
              <c:f>Sheet1!$C$2:$C$13</c:f>
              <c:numCache>
                <c:formatCode>General</c:formatCode>
                <c:ptCount val="12"/>
                <c:pt idx="0">
                  <c:v>796</c:v>
                </c:pt>
                <c:pt idx="1">
                  <c:v>1644</c:v>
                </c:pt>
                <c:pt idx="2">
                  <c:v>1208</c:v>
                </c:pt>
                <c:pt idx="3">
                  <c:v>1048</c:v>
                </c:pt>
                <c:pt idx="4">
                  <c:v>5212</c:v>
                </c:pt>
                <c:pt idx="5">
                  <c:v>5200</c:v>
                </c:pt>
                <c:pt idx="6">
                  <c:v>4308</c:v>
                </c:pt>
                <c:pt idx="7">
                  <c:v>2080</c:v>
                </c:pt>
                <c:pt idx="8">
                  <c:v>1280</c:v>
                </c:pt>
                <c:pt idx="9">
                  <c:v>696</c:v>
                </c:pt>
                <c:pt idx="10">
                  <c:v>656</c:v>
                </c:pt>
                <c:pt idx="11">
                  <c:v>496</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vert="horz"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1"/>
      <c:txPr>
        <a:bodyPr/>
        <a:lstStyle/>
        <a:p>
          <a:pPr>
            <a:defRPr sz="800">
              <a:latin typeface="Nexa Book"/>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219792786125353E-2"/>
          <c:y val="0.22555108645669017"/>
          <c:w val="0.96766497516299987"/>
          <c:h val="0.76466540290122786"/>
        </c:manualLayout>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1</c:f>
              <c:numCache>
                <c:formatCode>yyyy\-mm\-dd</c:formatCode>
                <c:ptCount val="100"/>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51</c:v>
                </c:pt>
                <c:pt idx="29">
                  <c:v>45158</c:v>
                </c:pt>
                <c:pt idx="30">
                  <c:v>45165</c:v>
                </c:pt>
                <c:pt idx="31">
                  <c:v>45172</c:v>
                </c:pt>
                <c:pt idx="32">
                  <c:v>45179</c:v>
                </c:pt>
                <c:pt idx="33">
                  <c:v>45186</c:v>
                </c:pt>
                <c:pt idx="34">
                  <c:v>45193</c:v>
                </c:pt>
                <c:pt idx="35">
                  <c:v>45200</c:v>
                </c:pt>
                <c:pt idx="36">
                  <c:v>45207</c:v>
                </c:pt>
                <c:pt idx="37">
                  <c:v>45214</c:v>
                </c:pt>
                <c:pt idx="38">
                  <c:v>45221</c:v>
                </c:pt>
                <c:pt idx="39">
                  <c:v>45228</c:v>
                </c:pt>
                <c:pt idx="40">
                  <c:v>45235</c:v>
                </c:pt>
                <c:pt idx="41">
                  <c:v>45242</c:v>
                </c:pt>
                <c:pt idx="42">
                  <c:v>45249</c:v>
                </c:pt>
                <c:pt idx="43">
                  <c:v>45256</c:v>
                </c:pt>
                <c:pt idx="44">
                  <c:v>45263</c:v>
                </c:pt>
                <c:pt idx="45">
                  <c:v>45270</c:v>
                </c:pt>
                <c:pt idx="46">
                  <c:v>45277</c:v>
                </c:pt>
                <c:pt idx="47">
                  <c:v>45284</c:v>
                </c:pt>
                <c:pt idx="48">
                  <c:v>45291</c:v>
                </c:pt>
                <c:pt idx="49">
                  <c:v>45298</c:v>
                </c:pt>
                <c:pt idx="50">
                  <c:v>45305</c:v>
                </c:pt>
                <c:pt idx="51">
                  <c:v>45312</c:v>
                </c:pt>
                <c:pt idx="52">
                  <c:v>45319</c:v>
                </c:pt>
                <c:pt idx="53">
                  <c:v>45326</c:v>
                </c:pt>
                <c:pt idx="54">
                  <c:v>45340</c:v>
                </c:pt>
                <c:pt idx="55">
                  <c:v>45347</c:v>
                </c:pt>
                <c:pt idx="56">
                  <c:v>45354</c:v>
                </c:pt>
                <c:pt idx="57">
                  <c:v>45361</c:v>
                </c:pt>
                <c:pt idx="58">
                  <c:v>45368</c:v>
                </c:pt>
                <c:pt idx="59">
                  <c:v>45375</c:v>
                </c:pt>
                <c:pt idx="60">
                  <c:v>45389</c:v>
                </c:pt>
                <c:pt idx="61">
                  <c:v>45396</c:v>
                </c:pt>
                <c:pt idx="62">
                  <c:v>45403</c:v>
                </c:pt>
                <c:pt idx="63">
                  <c:v>45410</c:v>
                </c:pt>
                <c:pt idx="64">
                  <c:v>45417</c:v>
                </c:pt>
                <c:pt idx="65">
                  <c:v>45424</c:v>
                </c:pt>
                <c:pt idx="66">
                  <c:v>45431</c:v>
                </c:pt>
                <c:pt idx="67">
                  <c:v>45438</c:v>
                </c:pt>
                <c:pt idx="68">
                  <c:v>45445</c:v>
                </c:pt>
                <c:pt idx="69">
                  <c:v>45452</c:v>
                </c:pt>
                <c:pt idx="70">
                  <c:v>45459</c:v>
                </c:pt>
                <c:pt idx="71">
                  <c:v>45466</c:v>
                </c:pt>
                <c:pt idx="72">
                  <c:v>45473</c:v>
                </c:pt>
                <c:pt idx="73">
                  <c:v>45480</c:v>
                </c:pt>
                <c:pt idx="74">
                  <c:v>45487</c:v>
                </c:pt>
                <c:pt idx="75">
                  <c:v>45508</c:v>
                </c:pt>
                <c:pt idx="76">
                  <c:v>45515</c:v>
                </c:pt>
                <c:pt idx="77">
                  <c:v>45522</c:v>
                </c:pt>
                <c:pt idx="78">
                  <c:v>45529</c:v>
                </c:pt>
                <c:pt idx="79">
                  <c:v>45536</c:v>
                </c:pt>
                <c:pt idx="80">
                  <c:v>45543</c:v>
                </c:pt>
                <c:pt idx="81">
                  <c:v>45550</c:v>
                </c:pt>
                <c:pt idx="82">
                  <c:v>45557</c:v>
                </c:pt>
                <c:pt idx="83">
                  <c:v>45564</c:v>
                </c:pt>
                <c:pt idx="84">
                  <c:v>45578</c:v>
                </c:pt>
                <c:pt idx="85">
                  <c:v>45585</c:v>
                </c:pt>
                <c:pt idx="86">
                  <c:v>45592</c:v>
                </c:pt>
                <c:pt idx="87">
                  <c:v>45599</c:v>
                </c:pt>
                <c:pt idx="88">
                  <c:v>45606</c:v>
                </c:pt>
                <c:pt idx="89">
                  <c:v>45613</c:v>
                </c:pt>
                <c:pt idx="90">
                  <c:v>45620</c:v>
                </c:pt>
                <c:pt idx="91">
                  <c:v>45627</c:v>
                </c:pt>
                <c:pt idx="92">
                  <c:v>45634</c:v>
                </c:pt>
                <c:pt idx="93">
                  <c:v>45641</c:v>
                </c:pt>
                <c:pt idx="94">
                  <c:v>45648</c:v>
                </c:pt>
                <c:pt idx="95">
                  <c:v>45655</c:v>
                </c:pt>
                <c:pt idx="96">
                  <c:v>45662</c:v>
                </c:pt>
                <c:pt idx="97">
                  <c:v>45669</c:v>
                </c:pt>
                <c:pt idx="98">
                  <c:v>45676</c:v>
                </c:pt>
                <c:pt idx="99">
                  <c:v>45683</c:v>
                </c:pt>
              </c:numCache>
            </c:numRef>
          </c:cat>
          <c:val>
            <c:numRef>
              <c:f>Sheet1!$B$2:$B$101</c:f>
              <c:numCache>
                <c:formatCode>General</c:formatCode>
                <c:ptCount val="100"/>
                <c:pt idx="0">
                  <c:v>156680</c:v>
                </c:pt>
                <c:pt idx="1">
                  <c:v>232060</c:v>
                </c:pt>
                <c:pt idx="2">
                  <c:v>238860</c:v>
                </c:pt>
                <c:pt idx="3">
                  <c:v>189020</c:v>
                </c:pt>
                <c:pt idx="4">
                  <c:v>0</c:v>
                </c:pt>
                <c:pt idx="5">
                  <c:v>0</c:v>
                </c:pt>
                <c:pt idx="6">
                  <c:v>0</c:v>
                </c:pt>
                <c:pt idx="7">
                  <c:v>0</c:v>
                </c:pt>
                <c:pt idx="8">
                  <c:v>0</c:v>
                </c:pt>
                <c:pt idx="9">
                  <c:v>205060</c:v>
                </c:pt>
                <c:pt idx="10">
                  <c:v>191945</c:v>
                </c:pt>
                <c:pt idx="11">
                  <c:v>201600</c:v>
                </c:pt>
                <c:pt idx="12">
                  <c:v>176060</c:v>
                </c:pt>
                <c:pt idx="13">
                  <c:v>213540</c:v>
                </c:pt>
                <c:pt idx="14">
                  <c:v>173500</c:v>
                </c:pt>
                <c:pt idx="15">
                  <c:v>212560</c:v>
                </c:pt>
                <c:pt idx="16">
                  <c:v>273145</c:v>
                </c:pt>
                <c:pt idx="17">
                  <c:v>0</c:v>
                </c:pt>
                <c:pt idx="18">
                  <c:v>0</c:v>
                </c:pt>
                <c:pt idx="19">
                  <c:v>188080</c:v>
                </c:pt>
                <c:pt idx="20">
                  <c:v>192880</c:v>
                </c:pt>
                <c:pt idx="21">
                  <c:v>20960</c:v>
                </c:pt>
                <c:pt idx="22">
                  <c:v>12760</c:v>
                </c:pt>
                <c:pt idx="23">
                  <c:v>14740</c:v>
                </c:pt>
                <c:pt idx="24">
                  <c:v>9060</c:v>
                </c:pt>
                <c:pt idx="25">
                  <c:v>36440</c:v>
                </c:pt>
                <c:pt idx="26">
                  <c:v>205220</c:v>
                </c:pt>
                <c:pt idx="27">
                  <c:v>200100</c:v>
                </c:pt>
                <c:pt idx="28">
                  <c:v>0</c:v>
                </c:pt>
                <c:pt idx="29">
                  <c:v>0</c:v>
                </c:pt>
                <c:pt idx="30">
                  <c:v>199540</c:v>
                </c:pt>
                <c:pt idx="31">
                  <c:v>221300</c:v>
                </c:pt>
                <c:pt idx="32">
                  <c:v>194440</c:v>
                </c:pt>
                <c:pt idx="33">
                  <c:v>203620</c:v>
                </c:pt>
                <c:pt idx="34">
                  <c:v>0</c:v>
                </c:pt>
                <c:pt idx="35">
                  <c:v>0</c:v>
                </c:pt>
                <c:pt idx="36">
                  <c:v>0</c:v>
                </c:pt>
                <c:pt idx="37">
                  <c:v>0</c:v>
                </c:pt>
                <c:pt idx="38">
                  <c:v>186640</c:v>
                </c:pt>
                <c:pt idx="39">
                  <c:v>180980</c:v>
                </c:pt>
                <c:pt idx="40">
                  <c:v>248520</c:v>
                </c:pt>
                <c:pt idx="41">
                  <c:v>0</c:v>
                </c:pt>
                <c:pt idx="42">
                  <c:v>0</c:v>
                </c:pt>
                <c:pt idx="43">
                  <c:v>320</c:v>
                </c:pt>
                <c:pt idx="44">
                  <c:v>166900</c:v>
                </c:pt>
                <c:pt idx="45">
                  <c:v>205340</c:v>
                </c:pt>
                <c:pt idx="46">
                  <c:v>205760</c:v>
                </c:pt>
                <c:pt idx="47">
                  <c:v>205740</c:v>
                </c:pt>
                <c:pt idx="48">
                  <c:v>780</c:v>
                </c:pt>
                <c:pt idx="49">
                  <c:v>120</c:v>
                </c:pt>
                <c:pt idx="50">
                  <c:v>60</c:v>
                </c:pt>
                <c:pt idx="51">
                  <c:v>125</c:v>
                </c:pt>
                <c:pt idx="52">
                  <c:v>9080</c:v>
                </c:pt>
                <c:pt idx="53">
                  <c:v>0</c:v>
                </c:pt>
                <c:pt idx="54">
                  <c:v>0</c:v>
                </c:pt>
                <c:pt idx="55">
                  <c:v>0</c:v>
                </c:pt>
                <c:pt idx="56">
                  <c:v>202860</c:v>
                </c:pt>
                <c:pt idx="57">
                  <c:v>198540</c:v>
                </c:pt>
                <c:pt idx="58">
                  <c:v>216920</c:v>
                </c:pt>
                <c:pt idx="59">
                  <c:v>229880</c:v>
                </c:pt>
                <c:pt idx="60">
                  <c:v>164320</c:v>
                </c:pt>
                <c:pt idx="61">
                  <c:v>120800</c:v>
                </c:pt>
                <c:pt idx="62">
                  <c:v>131820</c:v>
                </c:pt>
                <c:pt idx="63">
                  <c:v>157060</c:v>
                </c:pt>
                <c:pt idx="64">
                  <c:v>169650</c:v>
                </c:pt>
                <c:pt idx="65">
                  <c:v>173060</c:v>
                </c:pt>
                <c:pt idx="66">
                  <c:v>137660</c:v>
                </c:pt>
                <c:pt idx="67">
                  <c:v>158280</c:v>
                </c:pt>
                <c:pt idx="68">
                  <c:v>16600</c:v>
                </c:pt>
                <c:pt idx="69">
                  <c:v>3440</c:v>
                </c:pt>
                <c:pt idx="70">
                  <c:v>2560</c:v>
                </c:pt>
                <c:pt idx="71">
                  <c:v>3640</c:v>
                </c:pt>
                <c:pt idx="72">
                  <c:v>14530</c:v>
                </c:pt>
                <c:pt idx="73">
                  <c:v>20560</c:v>
                </c:pt>
                <c:pt idx="74">
                  <c:v>161840</c:v>
                </c:pt>
                <c:pt idx="75">
                  <c:v>148260</c:v>
                </c:pt>
                <c:pt idx="76">
                  <c:v>168920</c:v>
                </c:pt>
                <c:pt idx="77">
                  <c:v>148060</c:v>
                </c:pt>
                <c:pt idx="78">
                  <c:v>158980</c:v>
                </c:pt>
                <c:pt idx="79">
                  <c:v>180370</c:v>
                </c:pt>
                <c:pt idx="80">
                  <c:v>169620</c:v>
                </c:pt>
                <c:pt idx="81">
                  <c:v>169590</c:v>
                </c:pt>
                <c:pt idx="82">
                  <c:v>164760</c:v>
                </c:pt>
                <c:pt idx="83">
                  <c:v>170300</c:v>
                </c:pt>
                <c:pt idx="84">
                  <c:v>185160</c:v>
                </c:pt>
                <c:pt idx="85">
                  <c:v>154620</c:v>
                </c:pt>
                <c:pt idx="86">
                  <c:v>166860</c:v>
                </c:pt>
                <c:pt idx="87">
                  <c:v>0</c:v>
                </c:pt>
                <c:pt idx="88">
                  <c:v>175</c:v>
                </c:pt>
                <c:pt idx="89">
                  <c:v>500</c:v>
                </c:pt>
                <c:pt idx="90">
                  <c:v>20</c:v>
                </c:pt>
                <c:pt idx="91">
                  <c:v>40</c:v>
                </c:pt>
                <c:pt idx="92">
                  <c:v>30580</c:v>
                </c:pt>
                <c:pt idx="93">
                  <c:v>169160</c:v>
                </c:pt>
                <c:pt idx="94">
                  <c:v>163120</c:v>
                </c:pt>
                <c:pt idx="95">
                  <c:v>137480</c:v>
                </c:pt>
                <c:pt idx="96">
                  <c:v>17980</c:v>
                </c:pt>
                <c:pt idx="97">
                  <c:v>0</c:v>
                </c:pt>
                <c:pt idx="98">
                  <c:v>140</c:v>
                </c:pt>
                <c:pt idx="99">
                  <c:v>180</c:v>
                </c:pt>
              </c:numCache>
            </c:numRef>
          </c:val>
          <c:extLst>
            <c:ext xmlns:c16="http://schemas.microsoft.com/office/drawing/2014/chart" uri="{C3380CC4-5D6E-409C-BE32-E72D297353CC}">
              <c16:uniqueId val="{00000001-E3C4-46BC-AA3D-A3795B7CC7BA}"/>
            </c:ext>
          </c:extLst>
        </c:ser>
        <c:ser>
          <c:idx val="0"/>
          <c:order val="1"/>
          <c:tx>
            <c:strRef>
              <c:f>Sheet1!$C$1</c:f>
              <c:strCache>
                <c:ptCount val="1"/>
                <c:pt idx="0">
                  <c:v>Promo Volume</c:v>
                </c:pt>
              </c:strCache>
            </c:strRef>
          </c:tx>
          <c:spPr>
            <a:solidFill>
              <a:schemeClr val="accent3"/>
            </a:solidFill>
            <a:ln>
              <a:noFill/>
            </a:ln>
            <a:effectLst/>
          </c:spPr>
          <c:invertIfNegative val="0"/>
          <c:cat>
            <c:numRef>
              <c:f>Sheet1!$A$2:$A$101</c:f>
              <c:numCache>
                <c:formatCode>yyyy\-mm\-dd</c:formatCode>
                <c:ptCount val="100"/>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51</c:v>
                </c:pt>
                <c:pt idx="29">
                  <c:v>45158</c:v>
                </c:pt>
                <c:pt idx="30">
                  <c:v>45165</c:v>
                </c:pt>
                <c:pt idx="31">
                  <c:v>45172</c:v>
                </c:pt>
                <c:pt idx="32">
                  <c:v>45179</c:v>
                </c:pt>
                <c:pt idx="33">
                  <c:v>45186</c:v>
                </c:pt>
                <c:pt idx="34">
                  <c:v>45193</c:v>
                </c:pt>
                <c:pt idx="35">
                  <c:v>45200</c:v>
                </c:pt>
                <c:pt idx="36">
                  <c:v>45207</c:v>
                </c:pt>
                <c:pt idx="37">
                  <c:v>45214</c:v>
                </c:pt>
                <c:pt idx="38">
                  <c:v>45221</c:v>
                </c:pt>
                <c:pt idx="39">
                  <c:v>45228</c:v>
                </c:pt>
                <c:pt idx="40">
                  <c:v>45235</c:v>
                </c:pt>
                <c:pt idx="41">
                  <c:v>45242</c:v>
                </c:pt>
                <c:pt idx="42">
                  <c:v>45249</c:v>
                </c:pt>
                <c:pt idx="43">
                  <c:v>45256</c:v>
                </c:pt>
                <c:pt idx="44">
                  <c:v>45263</c:v>
                </c:pt>
                <c:pt idx="45">
                  <c:v>45270</c:v>
                </c:pt>
                <c:pt idx="46">
                  <c:v>45277</c:v>
                </c:pt>
                <c:pt idx="47">
                  <c:v>45284</c:v>
                </c:pt>
                <c:pt idx="48">
                  <c:v>45291</c:v>
                </c:pt>
                <c:pt idx="49">
                  <c:v>45298</c:v>
                </c:pt>
                <c:pt idx="50">
                  <c:v>45305</c:v>
                </c:pt>
                <c:pt idx="51">
                  <c:v>45312</c:v>
                </c:pt>
                <c:pt idx="52">
                  <c:v>45319</c:v>
                </c:pt>
                <c:pt idx="53">
                  <c:v>45326</c:v>
                </c:pt>
                <c:pt idx="54">
                  <c:v>45340</c:v>
                </c:pt>
                <c:pt idx="55">
                  <c:v>45347</c:v>
                </c:pt>
                <c:pt idx="56">
                  <c:v>45354</c:v>
                </c:pt>
                <c:pt idx="57">
                  <c:v>45361</c:v>
                </c:pt>
                <c:pt idx="58">
                  <c:v>45368</c:v>
                </c:pt>
                <c:pt idx="59">
                  <c:v>45375</c:v>
                </c:pt>
                <c:pt idx="60">
                  <c:v>45389</c:v>
                </c:pt>
                <c:pt idx="61">
                  <c:v>45396</c:v>
                </c:pt>
                <c:pt idx="62">
                  <c:v>45403</c:v>
                </c:pt>
                <c:pt idx="63">
                  <c:v>45410</c:v>
                </c:pt>
                <c:pt idx="64">
                  <c:v>45417</c:v>
                </c:pt>
                <c:pt idx="65">
                  <c:v>45424</c:v>
                </c:pt>
                <c:pt idx="66">
                  <c:v>45431</c:v>
                </c:pt>
                <c:pt idx="67">
                  <c:v>45438</c:v>
                </c:pt>
                <c:pt idx="68">
                  <c:v>45445</c:v>
                </c:pt>
                <c:pt idx="69">
                  <c:v>45452</c:v>
                </c:pt>
                <c:pt idx="70">
                  <c:v>45459</c:v>
                </c:pt>
                <c:pt idx="71">
                  <c:v>45466</c:v>
                </c:pt>
                <c:pt idx="72">
                  <c:v>45473</c:v>
                </c:pt>
                <c:pt idx="73">
                  <c:v>45480</c:v>
                </c:pt>
                <c:pt idx="74">
                  <c:v>45487</c:v>
                </c:pt>
                <c:pt idx="75">
                  <c:v>45508</c:v>
                </c:pt>
                <c:pt idx="76">
                  <c:v>45515</c:v>
                </c:pt>
                <c:pt idx="77">
                  <c:v>45522</c:v>
                </c:pt>
                <c:pt idx="78">
                  <c:v>45529</c:v>
                </c:pt>
                <c:pt idx="79">
                  <c:v>45536</c:v>
                </c:pt>
                <c:pt idx="80">
                  <c:v>45543</c:v>
                </c:pt>
                <c:pt idx="81">
                  <c:v>45550</c:v>
                </c:pt>
                <c:pt idx="82">
                  <c:v>45557</c:v>
                </c:pt>
                <c:pt idx="83">
                  <c:v>45564</c:v>
                </c:pt>
                <c:pt idx="84">
                  <c:v>45578</c:v>
                </c:pt>
                <c:pt idx="85">
                  <c:v>45585</c:v>
                </c:pt>
                <c:pt idx="86">
                  <c:v>45592</c:v>
                </c:pt>
                <c:pt idx="87">
                  <c:v>45599</c:v>
                </c:pt>
                <c:pt idx="88">
                  <c:v>45606</c:v>
                </c:pt>
                <c:pt idx="89">
                  <c:v>45613</c:v>
                </c:pt>
                <c:pt idx="90">
                  <c:v>45620</c:v>
                </c:pt>
                <c:pt idx="91">
                  <c:v>45627</c:v>
                </c:pt>
                <c:pt idx="92">
                  <c:v>45634</c:v>
                </c:pt>
                <c:pt idx="93">
                  <c:v>45641</c:v>
                </c:pt>
                <c:pt idx="94">
                  <c:v>45648</c:v>
                </c:pt>
                <c:pt idx="95">
                  <c:v>45655</c:v>
                </c:pt>
                <c:pt idx="96">
                  <c:v>45662</c:v>
                </c:pt>
                <c:pt idx="97">
                  <c:v>45669</c:v>
                </c:pt>
                <c:pt idx="98">
                  <c:v>45676</c:v>
                </c:pt>
                <c:pt idx="99">
                  <c:v>45683</c:v>
                </c:pt>
              </c:numCache>
            </c:numRef>
          </c:cat>
          <c:val>
            <c:numRef>
              <c:f>Sheet1!$C$2:$C$101</c:f>
              <c:numCache>
                <c:formatCode>General</c:formatCode>
                <c:ptCount val="100"/>
                <c:pt idx="0">
                  <c:v>82385</c:v>
                </c:pt>
                <c:pt idx="1">
                  <c:v>37785</c:v>
                </c:pt>
                <c:pt idx="2">
                  <c:v>32565</c:v>
                </c:pt>
                <c:pt idx="3">
                  <c:v>80990</c:v>
                </c:pt>
                <c:pt idx="4">
                  <c:v>0</c:v>
                </c:pt>
                <c:pt idx="5">
                  <c:v>0</c:v>
                </c:pt>
                <c:pt idx="6">
                  <c:v>0</c:v>
                </c:pt>
                <c:pt idx="7">
                  <c:v>0</c:v>
                </c:pt>
                <c:pt idx="8">
                  <c:v>0</c:v>
                </c:pt>
                <c:pt idx="9">
                  <c:v>85445</c:v>
                </c:pt>
                <c:pt idx="10">
                  <c:v>131080</c:v>
                </c:pt>
                <c:pt idx="11">
                  <c:v>106425</c:v>
                </c:pt>
                <c:pt idx="12">
                  <c:v>94670</c:v>
                </c:pt>
                <c:pt idx="13">
                  <c:v>81835</c:v>
                </c:pt>
                <c:pt idx="14">
                  <c:v>89265</c:v>
                </c:pt>
                <c:pt idx="15">
                  <c:v>107720</c:v>
                </c:pt>
                <c:pt idx="16">
                  <c:v>2820</c:v>
                </c:pt>
                <c:pt idx="17">
                  <c:v>0</c:v>
                </c:pt>
                <c:pt idx="18">
                  <c:v>0</c:v>
                </c:pt>
                <c:pt idx="19">
                  <c:v>78975</c:v>
                </c:pt>
                <c:pt idx="20">
                  <c:v>94165</c:v>
                </c:pt>
                <c:pt idx="21">
                  <c:v>293260</c:v>
                </c:pt>
                <c:pt idx="22">
                  <c:v>374525</c:v>
                </c:pt>
                <c:pt idx="23">
                  <c:v>375095</c:v>
                </c:pt>
                <c:pt idx="24">
                  <c:v>369045</c:v>
                </c:pt>
                <c:pt idx="25">
                  <c:v>337830</c:v>
                </c:pt>
                <c:pt idx="26">
                  <c:v>74925</c:v>
                </c:pt>
                <c:pt idx="27">
                  <c:v>61380</c:v>
                </c:pt>
                <c:pt idx="28">
                  <c:v>0</c:v>
                </c:pt>
                <c:pt idx="29">
                  <c:v>0</c:v>
                </c:pt>
                <c:pt idx="30">
                  <c:v>92610</c:v>
                </c:pt>
                <c:pt idx="31">
                  <c:v>70190</c:v>
                </c:pt>
                <c:pt idx="32">
                  <c:v>90505</c:v>
                </c:pt>
                <c:pt idx="33">
                  <c:v>59355</c:v>
                </c:pt>
                <c:pt idx="34">
                  <c:v>0</c:v>
                </c:pt>
                <c:pt idx="35">
                  <c:v>0</c:v>
                </c:pt>
                <c:pt idx="36">
                  <c:v>0</c:v>
                </c:pt>
                <c:pt idx="37">
                  <c:v>0</c:v>
                </c:pt>
                <c:pt idx="38">
                  <c:v>81380</c:v>
                </c:pt>
                <c:pt idx="39">
                  <c:v>101315</c:v>
                </c:pt>
                <c:pt idx="40">
                  <c:v>82960</c:v>
                </c:pt>
                <c:pt idx="41">
                  <c:v>370715</c:v>
                </c:pt>
                <c:pt idx="42">
                  <c:v>347800</c:v>
                </c:pt>
                <c:pt idx="43">
                  <c:v>306190</c:v>
                </c:pt>
                <c:pt idx="44">
                  <c:v>87065</c:v>
                </c:pt>
                <c:pt idx="45">
                  <c:v>69520</c:v>
                </c:pt>
                <c:pt idx="46">
                  <c:v>65215</c:v>
                </c:pt>
                <c:pt idx="47">
                  <c:v>95400</c:v>
                </c:pt>
                <c:pt idx="48">
                  <c:v>256870</c:v>
                </c:pt>
                <c:pt idx="49">
                  <c:v>362385</c:v>
                </c:pt>
                <c:pt idx="50">
                  <c:v>379230</c:v>
                </c:pt>
                <c:pt idx="51">
                  <c:v>348940</c:v>
                </c:pt>
                <c:pt idx="52">
                  <c:v>300020</c:v>
                </c:pt>
                <c:pt idx="53">
                  <c:v>0</c:v>
                </c:pt>
                <c:pt idx="54">
                  <c:v>0</c:v>
                </c:pt>
                <c:pt idx="55">
                  <c:v>0</c:v>
                </c:pt>
                <c:pt idx="56">
                  <c:v>69880</c:v>
                </c:pt>
                <c:pt idx="57">
                  <c:v>90165</c:v>
                </c:pt>
                <c:pt idx="58">
                  <c:v>65135</c:v>
                </c:pt>
                <c:pt idx="59">
                  <c:v>24340</c:v>
                </c:pt>
                <c:pt idx="60">
                  <c:v>86355</c:v>
                </c:pt>
                <c:pt idx="61">
                  <c:v>200865</c:v>
                </c:pt>
                <c:pt idx="62">
                  <c:v>188060</c:v>
                </c:pt>
                <c:pt idx="63">
                  <c:v>104420</c:v>
                </c:pt>
                <c:pt idx="64">
                  <c:v>54460</c:v>
                </c:pt>
                <c:pt idx="65">
                  <c:v>37460</c:v>
                </c:pt>
                <c:pt idx="66">
                  <c:v>63420</c:v>
                </c:pt>
                <c:pt idx="67">
                  <c:v>56845</c:v>
                </c:pt>
                <c:pt idx="68">
                  <c:v>213695</c:v>
                </c:pt>
                <c:pt idx="69">
                  <c:v>288120</c:v>
                </c:pt>
                <c:pt idx="70">
                  <c:v>286380</c:v>
                </c:pt>
                <c:pt idx="71">
                  <c:v>280440</c:v>
                </c:pt>
                <c:pt idx="72">
                  <c:v>278160</c:v>
                </c:pt>
                <c:pt idx="73">
                  <c:v>257200</c:v>
                </c:pt>
                <c:pt idx="74">
                  <c:v>26580</c:v>
                </c:pt>
                <c:pt idx="75">
                  <c:v>53250</c:v>
                </c:pt>
                <c:pt idx="76">
                  <c:v>66225</c:v>
                </c:pt>
                <c:pt idx="77">
                  <c:v>77510</c:v>
                </c:pt>
                <c:pt idx="78">
                  <c:v>63095</c:v>
                </c:pt>
                <c:pt idx="79">
                  <c:v>13520</c:v>
                </c:pt>
                <c:pt idx="80">
                  <c:v>14580</c:v>
                </c:pt>
                <c:pt idx="81">
                  <c:v>13440</c:v>
                </c:pt>
                <c:pt idx="82">
                  <c:v>14500</c:v>
                </c:pt>
                <c:pt idx="83">
                  <c:v>15360</c:v>
                </c:pt>
                <c:pt idx="84">
                  <c:v>910</c:v>
                </c:pt>
                <c:pt idx="85">
                  <c:v>53165</c:v>
                </c:pt>
                <c:pt idx="86">
                  <c:v>68325</c:v>
                </c:pt>
                <c:pt idx="87">
                  <c:v>285865</c:v>
                </c:pt>
                <c:pt idx="88">
                  <c:v>313980</c:v>
                </c:pt>
                <c:pt idx="89">
                  <c:v>296770</c:v>
                </c:pt>
                <c:pt idx="90">
                  <c:v>289345</c:v>
                </c:pt>
                <c:pt idx="91">
                  <c:v>266660</c:v>
                </c:pt>
                <c:pt idx="92">
                  <c:v>205270</c:v>
                </c:pt>
                <c:pt idx="93">
                  <c:v>58285</c:v>
                </c:pt>
                <c:pt idx="94">
                  <c:v>84160</c:v>
                </c:pt>
                <c:pt idx="95">
                  <c:v>76150</c:v>
                </c:pt>
                <c:pt idx="96">
                  <c:v>232055</c:v>
                </c:pt>
                <c:pt idx="97">
                  <c:v>404220</c:v>
                </c:pt>
                <c:pt idx="98">
                  <c:v>424980</c:v>
                </c:pt>
                <c:pt idx="99">
                  <c:v>386300</c:v>
                </c:pt>
              </c:numCache>
            </c:numRef>
          </c:val>
          <c:extLst>
            <c:ext xmlns:c16="http://schemas.microsoft.com/office/drawing/2014/chart" uri="{C3380CC4-5D6E-409C-BE32-E72D297353CC}">
              <c16:uniqueId val="{00000000-E3C4-46BC-AA3D-A3795B7CC7B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yyyy\-mm\-dd"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1</c:f>
              <c:numCache>
                <c:formatCode>yyyy\-mm\-dd</c:formatCode>
                <c:ptCount val="100"/>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51</c:v>
                </c:pt>
                <c:pt idx="29">
                  <c:v>45158</c:v>
                </c:pt>
                <c:pt idx="30">
                  <c:v>45165</c:v>
                </c:pt>
                <c:pt idx="31">
                  <c:v>45172</c:v>
                </c:pt>
                <c:pt idx="32">
                  <c:v>45179</c:v>
                </c:pt>
                <c:pt idx="33">
                  <c:v>45186</c:v>
                </c:pt>
                <c:pt idx="34">
                  <c:v>45193</c:v>
                </c:pt>
                <c:pt idx="35">
                  <c:v>45200</c:v>
                </c:pt>
                <c:pt idx="36">
                  <c:v>45207</c:v>
                </c:pt>
                <c:pt idx="37">
                  <c:v>45214</c:v>
                </c:pt>
                <c:pt idx="38">
                  <c:v>45221</c:v>
                </c:pt>
                <c:pt idx="39">
                  <c:v>45228</c:v>
                </c:pt>
                <c:pt idx="40">
                  <c:v>45235</c:v>
                </c:pt>
                <c:pt idx="41">
                  <c:v>45242</c:v>
                </c:pt>
                <c:pt idx="42">
                  <c:v>45249</c:v>
                </c:pt>
                <c:pt idx="43">
                  <c:v>45256</c:v>
                </c:pt>
                <c:pt idx="44">
                  <c:v>45263</c:v>
                </c:pt>
                <c:pt idx="45">
                  <c:v>45270</c:v>
                </c:pt>
                <c:pt idx="46">
                  <c:v>45277</c:v>
                </c:pt>
                <c:pt idx="47">
                  <c:v>45284</c:v>
                </c:pt>
                <c:pt idx="48">
                  <c:v>45291</c:v>
                </c:pt>
                <c:pt idx="49">
                  <c:v>45298</c:v>
                </c:pt>
                <c:pt idx="50">
                  <c:v>45305</c:v>
                </c:pt>
                <c:pt idx="51">
                  <c:v>45312</c:v>
                </c:pt>
                <c:pt idx="52">
                  <c:v>45319</c:v>
                </c:pt>
                <c:pt idx="53">
                  <c:v>45326</c:v>
                </c:pt>
                <c:pt idx="54">
                  <c:v>45340</c:v>
                </c:pt>
                <c:pt idx="55">
                  <c:v>45347</c:v>
                </c:pt>
                <c:pt idx="56">
                  <c:v>45354</c:v>
                </c:pt>
                <c:pt idx="57">
                  <c:v>45361</c:v>
                </c:pt>
                <c:pt idx="58">
                  <c:v>45368</c:v>
                </c:pt>
                <c:pt idx="59">
                  <c:v>45375</c:v>
                </c:pt>
                <c:pt idx="60">
                  <c:v>45389</c:v>
                </c:pt>
                <c:pt idx="61">
                  <c:v>45396</c:v>
                </c:pt>
                <c:pt idx="62">
                  <c:v>45403</c:v>
                </c:pt>
                <c:pt idx="63">
                  <c:v>45410</c:v>
                </c:pt>
                <c:pt idx="64">
                  <c:v>45417</c:v>
                </c:pt>
                <c:pt idx="65">
                  <c:v>45424</c:v>
                </c:pt>
                <c:pt idx="66">
                  <c:v>45431</c:v>
                </c:pt>
                <c:pt idx="67">
                  <c:v>45438</c:v>
                </c:pt>
                <c:pt idx="68">
                  <c:v>45445</c:v>
                </c:pt>
                <c:pt idx="69">
                  <c:v>45452</c:v>
                </c:pt>
                <c:pt idx="70">
                  <c:v>45459</c:v>
                </c:pt>
                <c:pt idx="71">
                  <c:v>45466</c:v>
                </c:pt>
                <c:pt idx="72">
                  <c:v>45473</c:v>
                </c:pt>
                <c:pt idx="73">
                  <c:v>45480</c:v>
                </c:pt>
                <c:pt idx="74">
                  <c:v>45487</c:v>
                </c:pt>
                <c:pt idx="75">
                  <c:v>45508</c:v>
                </c:pt>
                <c:pt idx="76">
                  <c:v>45515</c:v>
                </c:pt>
                <c:pt idx="77">
                  <c:v>45522</c:v>
                </c:pt>
                <c:pt idx="78">
                  <c:v>45529</c:v>
                </c:pt>
                <c:pt idx="79">
                  <c:v>45536</c:v>
                </c:pt>
                <c:pt idx="80">
                  <c:v>45543</c:v>
                </c:pt>
                <c:pt idx="81">
                  <c:v>45550</c:v>
                </c:pt>
                <c:pt idx="82">
                  <c:v>45557</c:v>
                </c:pt>
                <c:pt idx="83">
                  <c:v>45564</c:v>
                </c:pt>
                <c:pt idx="84">
                  <c:v>45578</c:v>
                </c:pt>
                <c:pt idx="85">
                  <c:v>45585</c:v>
                </c:pt>
                <c:pt idx="86">
                  <c:v>45592</c:v>
                </c:pt>
                <c:pt idx="87">
                  <c:v>45599</c:v>
                </c:pt>
                <c:pt idx="88">
                  <c:v>45606</c:v>
                </c:pt>
                <c:pt idx="89">
                  <c:v>45613</c:v>
                </c:pt>
                <c:pt idx="90">
                  <c:v>45620</c:v>
                </c:pt>
                <c:pt idx="91">
                  <c:v>45627</c:v>
                </c:pt>
                <c:pt idx="92">
                  <c:v>45634</c:v>
                </c:pt>
                <c:pt idx="93">
                  <c:v>45641</c:v>
                </c:pt>
                <c:pt idx="94">
                  <c:v>45648</c:v>
                </c:pt>
                <c:pt idx="95">
                  <c:v>45655</c:v>
                </c:pt>
                <c:pt idx="96">
                  <c:v>45662</c:v>
                </c:pt>
                <c:pt idx="97">
                  <c:v>45669</c:v>
                </c:pt>
                <c:pt idx="98">
                  <c:v>45676</c:v>
                </c:pt>
                <c:pt idx="99">
                  <c:v>45683</c:v>
                </c:pt>
              </c:numCache>
            </c:numRef>
          </c:cat>
          <c:val>
            <c:numRef>
              <c:f>Sheet1!$B$2:$B$101</c:f>
              <c:numCache>
                <c:formatCode>General</c:formatCode>
                <c:ptCount val="100"/>
                <c:pt idx="0">
                  <c:v>360607</c:v>
                </c:pt>
                <c:pt idx="1">
                  <c:v>352257</c:v>
                </c:pt>
                <c:pt idx="2">
                  <c:v>342992</c:v>
                </c:pt>
                <c:pt idx="3">
                  <c:v>328492</c:v>
                </c:pt>
                <c:pt idx="4">
                  <c:v>339350</c:v>
                </c:pt>
                <c:pt idx="5">
                  <c:v>346982</c:v>
                </c:pt>
                <c:pt idx="6">
                  <c:v>334096</c:v>
                </c:pt>
                <c:pt idx="7">
                  <c:v>336495</c:v>
                </c:pt>
                <c:pt idx="8">
                  <c:v>358221</c:v>
                </c:pt>
                <c:pt idx="9">
                  <c:v>339625</c:v>
                </c:pt>
                <c:pt idx="10">
                  <c:v>320878</c:v>
                </c:pt>
                <c:pt idx="11">
                  <c:v>327195</c:v>
                </c:pt>
                <c:pt idx="12">
                  <c:v>360794</c:v>
                </c:pt>
                <c:pt idx="13">
                  <c:v>361445</c:v>
                </c:pt>
                <c:pt idx="14">
                  <c:v>307922</c:v>
                </c:pt>
                <c:pt idx="15">
                  <c:v>352501</c:v>
                </c:pt>
                <c:pt idx="16">
                  <c:v>362104</c:v>
                </c:pt>
                <c:pt idx="17">
                  <c:v>389632</c:v>
                </c:pt>
                <c:pt idx="18">
                  <c:v>365471</c:v>
                </c:pt>
                <c:pt idx="19">
                  <c:v>363794</c:v>
                </c:pt>
                <c:pt idx="20">
                  <c:v>385882</c:v>
                </c:pt>
                <c:pt idx="21">
                  <c:v>402742</c:v>
                </c:pt>
                <c:pt idx="22">
                  <c:v>411659</c:v>
                </c:pt>
                <c:pt idx="23">
                  <c:v>398022</c:v>
                </c:pt>
                <c:pt idx="24">
                  <c:v>386487</c:v>
                </c:pt>
                <c:pt idx="25">
                  <c:v>401198</c:v>
                </c:pt>
                <c:pt idx="26">
                  <c:v>0</c:v>
                </c:pt>
                <c:pt idx="27">
                  <c:v>0</c:v>
                </c:pt>
                <c:pt idx="28">
                  <c:v>251962</c:v>
                </c:pt>
                <c:pt idx="29">
                  <c:v>35160</c:v>
                </c:pt>
                <c:pt idx="30">
                  <c:v>20498</c:v>
                </c:pt>
                <c:pt idx="31">
                  <c:v>17883</c:v>
                </c:pt>
                <c:pt idx="32">
                  <c:v>18859</c:v>
                </c:pt>
                <c:pt idx="33">
                  <c:v>16659</c:v>
                </c:pt>
                <c:pt idx="34">
                  <c:v>19135</c:v>
                </c:pt>
                <c:pt idx="35">
                  <c:v>25785</c:v>
                </c:pt>
                <c:pt idx="36">
                  <c:v>30853</c:v>
                </c:pt>
                <c:pt idx="37">
                  <c:v>34539</c:v>
                </c:pt>
                <c:pt idx="38">
                  <c:v>36233</c:v>
                </c:pt>
                <c:pt idx="39">
                  <c:v>38811</c:v>
                </c:pt>
                <c:pt idx="40">
                  <c:v>422506</c:v>
                </c:pt>
                <c:pt idx="41">
                  <c:v>410500</c:v>
                </c:pt>
                <c:pt idx="42">
                  <c:v>366254</c:v>
                </c:pt>
                <c:pt idx="43">
                  <c:v>333519</c:v>
                </c:pt>
                <c:pt idx="44">
                  <c:v>367563</c:v>
                </c:pt>
                <c:pt idx="45">
                  <c:v>364260</c:v>
                </c:pt>
                <c:pt idx="46">
                  <c:v>379089</c:v>
                </c:pt>
                <c:pt idx="47">
                  <c:v>413936</c:v>
                </c:pt>
                <c:pt idx="48">
                  <c:v>320297</c:v>
                </c:pt>
                <c:pt idx="49">
                  <c:v>362390</c:v>
                </c:pt>
                <c:pt idx="50">
                  <c:v>309163</c:v>
                </c:pt>
                <c:pt idx="51">
                  <c:v>315193</c:v>
                </c:pt>
                <c:pt idx="52">
                  <c:v>340848</c:v>
                </c:pt>
                <c:pt idx="53">
                  <c:v>355996</c:v>
                </c:pt>
                <c:pt idx="54">
                  <c:v>301344</c:v>
                </c:pt>
                <c:pt idx="55">
                  <c:v>279597</c:v>
                </c:pt>
                <c:pt idx="56">
                  <c:v>335054</c:v>
                </c:pt>
                <c:pt idx="57">
                  <c:v>0</c:v>
                </c:pt>
                <c:pt idx="58">
                  <c:v>344234</c:v>
                </c:pt>
                <c:pt idx="59">
                  <c:v>264455</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362277</c:v>
                </c:pt>
                <c:pt idx="78">
                  <c:v>0</c:v>
                </c:pt>
                <c:pt idx="79">
                  <c:v>0</c:v>
                </c:pt>
                <c:pt idx="80">
                  <c:v>0</c:v>
                </c:pt>
                <c:pt idx="81">
                  <c:v>0</c:v>
                </c:pt>
                <c:pt idx="82">
                  <c:v>0</c:v>
                </c:pt>
                <c:pt idx="83">
                  <c:v>0</c:v>
                </c:pt>
                <c:pt idx="84">
                  <c:v>272432</c:v>
                </c:pt>
                <c:pt idx="85">
                  <c:v>269867</c:v>
                </c:pt>
                <c:pt idx="86">
                  <c:v>299321</c:v>
                </c:pt>
                <c:pt idx="87">
                  <c:v>345554</c:v>
                </c:pt>
                <c:pt idx="88">
                  <c:v>354622</c:v>
                </c:pt>
                <c:pt idx="89">
                  <c:v>336014</c:v>
                </c:pt>
                <c:pt idx="90">
                  <c:v>330034</c:v>
                </c:pt>
                <c:pt idx="91">
                  <c:v>265530</c:v>
                </c:pt>
                <c:pt idx="92">
                  <c:v>278416</c:v>
                </c:pt>
                <c:pt idx="93">
                  <c:v>323708</c:v>
                </c:pt>
                <c:pt idx="94">
                  <c:v>370460</c:v>
                </c:pt>
                <c:pt idx="95">
                  <c:v>313626</c:v>
                </c:pt>
                <c:pt idx="96">
                  <c:v>336739</c:v>
                </c:pt>
                <c:pt idx="97">
                  <c:v>316330</c:v>
                </c:pt>
                <c:pt idx="98">
                  <c:v>0</c:v>
                </c:pt>
                <c:pt idx="99">
                  <c:v>0</c:v>
                </c:pt>
              </c:numCache>
            </c:numRef>
          </c:val>
          <c:extLst>
            <c:ext xmlns:c16="http://schemas.microsoft.com/office/drawing/2014/chart" uri="{C3380CC4-5D6E-409C-BE32-E72D297353CC}">
              <c16:uniqueId val="{00000000-72A7-4D08-96D7-E73109FBDC9A}"/>
            </c:ext>
          </c:extLst>
        </c:ser>
        <c:ser>
          <c:idx val="0"/>
          <c:order val="1"/>
          <c:tx>
            <c:strRef>
              <c:f>Sheet1!$C$1</c:f>
              <c:strCache>
                <c:ptCount val="1"/>
                <c:pt idx="0">
                  <c:v>Promo Volume</c:v>
                </c:pt>
              </c:strCache>
            </c:strRef>
          </c:tx>
          <c:spPr>
            <a:solidFill>
              <a:schemeClr val="accent3"/>
            </a:solidFill>
            <a:ln>
              <a:noFill/>
            </a:ln>
            <a:effectLst/>
          </c:spPr>
          <c:invertIfNegative val="0"/>
          <c:cat>
            <c:numRef>
              <c:f>Sheet1!$A$2:$A$101</c:f>
              <c:numCache>
                <c:formatCode>yyyy\-mm\-dd</c:formatCode>
                <c:ptCount val="100"/>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51</c:v>
                </c:pt>
                <c:pt idx="29">
                  <c:v>45158</c:v>
                </c:pt>
                <c:pt idx="30">
                  <c:v>45165</c:v>
                </c:pt>
                <c:pt idx="31">
                  <c:v>45172</c:v>
                </c:pt>
                <c:pt idx="32">
                  <c:v>45179</c:v>
                </c:pt>
                <c:pt idx="33">
                  <c:v>45186</c:v>
                </c:pt>
                <c:pt idx="34">
                  <c:v>45193</c:v>
                </c:pt>
                <c:pt idx="35">
                  <c:v>45200</c:v>
                </c:pt>
                <c:pt idx="36">
                  <c:v>45207</c:v>
                </c:pt>
                <c:pt idx="37">
                  <c:v>45214</c:v>
                </c:pt>
                <c:pt idx="38">
                  <c:v>45221</c:v>
                </c:pt>
                <c:pt idx="39">
                  <c:v>45228</c:v>
                </c:pt>
                <c:pt idx="40">
                  <c:v>45235</c:v>
                </c:pt>
                <c:pt idx="41">
                  <c:v>45242</c:v>
                </c:pt>
                <c:pt idx="42">
                  <c:v>45249</c:v>
                </c:pt>
                <c:pt idx="43">
                  <c:v>45256</c:v>
                </c:pt>
                <c:pt idx="44">
                  <c:v>45263</c:v>
                </c:pt>
                <c:pt idx="45">
                  <c:v>45270</c:v>
                </c:pt>
                <c:pt idx="46">
                  <c:v>45277</c:v>
                </c:pt>
                <c:pt idx="47">
                  <c:v>45284</c:v>
                </c:pt>
                <c:pt idx="48">
                  <c:v>45291</c:v>
                </c:pt>
                <c:pt idx="49">
                  <c:v>45298</c:v>
                </c:pt>
                <c:pt idx="50">
                  <c:v>45305</c:v>
                </c:pt>
                <c:pt idx="51">
                  <c:v>45312</c:v>
                </c:pt>
                <c:pt idx="52">
                  <c:v>45319</c:v>
                </c:pt>
                <c:pt idx="53">
                  <c:v>45326</c:v>
                </c:pt>
                <c:pt idx="54">
                  <c:v>45340</c:v>
                </c:pt>
                <c:pt idx="55">
                  <c:v>45347</c:v>
                </c:pt>
                <c:pt idx="56">
                  <c:v>45354</c:v>
                </c:pt>
                <c:pt idx="57">
                  <c:v>45361</c:v>
                </c:pt>
                <c:pt idx="58">
                  <c:v>45368</c:v>
                </c:pt>
                <c:pt idx="59">
                  <c:v>45375</c:v>
                </c:pt>
                <c:pt idx="60">
                  <c:v>45389</c:v>
                </c:pt>
                <c:pt idx="61">
                  <c:v>45396</c:v>
                </c:pt>
                <c:pt idx="62">
                  <c:v>45403</c:v>
                </c:pt>
                <c:pt idx="63">
                  <c:v>45410</c:v>
                </c:pt>
                <c:pt idx="64">
                  <c:v>45417</c:v>
                </c:pt>
                <c:pt idx="65">
                  <c:v>45424</c:v>
                </c:pt>
                <c:pt idx="66">
                  <c:v>45431</c:v>
                </c:pt>
                <c:pt idx="67">
                  <c:v>45438</c:v>
                </c:pt>
                <c:pt idx="68">
                  <c:v>45445</c:v>
                </c:pt>
                <c:pt idx="69">
                  <c:v>45452</c:v>
                </c:pt>
                <c:pt idx="70">
                  <c:v>45459</c:v>
                </c:pt>
                <c:pt idx="71">
                  <c:v>45466</c:v>
                </c:pt>
                <c:pt idx="72">
                  <c:v>45473</c:v>
                </c:pt>
                <c:pt idx="73">
                  <c:v>45480</c:v>
                </c:pt>
                <c:pt idx="74">
                  <c:v>45487</c:v>
                </c:pt>
                <c:pt idx="75">
                  <c:v>45508</c:v>
                </c:pt>
                <c:pt idx="76">
                  <c:v>45515</c:v>
                </c:pt>
                <c:pt idx="77">
                  <c:v>45522</c:v>
                </c:pt>
                <c:pt idx="78">
                  <c:v>45529</c:v>
                </c:pt>
                <c:pt idx="79">
                  <c:v>45536</c:v>
                </c:pt>
                <c:pt idx="80">
                  <c:v>45543</c:v>
                </c:pt>
                <c:pt idx="81">
                  <c:v>45550</c:v>
                </c:pt>
                <c:pt idx="82">
                  <c:v>45557</c:v>
                </c:pt>
                <c:pt idx="83">
                  <c:v>45564</c:v>
                </c:pt>
                <c:pt idx="84">
                  <c:v>45578</c:v>
                </c:pt>
                <c:pt idx="85">
                  <c:v>45585</c:v>
                </c:pt>
                <c:pt idx="86">
                  <c:v>45592</c:v>
                </c:pt>
                <c:pt idx="87">
                  <c:v>45599</c:v>
                </c:pt>
                <c:pt idx="88">
                  <c:v>45606</c:v>
                </c:pt>
                <c:pt idx="89">
                  <c:v>45613</c:v>
                </c:pt>
                <c:pt idx="90">
                  <c:v>45620</c:v>
                </c:pt>
                <c:pt idx="91">
                  <c:v>45627</c:v>
                </c:pt>
                <c:pt idx="92">
                  <c:v>45634</c:v>
                </c:pt>
                <c:pt idx="93">
                  <c:v>45641</c:v>
                </c:pt>
                <c:pt idx="94">
                  <c:v>45648</c:v>
                </c:pt>
                <c:pt idx="95">
                  <c:v>45655</c:v>
                </c:pt>
                <c:pt idx="96">
                  <c:v>45662</c:v>
                </c:pt>
                <c:pt idx="97">
                  <c:v>45669</c:v>
                </c:pt>
                <c:pt idx="98">
                  <c:v>45676</c:v>
                </c:pt>
                <c:pt idx="99">
                  <c:v>45683</c:v>
                </c:pt>
              </c:numCache>
            </c:numRef>
          </c:cat>
          <c:val>
            <c:numRef>
              <c:f>Sheet1!$C$2:$C$101</c:f>
              <c:numCache>
                <c:formatCode>General</c:formatCode>
                <c:ptCount val="100"/>
                <c:pt idx="0">
                  <c:v>64667</c:v>
                </c:pt>
                <c:pt idx="1">
                  <c:v>42852</c:v>
                </c:pt>
                <c:pt idx="2">
                  <c:v>35164</c:v>
                </c:pt>
                <c:pt idx="3">
                  <c:v>25722</c:v>
                </c:pt>
                <c:pt idx="4">
                  <c:v>26786</c:v>
                </c:pt>
                <c:pt idx="5">
                  <c:v>30736</c:v>
                </c:pt>
                <c:pt idx="6">
                  <c:v>37173</c:v>
                </c:pt>
                <c:pt idx="7">
                  <c:v>75134</c:v>
                </c:pt>
                <c:pt idx="8">
                  <c:v>60902</c:v>
                </c:pt>
                <c:pt idx="9">
                  <c:v>56603</c:v>
                </c:pt>
                <c:pt idx="10">
                  <c:v>56632</c:v>
                </c:pt>
                <c:pt idx="11">
                  <c:v>71144</c:v>
                </c:pt>
                <c:pt idx="12">
                  <c:v>2547</c:v>
                </c:pt>
                <c:pt idx="13">
                  <c:v>37345</c:v>
                </c:pt>
                <c:pt idx="14">
                  <c:v>56291</c:v>
                </c:pt>
                <c:pt idx="15">
                  <c:v>50081</c:v>
                </c:pt>
                <c:pt idx="16">
                  <c:v>7683</c:v>
                </c:pt>
                <c:pt idx="17">
                  <c:v>2404</c:v>
                </c:pt>
                <c:pt idx="18">
                  <c:v>2232</c:v>
                </c:pt>
                <c:pt idx="19">
                  <c:v>1606</c:v>
                </c:pt>
                <c:pt idx="20">
                  <c:v>1255</c:v>
                </c:pt>
                <c:pt idx="21">
                  <c:v>1901</c:v>
                </c:pt>
                <c:pt idx="22">
                  <c:v>1725</c:v>
                </c:pt>
                <c:pt idx="23">
                  <c:v>862</c:v>
                </c:pt>
                <c:pt idx="24">
                  <c:v>2127</c:v>
                </c:pt>
                <c:pt idx="25">
                  <c:v>2886</c:v>
                </c:pt>
                <c:pt idx="26">
                  <c:v>0</c:v>
                </c:pt>
                <c:pt idx="27">
                  <c:v>0</c:v>
                </c:pt>
                <c:pt idx="28">
                  <c:v>167672</c:v>
                </c:pt>
                <c:pt idx="29">
                  <c:v>418146</c:v>
                </c:pt>
                <c:pt idx="30">
                  <c:v>423573</c:v>
                </c:pt>
                <c:pt idx="31">
                  <c:v>421880</c:v>
                </c:pt>
                <c:pt idx="32">
                  <c:v>423350</c:v>
                </c:pt>
                <c:pt idx="33">
                  <c:v>407095</c:v>
                </c:pt>
                <c:pt idx="34">
                  <c:v>397584</c:v>
                </c:pt>
                <c:pt idx="35">
                  <c:v>393285</c:v>
                </c:pt>
                <c:pt idx="36">
                  <c:v>414853</c:v>
                </c:pt>
                <c:pt idx="37">
                  <c:v>418524</c:v>
                </c:pt>
                <c:pt idx="38">
                  <c:v>408006</c:v>
                </c:pt>
                <c:pt idx="39">
                  <c:v>387093</c:v>
                </c:pt>
                <c:pt idx="40">
                  <c:v>22028</c:v>
                </c:pt>
                <c:pt idx="41">
                  <c:v>26488</c:v>
                </c:pt>
                <c:pt idx="42">
                  <c:v>34566</c:v>
                </c:pt>
                <c:pt idx="43">
                  <c:v>51502</c:v>
                </c:pt>
                <c:pt idx="44">
                  <c:v>62994</c:v>
                </c:pt>
                <c:pt idx="45">
                  <c:v>112572</c:v>
                </c:pt>
                <c:pt idx="46">
                  <c:v>106864</c:v>
                </c:pt>
                <c:pt idx="47">
                  <c:v>174603</c:v>
                </c:pt>
                <c:pt idx="48">
                  <c:v>317552</c:v>
                </c:pt>
                <c:pt idx="49">
                  <c:v>11348</c:v>
                </c:pt>
                <c:pt idx="50">
                  <c:v>21360</c:v>
                </c:pt>
                <c:pt idx="51">
                  <c:v>9072</c:v>
                </c:pt>
                <c:pt idx="52">
                  <c:v>3816</c:v>
                </c:pt>
                <c:pt idx="53">
                  <c:v>2476</c:v>
                </c:pt>
                <c:pt idx="54">
                  <c:v>34978</c:v>
                </c:pt>
                <c:pt idx="55">
                  <c:v>121649</c:v>
                </c:pt>
                <c:pt idx="56">
                  <c:v>42472</c:v>
                </c:pt>
                <c:pt idx="57">
                  <c:v>0</c:v>
                </c:pt>
                <c:pt idx="58">
                  <c:v>1003</c:v>
                </c:pt>
                <c:pt idx="59">
                  <c:v>119643</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1683</c:v>
                </c:pt>
                <c:pt idx="78">
                  <c:v>0</c:v>
                </c:pt>
                <c:pt idx="79">
                  <c:v>0</c:v>
                </c:pt>
                <c:pt idx="80">
                  <c:v>0</c:v>
                </c:pt>
                <c:pt idx="81">
                  <c:v>0</c:v>
                </c:pt>
                <c:pt idx="82">
                  <c:v>0</c:v>
                </c:pt>
                <c:pt idx="83">
                  <c:v>0</c:v>
                </c:pt>
                <c:pt idx="84">
                  <c:v>86535</c:v>
                </c:pt>
                <c:pt idx="85">
                  <c:v>109076</c:v>
                </c:pt>
                <c:pt idx="86">
                  <c:v>70912</c:v>
                </c:pt>
                <c:pt idx="87">
                  <c:v>30284</c:v>
                </c:pt>
                <c:pt idx="88">
                  <c:v>38753</c:v>
                </c:pt>
                <c:pt idx="89">
                  <c:v>47520</c:v>
                </c:pt>
                <c:pt idx="90">
                  <c:v>55336</c:v>
                </c:pt>
                <c:pt idx="91">
                  <c:v>122843</c:v>
                </c:pt>
                <c:pt idx="92">
                  <c:v>190112</c:v>
                </c:pt>
                <c:pt idx="93">
                  <c:v>159134</c:v>
                </c:pt>
                <c:pt idx="94">
                  <c:v>160254</c:v>
                </c:pt>
                <c:pt idx="95">
                  <c:v>334412</c:v>
                </c:pt>
                <c:pt idx="96">
                  <c:v>7227</c:v>
                </c:pt>
                <c:pt idx="97">
                  <c:v>2106</c:v>
                </c:pt>
                <c:pt idx="98">
                  <c:v>0</c:v>
                </c:pt>
                <c:pt idx="99">
                  <c:v>0</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219792786125353E-2"/>
          <c:y val="0.22555108645669017"/>
          <c:w val="0.96766497516299987"/>
          <c:h val="0.76466540290122786"/>
        </c:manualLayout>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70</c:f>
              <c:numCache>
                <c:formatCode>yyyy\-mm\-dd</c:formatCode>
                <c:ptCount val="69"/>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109</c:v>
                </c:pt>
                <c:pt idx="21">
                  <c:v>45130</c:v>
                </c:pt>
                <c:pt idx="22">
                  <c:v>45172</c:v>
                </c:pt>
                <c:pt idx="23">
                  <c:v>45179</c:v>
                </c:pt>
                <c:pt idx="24">
                  <c:v>45186</c:v>
                </c:pt>
                <c:pt idx="25">
                  <c:v>45193</c:v>
                </c:pt>
                <c:pt idx="26">
                  <c:v>45200</c:v>
                </c:pt>
                <c:pt idx="27">
                  <c:v>45207</c:v>
                </c:pt>
                <c:pt idx="28">
                  <c:v>45214</c:v>
                </c:pt>
                <c:pt idx="29">
                  <c:v>45221</c:v>
                </c:pt>
                <c:pt idx="30">
                  <c:v>45228</c:v>
                </c:pt>
                <c:pt idx="31">
                  <c:v>45235</c:v>
                </c:pt>
                <c:pt idx="32">
                  <c:v>45242</c:v>
                </c:pt>
                <c:pt idx="33">
                  <c:v>45249</c:v>
                </c:pt>
                <c:pt idx="34">
                  <c:v>45256</c:v>
                </c:pt>
                <c:pt idx="35">
                  <c:v>45263</c:v>
                </c:pt>
                <c:pt idx="36">
                  <c:v>45270</c:v>
                </c:pt>
                <c:pt idx="37">
                  <c:v>45277</c:v>
                </c:pt>
                <c:pt idx="38">
                  <c:v>45284</c:v>
                </c:pt>
                <c:pt idx="39">
                  <c:v>45291</c:v>
                </c:pt>
                <c:pt idx="40">
                  <c:v>45298</c:v>
                </c:pt>
                <c:pt idx="41">
                  <c:v>45305</c:v>
                </c:pt>
                <c:pt idx="42">
                  <c:v>45312</c:v>
                </c:pt>
                <c:pt idx="43">
                  <c:v>45319</c:v>
                </c:pt>
                <c:pt idx="44">
                  <c:v>45326</c:v>
                </c:pt>
                <c:pt idx="45">
                  <c:v>45333</c:v>
                </c:pt>
                <c:pt idx="46">
                  <c:v>45340</c:v>
                </c:pt>
                <c:pt idx="47">
                  <c:v>45347</c:v>
                </c:pt>
                <c:pt idx="48">
                  <c:v>45354</c:v>
                </c:pt>
                <c:pt idx="49">
                  <c:v>45396</c:v>
                </c:pt>
                <c:pt idx="50">
                  <c:v>45438</c:v>
                </c:pt>
                <c:pt idx="51">
                  <c:v>45445</c:v>
                </c:pt>
                <c:pt idx="52">
                  <c:v>45515</c:v>
                </c:pt>
                <c:pt idx="53">
                  <c:v>45543</c:v>
                </c:pt>
                <c:pt idx="54">
                  <c:v>45578</c:v>
                </c:pt>
                <c:pt idx="55">
                  <c:v>45585</c:v>
                </c:pt>
                <c:pt idx="56">
                  <c:v>45592</c:v>
                </c:pt>
                <c:pt idx="57">
                  <c:v>45599</c:v>
                </c:pt>
                <c:pt idx="58">
                  <c:v>45606</c:v>
                </c:pt>
                <c:pt idx="59">
                  <c:v>45613</c:v>
                </c:pt>
                <c:pt idx="60">
                  <c:v>45620</c:v>
                </c:pt>
                <c:pt idx="61">
                  <c:v>45627</c:v>
                </c:pt>
                <c:pt idx="62">
                  <c:v>45634</c:v>
                </c:pt>
                <c:pt idx="63">
                  <c:v>45641</c:v>
                </c:pt>
                <c:pt idx="64">
                  <c:v>45648</c:v>
                </c:pt>
                <c:pt idx="65">
                  <c:v>45655</c:v>
                </c:pt>
                <c:pt idx="66">
                  <c:v>45662</c:v>
                </c:pt>
                <c:pt idx="67">
                  <c:v>45669</c:v>
                </c:pt>
                <c:pt idx="68">
                  <c:v>45676</c:v>
                </c:pt>
              </c:numCache>
            </c:numRef>
          </c:cat>
          <c:val>
            <c:numRef>
              <c:f>Sheet1!$B$2:$B$70</c:f>
              <c:numCache>
                <c:formatCode>General</c:formatCode>
                <c:ptCount val="69"/>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numCache>
            </c:numRef>
          </c:val>
          <c:extLst>
            <c:ext xmlns:c16="http://schemas.microsoft.com/office/drawing/2014/chart" uri="{C3380CC4-5D6E-409C-BE32-E72D297353CC}">
              <c16:uniqueId val="{00000001-E3C4-46BC-AA3D-A3795B7CC7BA}"/>
            </c:ext>
          </c:extLst>
        </c:ser>
        <c:ser>
          <c:idx val="0"/>
          <c:order val="1"/>
          <c:tx>
            <c:strRef>
              <c:f>Sheet1!$C$1</c:f>
              <c:strCache>
                <c:ptCount val="1"/>
                <c:pt idx="0">
                  <c:v>Promo Volume</c:v>
                </c:pt>
              </c:strCache>
            </c:strRef>
          </c:tx>
          <c:spPr>
            <a:solidFill>
              <a:schemeClr val="accent3"/>
            </a:solidFill>
            <a:ln>
              <a:noFill/>
            </a:ln>
            <a:effectLst/>
          </c:spPr>
          <c:invertIfNegative val="0"/>
          <c:cat>
            <c:numRef>
              <c:f>Sheet1!$A$2:$A$70</c:f>
              <c:numCache>
                <c:formatCode>yyyy\-mm\-dd</c:formatCode>
                <c:ptCount val="69"/>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109</c:v>
                </c:pt>
                <c:pt idx="21">
                  <c:v>45130</c:v>
                </c:pt>
                <c:pt idx="22">
                  <c:v>45172</c:v>
                </c:pt>
                <c:pt idx="23">
                  <c:v>45179</c:v>
                </c:pt>
                <c:pt idx="24">
                  <c:v>45186</c:v>
                </c:pt>
                <c:pt idx="25">
                  <c:v>45193</c:v>
                </c:pt>
                <c:pt idx="26">
                  <c:v>45200</c:v>
                </c:pt>
                <c:pt idx="27">
                  <c:v>45207</c:v>
                </c:pt>
                <c:pt idx="28">
                  <c:v>45214</c:v>
                </c:pt>
                <c:pt idx="29">
                  <c:v>45221</c:v>
                </c:pt>
                <c:pt idx="30">
                  <c:v>45228</c:v>
                </c:pt>
                <c:pt idx="31">
                  <c:v>45235</c:v>
                </c:pt>
                <c:pt idx="32">
                  <c:v>45242</c:v>
                </c:pt>
                <c:pt idx="33">
                  <c:v>45249</c:v>
                </c:pt>
                <c:pt idx="34">
                  <c:v>45256</c:v>
                </c:pt>
                <c:pt idx="35">
                  <c:v>45263</c:v>
                </c:pt>
                <c:pt idx="36">
                  <c:v>45270</c:v>
                </c:pt>
                <c:pt idx="37">
                  <c:v>45277</c:v>
                </c:pt>
                <c:pt idx="38">
                  <c:v>45284</c:v>
                </c:pt>
                <c:pt idx="39">
                  <c:v>45291</c:v>
                </c:pt>
                <c:pt idx="40">
                  <c:v>45298</c:v>
                </c:pt>
                <c:pt idx="41">
                  <c:v>45305</c:v>
                </c:pt>
                <c:pt idx="42">
                  <c:v>45312</c:v>
                </c:pt>
                <c:pt idx="43">
                  <c:v>45319</c:v>
                </c:pt>
                <c:pt idx="44">
                  <c:v>45326</c:v>
                </c:pt>
                <c:pt idx="45">
                  <c:v>45333</c:v>
                </c:pt>
                <c:pt idx="46">
                  <c:v>45340</c:v>
                </c:pt>
                <c:pt idx="47">
                  <c:v>45347</c:v>
                </c:pt>
                <c:pt idx="48">
                  <c:v>45354</c:v>
                </c:pt>
                <c:pt idx="49">
                  <c:v>45396</c:v>
                </c:pt>
                <c:pt idx="50">
                  <c:v>45438</c:v>
                </c:pt>
                <c:pt idx="51">
                  <c:v>45445</c:v>
                </c:pt>
                <c:pt idx="52">
                  <c:v>45515</c:v>
                </c:pt>
                <c:pt idx="53">
                  <c:v>45543</c:v>
                </c:pt>
                <c:pt idx="54">
                  <c:v>45578</c:v>
                </c:pt>
                <c:pt idx="55">
                  <c:v>45585</c:v>
                </c:pt>
                <c:pt idx="56">
                  <c:v>45592</c:v>
                </c:pt>
                <c:pt idx="57">
                  <c:v>45599</c:v>
                </c:pt>
                <c:pt idx="58">
                  <c:v>45606</c:v>
                </c:pt>
                <c:pt idx="59">
                  <c:v>45613</c:v>
                </c:pt>
                <c:pt idx="60">
                  <c:v>45620</c:v>
                </c:pt>
                <c:pt idx="61">
                  <c:v>45627</c:v>
                </c:pt>
                <c:pt idx="62">
                  <c:v>45634</c:v>
                </c:pt>
                <c:pt idx="63">
                  <c:v>45641</c:v>
                </c:pt>
                <c:pt idx="64">
                  <c:v>45648</c:v>
                </c:pt>
                <c:pt idx="65">
                  <c:v>45655</c:v>
                </c:pt>
                <c:pt idx="66">
                  <c:v>45662</c:v>
                </c:pt>
                <c:pt idx="67">
                  <c:v>45669</c:v>
                </c:pt>
                <c:pt idx="68">
                  <c:v>45676</c:v>
                </c:pt>
              </c:numCache>
            </c:numRef>
          </c:cat>
          <c:val>
            <c:numRef>
              <c:f>Sheet1!$C$2:$C$70</c:f>
              <c:numCache>
                <c:formatCode>General</c:formatCode>
                <c:ptCount val="69"/>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3050</c:v>
                </c:pt>
                <c:pt idx="32">
                  <c:v>4675</c:v>
                </c:pt>
                <c:pt idx="33">
                  <c:v>4890</c:v>
                </c:pt>
                <c:pt idx="34">
                  <c:v>5500</c:v>
                </c:pt>
                <c:pt idx="35">
                  <c:v>0</c:v>
                </c:pt>
                <c:pt idx="36">
                  <c:v>4865</c:v>
                </c:pt>
                <c:pt idx="37">
                  <c:v>10250</c:v>
                </c:pt>
                <c:pt idx="38">
                  <c:v>41340</c:v>
                </c:pt>
                <c:pt idx="39">
                  <c:v>22155</c:v>
                </c:pt>
                <c:pt idx="40">
                  <c:v>12445</c:v>
                </c:pt>
                <c:pt idx="41">
                  <c:v>38375</c:v>
                </c:pt>
                <c:pt idx="42">
                  <c:v>31810</c:v>
                </c:pt>
                <c:pt idx="43">
                  <c:v>13205</c:v>
                </c:pt>
                <c:pt idx="44">
                  <c:v>3790</c:v>
                </c:pt>
                <c:pt idx="45">
                  <c:v>1290</c:v>
                </c:pt>
                <c:pt idx="46">
                  <c:v>520</c:v>
                </c:pt>
                <c:pt idx="47">
                  <c:v>340</c:v>
                </c:pt>
                <c:pt idx="48">
                  <c:v>265</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numCache>
            </c:numRef>
          </c:val>
          <c:extLst>
            <c:ext xmlns:c16="http://schemas.microsoft.com/office/drawing/2014/chart" uri="{C3380CC4-5D6E-409C-BE32-E72D297353CC}">
              <c16:uniqueId val="{00000000-E3C4-46BC-AA3D-A3795B7CC7B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yyyy\-mm\-dd"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3-3C16-4125-B97A-D0EBA9D0B1CF}"/>
              </c:ext>
            </c:extLst>
          </c:dPt>
          <c:dPt>
            <c:idx val="1"/>
            <c:invertIfNegative val="0"/>
            <c:bubble3D val="0"/>
            <c:spPr>
              <a:solidFill>
                <a:srgbClr val="FFBFBF"/>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c:v>
                </c:pt>
                <c:pt idx="1">
                  <c:v>Harry's</c:v>
                </c:pt>
              </c:strCache>
            </c:strRef>
          </c:cat>
          <c:val>
            <c:numRef>
              <c:f>Sheet1!$B$2:$B$3</c:f>
              <c:numCache>
                <c:formatCode>General</c:formatCode>
                <c:ptCount val="2"/>
                <c:pt idx="0">
                  <c:v>5.8000000000000052E-2</c:v>
                </c:pt>
                <c:pt idx="1">
                  <c:v>-0.52</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70</c:f>
              <c:numCache>
                <c:formatCode>yyyy\-mm\-dd</c:formatCode>
                <c:ptCount val="69"/>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109</c:v>
                </c:pt>
                <c:pt idx="21">
                  <c:v>45130</c:v>
                </c:pt>
                <c:pt idx="22">
                  <c:v>45172</c:v>
                </c:pt>
                <c:pt idx="23">
                  <c:v>45179</c:v>
                </c:pt>
                <c:pt idx="24">
                  <c:v>45186</c:v>
                </c:pt>
                <c:pt idx="25">
                  <c:v>45193</c:v>
                </c:pt>
                <c:pt idx="26">
                  <c:v>45200</c:v>
                </c:pt>
                <c:pt idx="27">
                  <c:v>45207</c:v>
                </c:pt>
                <c:pt idx="28">
                  <c:v>45214</c:v>
                </c:pt>
                <c:pt idx="29">
                  <c:v>45221</c:v>
                </c:pt>
                <c:pt idx="30">
                  <c:v>45228</c:v>
                </c:pt>
                <c:pt idx="31">
                  <c:v>45235</c:v>
                </c:pt>
                <c:pt idx="32">
                  <c:v>45242</c:v>
                </c:pt>
                <c:pt idx="33">
                  <c:v>45249</c:v>
                </c:pt>
                <c:pt idx="34">
                  <c:v>45256</c:v>
                </c:pt>
                <c:pt idx="35">
                  <c:v>45263</c:v>
                </c:pt>
                <c:pt idx="36">
                  <c:v>45270</c:v>
                </c:pt>
                <c:pt idx="37">
                  <c:v>45277</c:v>
                </c:pt>
                <c:pt idx="38">
                  <c:v>45284</c:v>
                </c:pt>
                <c:pt idx="39">
                  <c:v>45291</c:v>
                </c:pt>
                <c:pt idx="40">
                  <c:v>45298</c:v>
                </c:pt>
                <c:pt idx="41">
                  <c:v>45305</c:v>
                </c:pt>
                <c:pt idx="42">
                  <c:v>45312</c:v>
                </c:pt>
                <c:pt idx="43">
                  <c:v>45319</c:v>
                </c:pt>
                <c:pt idx="44">
                  <c:v>45326</c:v>
                </c:pt>
                <c:pt idx="45">
                  <c:v>45333</c:v>
                </c:pt>
                <c:pt idx="46">
                  <c:v>45340</c:v>
                </c:pt>
                <c:pt idx="47">
                  <c:v>45347</c:v>
                </c:pt>
                <c:pt idx="48">
                  <c:v>45354</c:v>
                </c:pt>
                <c:pt idx="49">
                  <c:v>45396</c:v>
                </c:pt>
                <c:pt idx="50">
                  <c:v>45438</c:v>
                </c:pt>
                <c:pt idx="51">
                  <c:v>45445</c:v>
                </c:pt>
                <c:pt idx="52">
                  <c:v>45515</c:v>
                </c:pt>
                <c:pt idx="53">
                  <c:v>45543</c:v>
                </c:pt>
                <c:pt idx="54">
                  <c:v>45578</c:v>
                </c:pt>
                <c:pt idx="55">
                  <c:v>45585</c:v>
                </c:pt>
                <c:pt idx="56">
                  <c:v>45592</c:v>
                </c:pt>
                <c:pt idx="57">
                  <c:v>45599</c:v>
                </c:pt>
                <c:pt idx="58">
                  <c:v>45606</c:v>
                </c:pt>
                <c:pt idx="59">
                  <c:v>45613</c:v>
                </c:pt>
                <c:pt idx="60">
                  <c:v>45620</c:v>
                </c:pt>
                <c:pt idx="61">
                  <c:v>45627</c:v>
                </c:pt>
                <c:pt idx="62">
                  <c:v>45634</c:v>
                </c:pt>
                <c:pt idx="63">
                  <c:v>45641</c:v>
                </c:pt>
                <c:pt idx="64">
                  <c:v>45648</c:v>
                </c:pt>
                <c:pt idx="65">
                  <c:v>45655</c:v>
                </c:pt>
                <c:pt idx="66">
                  <c:v>45662</c:v>
                </c:pt>
                <c:pt idx="67">
                  <c:v>45669</c:v>
                </c:pt>
                <c:pt idx="68">
                  <c:v>45676</c:v>
                </c:pt>
              </c:numCache>
            </c:numRef>
          </c:cat>
          <c:val>
            <c:numRef>
              <c:f>Sheet1!$B$2:$B$70</c:f>
              <c:numCache>
                <c:formatCode>General</c:formatCode>
                <c:ptCount val="69"/>
                <c:pt idx="0">
                  <c:v>13576</c:v>
                </c:pt>
                <c:pt idx="1">
                  <c:v>13938</c:v>
                </c:pt>
                <c:pt idx="2">
                  <c:v>13671</c:v>
                </c:pt>
                <c:pt idx="3">
                  <c:v>13438</c:v>
                </c:pt>
                <c:pt idx="4">
                  <c:v>13656</c:v>
                </c:pt>
                <c:pt idx="5">
                  <c:v>14826</c:v>
                </c:pt>
                <c:pt idx="6">
                  <c:v>13856</c:v>
                </c:pt>
                <c:pt idx="7">
                  <c:v>13529</c:v>
                </c:pt>
                <c:pt idx="8">
                  <c:v>16116</c:v>
                </c:pt>
                <c:pt idx="9">
                  <c:v>14415</c:v>
                </c:pt>
                <c:pt idx="10">
                  <c:v>14534</c:v>
                </c:pt>
                <c:pt idx="11">
                  <c:v>15128</c:v>
                </c:pt>
                <c:pt idx="12">
                  <c:v>15431</c:v>
                </c:pt>
                <c:pt idx="13">
                  <c:v>17261</c:v>
                </c:pt>
                <c:pt idx="14">
                  <c:v>14172</c:v>
                </c:pt>
                <c:pt idx="15">
                  <c:v>14127</c:v>
                </c:pt>
                <c:pt idx="16">
                  <c:v>14914</c:v>
                </c:pt>
                <c:pt idx="17">
                  <c:v>17334</c:v>
                </c:pt>
                <c:pt idx="18">
                  <c:v>16224</c:v>
                </c:pt>
                <c:pt idx="19">
                  <c:v>16032</c:v>
                </c:pt>
                <c:pt idx="20">
                  <c:v>16776</c:v>
                </c:pt>
                <c:pt idx="21">
                  <c:v>15128</c:v>
                </c:pt>
                <c:pt idx="22">
                  <c:v>18795</c:v>
                </c:pt>
                <c:pt idx="23">
                  <c:v>19766</c:v>
                </c:pt>
                <c:pt idx="24">
                  <c:v>17420</c:v>
                </c:pt>
                <c:pt idx="25">
                  <c:v>16674</c:v>
                </c:pt>
                <c:pt idx="26">
                  <c:v>15378</c:v>
                </c:pt>
                <c:pt idx="27">
                  <c:v>15319</c:v>
                </c:pt>
                <c:pt idx="28">
                  <c:v>13354</c:v>
                </c:pt>
                <c:pt idx="29">
                  <c:v>14496</c:v>
                </c:pt>
                <c:pt idx="30">
                  <c:v>13756</c:v>
                </c:pt>
                <c:pt idx="31">
                  <c:v>13690</c:v>
                </c:pt>
                <c:pt idx="32">
                  <c:v>15510</c:v>
                </c:pt>
                <c:pt idx="33">
                  <c:v>14524</c:v>
                </c:pt>
                <c:pt idx="34">
                  <c:v>13783</c:v>
                </c:pt>
                <c:pt idx="35">
                  <c:v>14692</c:v>
                </c:pt>
                <c:pt idx="36">
                  <c:v>15120</c:v>
                </c:pt>
                <c:pt idx="37">
                  <c:v>11270</c:v>
                </c:pt>
                <c:pt idx="38">
                  <c:v>11241</c:v>
                </c:pt>
                <c:pt idx="39">
                  <c:v>7087</c:v>
                </c:pt>
                <c:pt idx="40">
                  <c:v>8989</c:v>
                </c:pt>
                <c:pt idx="41">
                  <c:v>11750</c:v>
                </c:pt>
                <c:pt idx="42">
                  <c:v>19892</c:v>
                </c:pt>
                <c:pt idx="43">
                  <c:v>23063</c:v>
                </c:pt>
                <c:pt idx="44">
                  <c:v>24509</c:v>
                </c:pt>
                <c:pt idx="45">
                  <c:v>26931</c:v>
                </c:pt>
                <c:pt idx="46">
                  <c:v>23148</c:v>
                </c:pt>
                <c:pt idx="47">
                  <c:v>0</c:v>
                </c:pt>
                <c:pt idx="48">
                  <c:v>23826</c:v>
                </c:pt>
                <c:pt idx="49">
                  <c:v>19687</c:v>
                </c:pt>
                <c:pt idx="50">
                  <c:v>23939</c:v>
                </c:pt>
                <c:pt idx="51">
                  <c:v>26969</c:v>
                </c:pt>
                <c:pt idx="52">
                  <c:v>25998</c:v>
                </c:pt>
                <c:pt idx="53">
                  <c:v>25833</c:v>
                </c:pt>
                <c:pt idx="54">
                  <c:v>19490</c:v>
                </c:pt>
                <c:pt idx="55">
                  <c:v>18353</c:v>
                </c:pt>
                <c:pt idx="56">
                  <c:v>20147</c:v>
                </c:pt>
                <c:pt idx="57">
                  <c:v>22422</c:v>
                </c:pt>
                <c:pt idx="58">
                  <c:v>23182</c:v>
                </c:pt>
                <c:pt idx="59">
                  <c:v>21596</c:v>
                </c:pt>
                <c:pt idx="60">
                  <c:v>21277</c:v>
                </c:pt>
                <c:pt idx="61">
                  <c:v>20811</c:v>
                </c:pt>
                <c:pt idx="62">
                  <c:v>22963</c:v>
                </c:pt>
                <c:pt idx="63">
                  <c:v>22045</c:v>
                </c:pt>
                <c:pt idx="64">
                  <c:v>24422</c:v>
                </c:pt>
                <c:pt idx="65">
                  <c:v>24901</c:v>
                </c:pt>
                <c:pt idx="66">
                  <c:v>20185</c:v>
                </c:pt>
                <c:pt idx="67">
                  <c:v>19080</c:v>
                </c:pt>
                <c:pt idx="68">
                  <c:v>21168</c:v>
                </c:pt>
              </c:numCache>
            </c:numRef>
          </c:val>
          <c:extLst>
            <c:ext xmlns:c16="http://schemas.microsoft.com/office/drawing/2014/chart" uri="{C3380CC4-5D6E-409C-BE32-E72D297353CC}">
              <c16:uniqueId val="{00000000-72A7-4D08-96D7-E73109FBDC9A}"/>
            </c:ext>
          </c:extLst>
        </c:ser>
        <c:ser>
          <c:idx val="0"/>
          <c:order val="1"/>
          <c:tx>
            <c:strRef>
              <c:f>Sheet1!$C$1</c:f>
              <c:strCache>
                <c:ptCount val="1"/>
                <c:pt idx="0">
                  <c:v>Promo Volume</c:v>
                </c:pt>
              </c:strCache>
            </c:strRef>
          </c:tx>
          <c:spPr>
            <a:solidFill>
              <a:schemeClr val="accent3"/>
            </a:solidFill>
            <a:ln>
              <a:noFill/>
            </a:ln>
            <a:effectLst/>
          </c:spPr>
          <c:invertIfNegative val="0"/>
          <c:cat>
            <c:numRef>
              <c:f>Sheet1!$A$2:$A$70</c:f>
              <c:numCache>
                <c:formatCode>yyyy\-mm\-dd</c:formatCode>
                <c:ptCount val="69"/>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109</c:v>
                </c:pt>
                <c:pt idx="21">
                  <c:v>45130</c:v>
                </c:pt>
                <c:pt idx="22">
                  <c:v>45172</c:v>
                </c:pt>
                <c:pt idx="23">
                  <c:v>45179</c:v>
                </c:pt>
                <c:pt idx="24">
                  <c:v>45186</c:v>
                </c:pt>
                <c:pt idx="25">
                  <c:v>45193</c:v>
                </c:pt>
                <c:pt idx="26">
                  <c:v>45200</c:v>
                </c:pt>
                <c:pt idx="27">
                  <c:v>45207</c:v>
                </c:pt>
                <c:pt idx="28">
                  <c:v>45214</c:v>
                </c:pt>
                <c:pt idx="29">
                  <c:v>45221</c:v>
                </c:pt>
                <c:pt idx="30">
                  <c:v>45228</c:v>
                </c:pt>
                <c:pt idx="31">
                  <c:v>45235</c:v>
                </c:pt>
                <c:pt idx="32">
                  <c:v>45242</c:v>
                </c:pt>
                <c:pt idx="33">
                  <c:v>45249</c:v>
                </c:pt>
                <c:pt idx="34">
                  <c:v>45256</c:v>
                </c:pt>
                <c:pt idx="35">
                  <c:v>45263</c:v>
                </c:pt>
                <c:pt idx="36">
                  <c:v>45270</c:v>
                </c:pt>
                <c:pt idx="37">
                  <c:v>45277</c:v>
                </c:pt>
                <c:pt idx="38">
                  <c:v>45284</c:v>
                </c:pt>
                <c:pt idx="39">
                  <c:v>45291</c:v>
                </c:pt>
                <c:pt idx="40">
                  <c:v>45298</c:v>
                </c:pt>
                <c:pt idx="41">
                  <c:v>45305</c:v>
                </c:pt>
                <c:pt idx="42">
                  <c:v>45312</c:v>
                </c:pt>
                <c:pt idx="43">
                  <c:v>45319</c:v>
                </c:pt>
                <c:pt idx="44">
                  <c:v>45326</c:v>
                </c:pt>
                <c:pt idx="45">
                  <c:v>45333</c:v>
                </c:pt>
                <c:pt idx="46">
                  <c:v>45340</c:v>
                </c:pt>
                <c:pt idx="47">
                  <c:v>45347</c:v>
                </c:pt>
                <c:pt idx="48">
                  <c:v>45354</c:v>
                </c:pt>
                <c:pt idx="49">
                  <c:v>45396</c:v>
                </c:pt>
                <c:pt idx="50">
                  <c:v>45438</c:v>
                </c:pt>
                <c:pt idx="51">
                  <c:v>45445</c:v>
                </c:pt>
                <c:pt idx="52">
                  <c:v>45515</c:v>
                </c:pt>
                <c:pt idx="53">
                  <c:v>45543</c:v>
                </c:pt>
                <c:pt idx="54">
                  <c:v>45578</c:v>
                </c:pt>
                <c:pt idx="55">
                  <c:v>45585</c:v>
                </c:pt>
                <c:pt idx="56">
                  <c:v>45592</c:v>
                </c:pt>
                <c:pt idx="57">
                  <c:v>45599</c:v>
                </c:pt>
                <c:pt idx="58">
                  <c:v>45606</c:v>
                </c:pt>
                <c:pt idx="59">
                  <c:v>45613</c:v>
                </c:pt>
                <c:pt idx="60">
                  <c:v>45620</c:v>
                </c:pt>
                <c:pt idx="61">
                  <c:v>45627</c:v>
                </c:pt>
                <c:pt idx="62">
                  <c:v>45634</c:v>
                </c:pt>
                <c:pt idx="63">
                  <c:v>45641</c:v>
                </c:pt>
                <c:pt idx="64">
                  <c:v>45648</c:v>
                </c:pt>
                <c:pt idx="65">
                  <c:v>45655</c:v>
                </c:pt>
                <c:pt idx="66">
                  <c:v>45662</c:v>
                </c:pt>
                <c:pt idx="67">
                  <c:v>45669</c:v>
                </c:pt>
                <c:pt idx="68">
                  <c:v>45676</c:v>
                </c:pt>
              </c:numCache>
            </c:numRef>
          </c:cat>
          <c:val>
            <c:numRef>
              <c:f>Sheet1!$C$2:$C$70</c:f>
              <c:numCache>
                <c:formatCode>General</c:formatCode>
                <c:ptCount val="69"/>
                <c:pt idx="0">
                  <c:v>23978</c:v>
                </c:pt>
                <c:pt idx="1">
                  <c:v>10804</c:v>
                </c:pt>
                <c:pt idx="2">
                  <c:v>10122</c:v>
                </c:pt>
                <c:pt idx="3">
                  <c:v>6851</c:v>
                </c:pt>
                <c:pt idx="4">
                  <c:v>4440</c:v>
                </c:pt>
                <c:pt idx="5">
                  <c:v>3738</c:v>
                </c:pt>
                <c:pt idx="6">
                  <c:v>3626</c:v>
                </c:pt>
                <c:pt idx="7">
                  <c:v>7762</c:v>
                </c:pt>
                <c:pt idx="8">
                  <c:v>3072</c:v>
                </c:pt>
                <c:pt idx="9">
                  <c:v>3168</c:v>
                </c:pt>
                <c:pt idx="10">
                  <c:v>6634</c:v>
                </c:pt>
                <c:pt idx="11">
                  <c:v>4082</c:v>
                </c:pt>
                <c:pt idx="12">
                  <c:v>2344</c:v>
                </c:pt>
                <c:pt idx="13">
                  <c:v>2224</c:v>
                </c:pt>
                <c:pt idx="14">
                  <c:v>3180</c:v>
                </c:pt>
                <c:pt idx="15">
                  <c:v>7882</c:v>
                </c:pt>
                <c:pt idx="16">
                  <c:v>3238</c:v>
                </c:pt>
                <c:pt idx="17">
                  <c:v>698</c:v>
                </c:pt>
                <c:pt idx="18">
                  <c:v>982</c:v>
                </c:pt>
                <c:pt idx="19">
                  <c:v>856</c:v>
                </c:pt>
                <c:pt idx="20">
                  <c:v>220</c:v>
                </c:pt>
                <c:pt idx="21">
                  <c:v>5228</c:v>
                </c:pt>
                <c:pt idx="22">
                  <c:v>1548</c:v>
                </c:pt>
                <c:pt idx="23">
                  <c:v>482</c:v>
                </c:pt>
                <c:pt idx="24">
                  <c:v>272</c:v>
                </c:pt>
                <c:pt idx="25">
                  <c:v>198</c:v>
                </c:pt>
                <c:pt idx="26">
                  <c:v>786</c:v>
                </c:pt>
                <c:pt idx="27">
                  <c:v>1586</c:v>
                </c:pt>
                <c:pt idx="28">
                  <c:v>10248</c:v>
                </c:pt>
                <c:pt idx="29">
                  <c:v>12301</c:v>
                </c:pt>
                <c:pt idx="30">
                  <c:v>13429</c:v>
                </c:pt>
                <c:pt idx="31">
                  <c:v>15451</c:v>
                </c:pt>
                <c:pt idx="32">
                  <c:v>16366</c:v>
                </c:pt>
                <c:pt idx="33">
                  <c:v>19322</c:v>
                </c:pt>
                <c:pt idx="34">
                  <c:v>31685</c:v>
                </c:pt>
                <c:pt idx="35">
                  <c:v>31237</c:v>
                </c:pt>
                <c:pt idx="36">
                  <c:v>41559</c:v>
                </c:pt>
                <c:pt idx="37">
                  <c:v>66466</c:v>
                </c:pt>
                <c:pt idx="38">
                  <c:v>120641</c:v>
                </c:pt>
                <c:pt idx="39">
                  <c:v>241388</c:v>
                </c:pt>
                <c:pt idx="40">
                  <c:v>29750</c:v>
                </c:pt>
                <c:pt idx="41">
                  <c:v>7619</c:v>
                </c:pt>
                <c:pt idx="42">
                  <c:v>3334</c:v>
                </c:pt>
                <c:pt idx="43">
                  <c:v>1899</c:v>
                </c:pt>
                <c:pt idx="44">
                  <c:v>901</c:v>
                </c:pt>
                <c:pt idx="45">
                  <c:v>922</c:v>
                </c:pt>
                <c:pt idx="46">
                  <c:v>4060</c:v>
                </c:pt>
                <c:pt idx="47">
                  <c:v>0</c:v>
                </c:pt>
                <c:pt idx="48">
                  <c:v>7035</c:v>
                </c:pt>
                <c:pt idx="49">
                  <c:v>6679</c:v>
                </c:pt>
                <c:pt idx="50">
                  <c:v>6952</c:v>
                </c:pt>
                <c:pt idx="51">
                  <c:v>41</c:v>
                </c:pt>
                <c:pt idx="52">
                  <c:v>1399</c:v>
                </c:pt>
                <c:pt idx="53">
                  <c:v>251</c:v>
                </c:pt>
                <c:pt idx="54">
                  <c:v>6667</c:v>
                </c:pt>
                <c:pt idx="55">
                  <c:v>12478</c:v>
                </c:pt>
                <c:pt idx="56">
                  <c:v>11650</c:v>
                </c:pt>
                <c:pt idx="57">
                  <c:v>10494</c:v>
                </c:pt>
                <c:pt idx="58">
                  <c:v>13315</c:v>
                </c:pt>
                <c:pt idx="59">
                  <c:v>16095</c:v>
                </c:pt>
                <c:pt idx="60">
                  <c:v>19979</c:v>
                </c:pt>
                <c:pt idx="61">
                  <c:v>32195</c:v>
                </c:pt>
                <c:pt idx="62">
                  <c:v>35366</c:v>
                </c:pt>
                <c:pt idx="63">
                  <c:v>49136</c:v>
                </c:pt>
                <c:pt idx="64">
                  <c:v>76958</c:v>
                </c:pt>
                <c:pt idx="65">
                  <c:v>200721</c:v>
                </c:pt>
                <c:pt idx="66">
                  <c:v>6529</c:v>
                </c:pt>
                <c:pt idx="67">
                  <c:v>1508</c:v>
                </c:pt>
                <c:pt idx="68">
                  <c:v>784</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70</c:f>
              <c:numCache>
                <c:formatCode>yyyy\-mm\-dd</c:formatCode>
                <c:ptCount val="69"/>
                <c:pt idx="0">
                  <c:v>44934</c:v>
                </c:pt>
                <c:pt idx="1">
                  <c:v>44941</c:v>
                </c:pt>
                <c:pt idx="2">
                  <c:v>44948</c:v>
                </c:pt>
                <c:pt idx="3">
                  <c:v>44955</c:v>
                </c:pt>
                <c:pt idx="4">
                  <c:v>44962</c:v>
                </c:pt>
                <c:pt idx="5">
                  <c:v>44969</c:v>
                </c:pt>
                <c:pt idx="6">
                  <c:v>44976</c:v>
                </c:pt>
                <c:pt idx="7">
                  <c:v>44983</c:v>
                </c:pt>
                <c:pt idx="8">
                  <c:v>44990</c:v>
                </c:pt>
                <c:pt idx="9">
                  <c:v>44997</c:v>
                </c:pt>
                <c:pt idx="10">
                  <c:v>45011</c:v>
                </c:pt>
                <c:pt idx="11">
                  <c:v>45130</c:v>
                </c:pt>
                <c:pt idx="12">
                  <c:v>45277</c:v>
                </c:pt>
                <c:pt idx="13">
                  <c:v>45284</c:v>
                </c:pt>
                <c:pt idx="14">
                  <c:v>45291</c:v>
                </c:pt>
                <c:pt idx="15">
                  <c:v>45298</c:v>
                </c:pt>
                <c:pt idx="16">
                  <c:v>45305</c:v>
                </c:pt>
                <c:pt idx="17">
                  <c:v>45312</c:v>
                </c:pt>
                <c:pt idx="18">
                  <c:v>45319</c:v>
                </c:pt>
                <c:pt idx="19">
                  <c:v>45326</c:v>
                </c:pt>
                <c:pt idx="20">
                  <c:v>45333</c:v>
                </c:pt>
                <c:pt idx="21">
                  <c:v>45340</c:v>
                </c:pt>
                <c:pt idx="22">
                  <c:v>45347</c:v>
                </c:pt>
                <c:pt idx="23">
                  <c:v>45354</c:v>
                </c:pt>
                <c:pt idx="24">
                  <c:v>45361</c:v>
                </c:pt>
                <c:pt idx="25">
                  <c:v>45368</c:v>
                </c:pt>
                <c:pt idx="26">
                  <c:v>45375</c:v>
                </c:pt>
                <c:pt idx="27">
                  <c:v>45382</c:v>
                </c:pt>
                <c:pt idx="28">
                  <c:v>45389</c:v>
                </c:pt>
                <c:pt idx="29">
                  <c:v>45396</c:v>
                </c:pt>
                <c:pt idx="30">
                  <c:v>45403</c:v>
                </c:pt>
                <c:pt idx="31">
                  <c:v>45410</c:v>
                </c:pt>
                <c:pt idx="32">
                  <c:v>45417</c:v>
                </c:pt>
                <c:pt idx="33">
                  <c:v>45424</c:v>
                </c:pt>
                <c:pt idx="34">
                  <c:v>45431</c:v>
                </c:pt>
                <c:pt idx="35">
                  <c:v>45438</c:v>
                </c:pt>
                <c:pt idx="36">
                  <c:v>45445</c:v>
                </c:pt>
                <c:pt idx="37">
                  <c:v>45452</c:v>
                </c:pt>
                <c:pt idx="38">
                  <c:v>45459</c:v>
                </c:pt>
                <c:pt idx="39">
                  <c:v>45466</c:v>
                </c:pt>
                <c:pt idx="40">
                  <c:v>45473</c:v>
                </c:pt>
                <c:pt idx="41">
                  <c:v>45480</c:v>
                </c:pt>
                <c:pt idx="42">
                  <c:v>45487</c:v>
                </c:pt>
                <c:pt idx="43">
                  <c:v>45494</c:v>
                </c:pt>
                <c:pt idx="44">
                  <c:v>45501</c:v>
                </c:pt>
                <c:pt idx="45">
                  <c:v>45508</c:v>
                </c:pt>
                <c:pt idx="46">
                  <c:v>45515</c:v>
                </c:pt>
                <c:pt idx="47">
                  <c:v>45522</c:v>
                </c:pt>
                <c:pt idx="48">
                  <c:v>45529</c:v>
                </c:pt>
                <c:pt idx="49">
                  <c:v>45536</c:v>
                </c:pt>
                <c:pt idx="50">
                  <c:v>45550</c:v>
                </c:pt>
                <c:pt idx="51">
                  <c:v>45564</c:v>
                </c:pt>
                <c:pt idx="52">
                  <c:v>45571</c:v>
                </c:pt>
                <c:pt idx="53">
                  <c:v>45578</c:v>
                </c:pt>
                <c:pt idx="54">
                  <c:v>45585</c:v>
                </c:pt>
                <c:pt idx="55">
                  <c:v>45592</c:v>
                </c:pt>
                <c:pt idx="56">
                  <c:v>45599</c:v>
                </c:pt>
                <c:pt idx="57">
                  <c:v>45606</c:v>
                </c:pt>
                <c:pt idx="58">
                  <c:v>45613</c:v>
                </c:pt>
                <c:pt idx="59">
                  <c:v>45620</c:v>
                </c:pt>
                <c:pt idx="60">
                  <c:v>45627</c:v>
                </c:pt>
                <c:pt idx="61">
                  <c:v>45634</c:v>
                </c:pt>
                <c:pt idx="62">
                  <c:v>45641</c:v>
                </c:pt>
                <c:pt idx="63">
                  <c:v>45648</c:v>
                </c:pt>
                <c:pt idx="64">
                  <c:v>45655</c:v>
                </c:pt>
                <c:pt idx="65">
                  <c:v>45662</c:v>
                </c:pt>
                <c:pt idx="66">
                  <c:v>45669</c:v>
                </c:pt>
                <c:pt idx="67">
                  <c:v>45676</c:v>
                </c:pt>
                <c:pt idx="68">
                  <c:v>45683</c:v>
                </c:pt>
              </c:numCache>
            </c:numRef>
          </c:cat>
          <c:val>
            <c:numRef>
              <c:f>Sheet1!$B$2:$B$70</c:f>
              <c:numCache>
                <c:formatCode>General</c:formatCode>
                <c:ptCount val="69"/>
                <c:pt idx="0">
                  <c:v>71040</c:v>
                </c:pt>
                <c:pt idx="1">
                  <c:v>75441</c:v>
                </c:pt>
                <c:pt idx="2">
                  <c:v>77128</c:v>
                </c:pt>
                <c:pt idx="3">
                  <c:v>75990</c:v>
                </c:pt>
                <c:pt idx="4">
                  <c:v>79592</c:v>
                </c:pt>
                <c:pt idx="5">
                  <c:v>73840</c:v>
                </c:pt>
                <c:pt idx="6">
                  <c:v>68352</c:v>
                </c:pt>
                <c:pt idx="7">
                  <c:v>69768</c:v>
                </c:pt>
                <c:pt idx="8">
                  <c:v>74872</c:v>
                </c:pt>
                <c:pt idx="9">
                  <c:v>69492</c:v>
                </c:pt>
                <c:pt idx="10">
                  <c:v>69464</c:v>
                </c:pt>
                <c:pt idx="11">
                  <c:v>71006</c:v>
                </c:pt>
                <c:pt idx="12">
                  <c:v>69588</c:v>
                </c:pt>
                <c:pt idx="13">
                  <c:v>73700</c:v>
                </c:pt>
                <c:pt idx="14">
                  <c:v>52066</c:v>
                </c:pt>
                <c:pt idx="15">
                  <c:v>61325</c:v>
                </c:pt>
                <c:pt idx="16">
                  <c:v>61836</c:v>
                </c:pt>
                <c:pt idx="17">
                  <c:v>67454</c:v>
                </c:pt>
                <c:pt idx="18">
                  <c:v>73676</c:v>
                </c:pt>
                <c:pt idx="19">
                  <c:v>65022</c:v>
                </c:pt>
                <c:pt idx="20">
                  <c:v>52405</c:v>
                </c:pt>
                <c:pt idx="21">
                  <c:v>45461</c:v>
                </c:pt>
                <c:pt idx="22">
                  <c:v>42749</c:v>
                </c:pt>
                <c:pt idx="23">
                  <c:v>41355</c:v>
                </c:pt>
                <c:pt idx="24">
                  <c:v>42039</c:v>
                </c:pt>
                <c:pt idx="25">
                  <c:v>48360</c:v>
                </c:pt>
                <c:pt idx="26">
                  <c:v>59745</c:v>
                </c:pt>
                <c:pt idx="27">
                  <c:v>59538</c:v>
                </c:pt>
                <c:pt idx="28">
                  <c:v>60468</c:v>
                </c:pt>
                <c:pt idx="29">
                  <c:v>59251</c:v>
                </c:pt>
                <c:pt idx="30">
                  <c:v>57589</c:v>
                </c:pt>
                <c:pt idx="31">
                  <c:v>57841</c:v>
                </c:pt>
                <c:pt idx="32">
                  <c:v>60307</c:v>
                </c:pt>
                <c:pt idx="33">
                  <c:v>59512</c:v>
                </c:pt>
                <c:pt idx="34">
                  <c:v>56718</c:v>
                </c:pt>
                <c:pt idx="35">
                  <c:v>67465</c:v>
                </c:pt>
                <c:pt idx="36">
                  <c:v>71356</c:v>
                </c:pt>
                <c:pt idx="37">
                  <c:v>75809</c:v>
                </c:pt>
                <c:pt idx="38">
                  <c:v>72235</c:v>
                </c:pt>
                <c:pt idx="39">
                  <c:v>70456</c:v>
                </c:pt>
                <c:pt idx="40">
                  <c:v>70886</c:v>
                </c:pt>
                <c:pt idx="41">
                  <c:v>78431</c:v>
                </c:pt>
                <c:pt idx="42">
                  <c:v>63776</c:v>
                </c:pt>
                <c:pt idx="43">
                  <c:v>60217</c:v>
                </c:pt>
                <c:pt idx="44">
                  <c:v>57018</c:v>
                </c:pt>
                <c:pt idx="45">
                  <c:v>61616</c:v>
                </c:pt>
                <c:pt idx="46">
                  <c:v>69698</c:v>
                </c:pt>
                <c:pt idx="47">
                  <c:v>68886</c:v>
                </c:pt>
                <c:pt idx="48">
                  <c:v>71557</c:v>
                </c:pt>
                <c:pt idx="49">
                  <c:v>68633</c:v>
                </c:pt>
                <c:pt idx="50">
                  <c:v>67723</c:v>
                </c:pt>
                <c:pt idx="51">
                  <c:v>63458</c:v>
                </c:pt>
                <c:pt idx="52">
                  <c:v>70289</c:v>
                </c:pt>
                <c:pt idx="53">
                  <c:v>56060</c:v>
                </c:pt>
                <c:pt idx="54">
                  <c:v>54396</c:v>
                </c:pt>
                <c:pt idx="55">
                  <c:v>61018</c:v>
                </c:pt>
                <c:pt idx="56">
                  <c:v>68521</c:v>
                </c:pt>
                <c:pt idx="57">
                  <c:v>72873</c:v>
                </c:pt>
                <c:pt idx="58">
                  <c:v>50650</c:v>
                </c:pt>
                <c:pt idx="59">
                  <c:v>1952</c:v>
                </c:pt>
                <c:pt idx="60">
                  <c:v>1316</c:v>
                </c:pt>
                <c:pt idx="61">
                  <c:v>1709</c:v>
                </c:pt>
                <c:pt idx="62">
                  <c:v>1010</c:v>
                </c:pt>
                <c:pt idx="63">
                  <c:v>653</c:v>
                </c:pt>
                <c:pt idx="64">
                  <c:v>722</c:v>
                </c:pt>
                <c:pt idx="65">
                  <c:v>1119</c:v>
                </c:pt>
                <c:pt idx="66">
                  <c:v>2109</c:v>
                </c:pt>
                <c:pt idx="67">
                  <c:v>3706</c:v>
                </c:pt>
                <c:pt idx="68">
                  <c:v>5032</c:v>
                </c:pt>
              </c:numCache>
            </c:numRef>
          </c:val>
          <c:extLst>
            <c:ext xmlns:c16="http://schemas.microsoft.com/office/drawing/2014/chart" uri="{C3380CC4-5D6E-409C-BE32-E72D297353CC}">
              <c16:uniqueId val="{00000000-72A7-4D08-96D7-E73109FBDC9A}"/>
            </c:ext>
          </c:extLst>
        </c:ser>
        <c:ser>
          <c:idx val="0"/>
          <c:order val="1"/>
          <c:tx>
            <c:strRef>
              <c:f>Sheet1!$C$1</c:f>
              <c:strCache>
                <c:ptCount val="1"/>
                <c:pt idx="0">
                  <c:v>Promo Volume</c:v>
                </c:pt>
              </c:strCache>
            </c:strRef>
          </c:tx>
          <c:spPr>
            <a:solidFill>
              <a:schemeClr val="accent3"/>
            </a:solidFill>
            <a:ln>
              <a:noFill/>
            </a:ln>
            <a:effectLst/>
          </c:spPr>
          <c:invertIfNegative val="0"/>
          <c:cat>
            <c:numRef>
              <c:f>Sheet1!$A$2:$A$70</c:f>
              <c:numCache>
                <c:formatCode>yyyy\-mm\-dd</c:formatCode>
                <c:ptCount val="69"/>
                <c:pt idx="0">
                  <c:v>44934</c:v>
                </c:pt>
                <c:pt idx="1">
                  <c:v>44941</c:v>
                </c:pt>
                <c:pt idx="2">
                  <c:v>44948</c:v>
                </c:pt>
                <c:pt idx="3">
                  <c:v>44955</c:v>
                </c:pt>
                <c:pt idx="4">
                  <c:v>44962</c:v>
                </c:pt>
                <c:pt idx="5">
                  <c:v>44969</c:v>
                </c:pt>
                <c:pt idx="6">
                  <c:v>44976</c:v>
                </c:pt>
                <c:pt idx="7">
                  <c:v>44983</c:v>
                </c:pt>
                <c:pt idx="8">
                  <c:v>44990</c:v>
                </c:pt>
                <c:pt idx="9">
                  <c:v>44997</c:v>
                </c:pt>
                <c:pt idx="10">
                  <c:v>45011</c:v>
                </c:pt>
                <c:pt idx="11">
                  <c:v>45130</c:v>
                </c:pt>
                <c:pt idx="12">
                  <c:v>45277</c:v>
                </c:pt>
                <c:pt idx="13">
                  <c:v>45284</c:v>
                </c:pt>
                <c:pt idx="14">
                  <c:v>45291</c:v>
                </c:pt>
                <c:pt idx="15">
                  <c:v>45298</c:v>
                </c:pt>
                <c:pt idx="16">
                  <c:v>45305</c:v>
                </c:pt>
                <c:pt idx="17">
                  <c:v>45312</c:v>
                </c:pt>
                <c:pt idx="18">
                  <c:v>45319</c:v>
                </c:pt>
                <c:pt idx="19">
                  <c:v>45326</c:v>
                </c:pt>
                <c:pt idx="20">
                  <c:v>45333</c:v>
                </c:pt>
                <c:pt idx="21">
                  <c:v>45340</c:v>
                </c:pt>
                <c:pt idx="22">
                  <c:v>45347</c:v>
                </c:pt>
                <c:pt idx="23">
                  <c:v>45354</c:v>
                </c:pt>
                <c:pt idx="24">
                  <c:v>45361</c:v>
                </c:pt>
                <c:pt idx="25">
                  <c:v>45368</c:v>
                </c:pt>
                <c:pt idx="26">
                  <c:v>45375</c:v>
                </c:pt>
                <c:pt idx="27">
                  <c:v>45382</c:v>
                </c:pt>
                <c:pt idx="28">
                  <c:v>45389</c:v>
                </c:pt>
                <c:pt idx="29">
                  <c:v>45396</c:v>
                </c:pt>
                <c:pt idx="30">
                  <c:v>45403</c:v>
                </c:pt>
                <c:pt idx="31">
                  <c:v>45410</c:v>
                </c:pt>
                <c:pt idx="32">
                  <c:v>45417</c:v>
                </c:pt>
                <c:pt idx="33">
                  <c:v>45424</c:v>
                </c:pt>
                <c:pt idx="34">
                  <c:v>45431</c:v>
                </c:pt>
                <c:pt idx="35">
                  <c:v>45438</c:v>
                </c:pt>
                <c:pt idx="36">
                  <c:v>45445</c:v>
                </c:pt>
                <c:pt idx="37">
                  <c:v>45452</c:v>
                </c:pt>
                <c:pt idx="38">
                  <c:v>45459</c:v>
                </c:pt>
                <c:pt idx="39">
                  <c:v>45466</c:v>
                </c:pt>
                <c:pt idx="40">
                  <c:v>45473</c:v>
                </c:pt>
                <c:pt idx="41">
                  <c:v>45480</c:v>
                </c:pt>
                <c:pt idx="42">
                  <c:v>45487</c:v>
                </c:pt>
                <c:pt idx="43">
                  <c:v>45494</c:v>
                </c:pt>
                <c:pt idx="44">
                  <c:v>45501</c:v>
                </c:pt>
                <c:pt idx="45">
                  <c:v>45508</c:v>
                </c:pt>
                <c:pt idx="46">
                  <c:v>45515</c:v>
                </c:pt>
                <c:pt idx="47">
                  <c:v>45522</c:v>
                </c:pt>
                <c:pt idx="48">
                  <c:v>45529</c:v>
                </c:pt>
                <c:pt idx="49">
                  <c:v>45536</c:v>
                </c:pt>
                <c:pt idx="50">
                  <c:v>45550</c:v>
                </c:pt>
                <c:pt idx="51">
                  <c:v>45564</c:v>
                </c:pt>
                <c:pt idx="52">
                  <c:v>45571</c:v>
                </c:pt>
                <c:pt idx="53">
                  <c:v>45578</c:v>
                </c:pt>
                <c:pt idx="54">
                  <c:v>45585</c:v>
                </c:pt>
                <c:pt idx="55">
                  <c:v>45592</c:v>
                </c:pt>
                <c:pt idx="56">
                  <c:v>45599</c:v>
                </c:pt>
                <c:pt idx="57">
                  <c:v>45606</c:v>
                </c:pt>
                <c:pt idx="58">
                  <c:v>45613</c:v>
                </c:pt>
                <c:pt idx="59">
                  <c:v>45620</c:v>
                </c:pt>
                <c:pt idx="60">
                  <c:v>45627</c:v>
                </c:pt>
                <c:pt idx="61">
                  <c:v>45634</c:v>
                </c:pt>
                <c:pt idx="62">
                  <c:v>45641</c:v>
                </c:pt>
                <c:pt idx="63">
                  <c:v>45648</c:v>
                </c:pt>
                <c:pt idx="64">
                  <c:v>45655</c:v>
                </c:pt>
                <c:pt idx="65">
                  <c:v>45662</c:v>
                </c:pt>
                <c:pt idx="66">
                  <c:v>45669</c:v>
                </c:pt>
                <c:pt idx="67">
                  <c:v>45676</c:v>
                </c:pt>
                <c:pt idx="68">
                  <c:v>45683</c:v>
                </c:pt>
              </c:numCache>
            </c:numRef>
          </c:cat>
          <c:val>
            <c:numRef>
              <c:f>Sheet1!$C$2:$C$70</c:f>
              <c:numCache>
                <c:formatCode>General</c:formatCode>
                <c:ptCount val="69"/>
                <c:pt idx="0">
                  <c:v>15068</c:v>
                </c:pt>
                <c:pt idx="1">
                  <c:v>7080</c:v>
                </c:pt>
                <c:pt idx="2">
                  <c:v>5360</c:v>
                </c:pt>
                <c:pt idx="3">
                  <c:v>3184</c:v>
                </c:pt>
                <c:pt idx="4">
                  <c:v>1772</c:v>
                </c:pt>
                <c:pt idx="5">
                  <c:v>9686</c:v>
                </c:pt>
                <c:pt idx="6">
                  <c:v>11864</c:v>
                </c:pt>
                <c:pt idx="7">
                  <c:v>13398</c:v>
                </c:pt>
                <c:pt idx="8">
                  <c:v>9822</c:v>
                </c:pt>
                <c:pt idx="9">
                  <c:v>9538</c:v>
                </c:pt>
                <c:pt idx="10">
                  <c:v>9278</c:v>
                </c:pt>
                <c:pt idx="11">
                  <c:v>13897</c:v>
                </c:pt>
                <c:pt idx="12">
                  <c:v>10538</c:v>
                </c:pt>
                <c:pt idx="13">
                  <c:v>12990</c:v>
                </c:pt>
                <c:pt idx="14">
                  <c:v>6844</c:v>
                </c:pt>
                <c:pt idx="15">
                  <c:v>5094</c:v>
                </c:pt>
                <c:pt idx="16">
                  <c:v>19490</c:v>
                </c:pt>
                <c:pt idx="17">
                  <c:v>15392</c:v>
                </c:pt>
                <c:pt idx="18">
                  <c:v>9230</c:v>
                </c:pt>
                <c:pt idx="19">
                  <c:v>19870</c:v>
                </c:pt>
                <c:pt idx="20">
                  <c:v>33249</c:v>
                </c:pt>
                <c:pt idx="21">
                  <c:v>34096</c:v>
                </c:pt>
                <c:pt idx="22">
                  <c:v>48432</c:v>
                </c:pt>
                <c:pt idx="23">
                  <c:v>45761</c:v>
                </c:pt>
                <c:pt idx="24">
                  <c:v>42439</c:v>
                </c:pt>
                <c:pt idx="25">
                  <c:v>31863</c:v>
                </c:pt>
                <c:pt idx="26">
                  <c:v>18267</c:v>
                </c:pt>
                <c:pt idx="27">
                  <c:v>17488</c:v>
                </c:pt>
                <c:pt idx="28">
                  <c:v>18096</c:v>
                </c:pt>
                <c:pt idx="29">
                  <c:v>16468</c:v>
                </c:pt>
                <c:pt idx="30">
                  <c:v>14994</c:v>
                </c:pt>
                <c:pt idx="31">
                  <c:v>13724</c:v>
                </c:pt>
                <c:pt idx="32">
                  <c:v>15042</c:v>
                </c:pt>
                <c:pt idx="33">
                  <c:v>14436</c:v>
                </c:pt>
                <c:pt idx="34">
                  <c:v>13341</c:v>
                </c:pt>
                <c:pt idx="35">
                  <c:v>6848</c:v>
                </c:pt>
                <c:pt idx="36">
                  <c:v>242</c:v>
                </c:pt>
                <c:pt idx="37">
                  <c:v>138</c:v>
                </c:pt>
                <c:pt idx="38">
                  <c:v>292</c:v>
                </c:pt>
                <c:pt idx="39">
                  <c:v>628</c:v>
                </c:pt>
                <c:pt idx="40">
                  <c:v>188</c:v>
                </c:pt>
                <c:pt idx="41">
                  <c:v>318</c:v>
                </c:pt>
                <c:pt idx="42">
                  <c:v>8783</c:v>
                </c:pt>
                <c:pt idx="43">
                  <c:v>15730</c:v>
                </c:pt>
                <c:pt idx="44">
                  <c:v>16229</c:v>
                </c:pt>
                <c:pt idx="45">
                  <c:v>14848</c:v>
                </c:pt>
                <c:pt idx="46">
                  <c:v>4515</c:v>
                </c:pt>
                <c:pt idx="47">
                  <c:v>3685</c:v>
                </c:pt>
                <c:pt idx="48">
                  <c:v>114</c:v>
                </c:pt>
                <c:pt idx="49">
                  <c:v>2486</c:v>
                </c:pt>
                <c:pt idx="50">
                  <c:v>264</c:v>
                </c:pt>
                <c:pt idx="51">
                  <c:v>4492</c:v>
                </c:pt>
                <c:pt idx="52">
                  <c:v>9565</c:v>
                </c:pt>
                <c:pt idx="53">
                  <c:v>16675</c:v>
                </c:pt>
                <c:pt idx="54">
                  <c:v>19489</c:v>
                </c:pt>
                <c:pt idx="55">
                  <c:v>9241</c:v>
                </c:pt>
                <c:pt idx="56">
                  <c:v>177</c:v>
                </c:pt>
                <c:pt idx="57">
                  <c:v>192</c:v>
                </c:pt>
                <c:pt idx="58">
                  <c:v>23587</c:v>
                </c:pt>
                <c:pt idx="59">
                  <c:v>73824</c:v>
                </c:pt>
                <c:pt idx="60">
                  <c:v>71232</c:v>
                </c:pt>
                <c:pt idx="61">
                  <c:v>78714</c:v>
                </c:pt>
                <c:pt idx="62">
                  <c:v>80685</c:v>
                </c:pt>
                <c:pt idx="63">
                  <c:v>88038</c:v>
                </c:pt>
                <c:pt idx="64">
                  <c:v>74659</c:v>
                </c:pt>
                <c:pt idx="65">
                  <c:v>78201</c:v>
                </c:pt>
                <c:pt idx="66">
                  <c:v>71779</c:v>
                </c:pt>
                <c:pt idx="67">
                  <c:v>70991</c:v>
                </c:pt>
                <c:pt idx="68">
                  <c:v>63540</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vert="horz"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1"/>
      <c:txPr>
        <a:bodyPr/>
        <a:lstStyle/>
        <a:p>
          <a:pPr>
            <a:defRPr sz="800">
              <a:latin typeface="Nexa Book"/>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43</c:f>
              <c:numCache>
                <c:formatCode>yyyy\-mm\-dd</c:formatCode>
                <c:ptCount val="42"/>
                <c:pt idx="0">
                  <c:v>44934</c:v>
                </c:pt>
                <c:pt idx="1">
                  <c:v>44941</c:v>
                </c:pt>
                <c:pt idx="2">
                  <c:v>44948</c:v>
                </c:pt>
                <c:pt idx="3">
                  <c:v>44955</c:v>
                </c:pt>
                <c:pt idx="4">
                  <c:v>44962</c:v>
                </c:pt>
                <c:pt idx="5">
                  <c:v>44969</c:v>
                </c:pt>
                <c:pt idx="6">
                  <c:v>44976</c:v>
                </c:pt>
                <c:pt idx="7">
                  <c:v>44983</c:v>
                </c:pt>
                <c:pt idx="8">
                  <c:v>44990</c:v>
                </c:pt>
                <c:pt idx="9">
                  <c:v>44997</c:v>
                </c:pt>
                <c:pt idx="10">
                  <c:v>45011</c:v>
                </c:pt>
                <c:pt idx="11">
                  <c:v>45018</c:v>
                </c:pt>
                <c:pt idx="12">
                  <c:v>45081</c:v>
                </c:pt>
                <c:pt idx="13">
                  <c:v>45088</c:v>
                </c:pt>
                <c:pt idx="14">
                  <c:v>45144</c:v>
                </c:pt>
                <c:pt idx="15">
                  <c:v>45207</c:v>
                </c:pt>
                <c:pt idx="16">
                  <c:v>45277</c:v>
                </c:pt>
                <c:pt idx="17">
                  <c:v>45284</c:v>
                </c:pt>
                <c:pt idx="18">
                  <c:v>45291</c:v>
                </c:pt>
                <c:pt idx="19">
                  <c:v>45298</c:v>
                </c:pt>
                <c:pt idx="20">
                  <c:v>45305</c:v>
                </c:pt>
                <c:pt idx="21">
                  <c:v>45312</c:v>
                </c:pt>
                <c:pt idx="22">
                  <c:v>45319</c:v>
                </c:pt>
                <c:pt idx="23">
                  <c:v>45326</c:v>
                </c:pt>
                <c:pt idx="24">
                  <c:v>45333</c:v>
                </c:pt>
                <c:pt idx="25">
                  <c:v>45340</c:v>
                </c:pt>
                <c:pt idx="26">
                  <c:v>45347</c:v>
                </c:pt>
                <c:pt idx="27">
                  <c:v>45354</c:v>
                </c:pt>
                <c:pt idx="28">
                  <c:v>45375</c:v>
                </c:pt>
                <c:pt idx="29">
                  <c:v>45382</c:v>
                </c:pt>
                <c:pt idx="30">
                  <c:v>45389</c:v>
                </c:pt>
                <c:pt idx="31">
                  <c:v>45396</c:v>
                </c:pt>
                <c:pt idx="32">
                  <c:v>45403</c:v>
                </c:pt>
                <c:pt idx="33">
                  <c:v>45410</c:v>
                </c:pt>
                <c:pt idx="34">
                  <c:v>45417</c:v>
                </c:pt>
                <c:pt idx="35">
                  <c:v>45424</c:v>
                </c:pt>
                <c:pt idx="36">
                  <c:v>45431</c:v>
                </c:pt>
                <c:pt idx="37">
                  <c:v>45438</c:v>
                </c:pt>
                <c:pt idx="38">
                  <c:v>45445</c:v>
                </c:pt>
                <c:pt idx="39">
                  <c:v>45452</c:v>
                </c:pt>
                <c:pt idx="40">
                  <c:v>45459</c:v>
                </c:pt>
                <c:pt idx="41">
                  <c:v>45466</c:v>
                </c:pt>
              </c:numCache>
            </c:numRef>
          </c:cat>
          <c:val>
            <c:numRef>
              <c:f>Sheet1!$B$2:$B$43</c:f>
              <c:numCache>
                <c:formatCode>General</c:formatCode>
                <c:ptCount val="42"/>
                <c:pt idx="0">
                  <c:v>821728</c:v>
                </c:pt>
                <c:pt idx="1">
                  <c:v>833774</c:v>
                </c:pt>
                <c:pt idx="2">
                  <c:v>845152</c:v>
                </c:pt>
                <c:pt idx="3">
                  <c:v>820136</c:v>
                </c:pt>
                <c:pt idx="4">
                  <c:v>871205</c:v>
                </c:pt>
                <c:pt idx="5">
                  <c:v>883032</c:v>
                </c:pt>
                <c:pt idx="6">
                  <c:v>838691</c:v>
                </c:pt>
                <c:pt idx="7">
                  <c:v>885584</c:v>
                </c:pt>
                <c:pt idx="8">
                  <c:v>941989</c:v>
                </c:pt>
                <c:pt idx="9">
                  <c:v>924701</c:v>
                </c:pt>
                <c:pt idx="10">
                  <c:v>867954</c:v>
                </c:pt>
                <c:pt idx="11">
                  <c:v>858302</c:v>
                </c:pt>
                <c:pt idx="12">
                  <c:v>958392</c:v>
                </c:pt>
                <c:pt idx="13">
                  <c:v>975643</c:v>
                </c:pt>
                <c:pt idx="14">
                  <c:v>1000931</c:v>
                </c:pt>
                <c:pt idx="15">
                  <c:v>893182</c:v>
                </c:pt>
                <c:pt idx="16">
                  <c:v>857373</c:v>
                </c:pt>
                <c:pt idx="17">
                  <c:v>910192</c:v>
                </c:pt>
                <c:pt idx="18">
                  <c:v>728699</c:v>
                </c:pt>
                <c:pt idx="19">
                  <c:v>824991</c:v>
                </c:pt>
                <c:pt idx="20">
                  <c:v>781875</c:v>
                </c:pt>
                <c:pt idx="21">
                  <c:v>748172</c:v>
                </c:pt>
                <c:pt idx="22">
                  <c:v>797534</c:v>
                </c:pt>
                <c:pt idx="23">
                  <c:v>851612</c:v>
                </c:pt>
                <c:pt idx="24">
                  <c:v>830431</c:v>
                </c:pt>
                <c:pt idx="25">
                  <c:v>790047</c:v>
                </c:pt>
                <c:pt idx="26">
                  <c:v>858906</c:v>
                </c:pt>
                <c:pt idx="27">
                  <c:v>909454</c:v>
                </c:pt>
                <c:pt idx="28">
                  <c:v>848186</c:v>
                </c:pt>
                <c:pt idx="29">
                  <c:v>867282</c:v>
                </c:pt>
                <c:pt idx="30">
                  <c:v>836506</c:v>
                </c:pt>
                <c:pt idx="31">
                  <c:v>719746</c:v>
                </c:pt>
                <c:pt idx="32">
                  <c:v>693889</c:v>
                </c:pt>
                <c:pt idx="33">
                  <c:v>662154</c:v>
                </c:pt>
                <c:pt idx="34">
                  <c:v>709633</c:v>
                </c:pt>
                <c:pt idx="35">
                  <c:v>715816</c:v>
                </c:pt>
                <c:pt idx="36">
                  <c:v>706929</c:v>
                </c:pt>
                <c:pt idx="37">
                  <c:v>738071</c:v>
                </c:pt>
                <c:pt idx="38">
                  <c:v>734619</c:v>
                </c:pt>
                <c:pt idx="39">
                  <c:v>820517</c:v>
                </c:pt>
                <c:pt idx="40">
                  <c:v>758841</c:v>
                </c:pt>
                <c:pt idx="41">
                  <c:v>779052</c:v>
                </c:pt>
              </c:numCache>
            </c:numRef>
          </c:val>
          <c:extLst>
            <c:ext xmlns:c16="http://schemas.microsoft.com/office/drawing/2014/chart" uri="{C3380CC4-5D6E-409C-BE32-E72D297353CC}">
              <c16:uniqueId val="{00000000-72A7-4D08-96D7-E73109FBDC9A}"/>
            </c:ext>
          </c:extLst>
        </c:ser>
        <c:ser>
          <c:idx val="0"/>
          <c:order val="1"/>
          <c:tx>
            <c:strRef>
              <c:f>Sheet1!$C$1</c:f>
              <c:strCache>
                <c:ptCount val="1"/>
                <c:pt idx="0">
                  <c:v>Promo Volume</c:v>
                </c:pt>
              </c:strCache>
            </c:strRef>
          </c:tx>
          <c:spPr>
            <a:solidFill>
              <a:schemeClr val="accent3"/>
            </a:solidFill>
            <a:ln>
              <a:noFill/>
            </a:ln>
            <a:effectLst/>
          </c:spPr>
          <c:invertIfNegative val="0"/>
          <c:cat>
            <c:numRef>
              <c:f>Sheet1!$A$2:$A$43</c:f>
              <c:numCache>
                <c:formatCode>yyyy\-mm\-dd</c:formatCode>
                <c:ptCount val="42"/>
                <c:pt idx="0">
                  <c:v>44934</c:v>
                </c:pt>
                <c:pt idx="1">
                  <c:v>44941</c:v>
                </c:pt>
                <c:pt idx="2">
                  <c:v>44948</c:v>
                </c:pt>
                <c:pt idx="3">
                  <c:v>44955</c:v>
                </c:pt>
                <c:pt idx="4">
                  <c:v>44962</c:v>
                </c:pt>
                <c:pt idx="5">
                  <c:v>44969</c:v>
                </c:pt>
                <c:pt idx="6">
                  <c:v>44976</c:v>
                </c:pt>
                <c:pt idx="7">
                  <c:v>44983</c:v>
                </c:pt>
                <c:pt idx="8">
                  <c:v>44990</c:v>
                </c:pt>
                <c:pt idx="9">
                  <c:v>44997</c:v>
                </c:pt>
                <c:pt idx="10">
                  <c:v>45011</c:v>
                </c:pt>
                <c:pt idx="11">
                  <c:v>45018</c:v>
                </c:pt>
                <c:pt idx="12">
                  <c:v>45081</c:v>
                </c:pt>
                <c:pt idx="13">
                  <c:v>45088</c:v>
                </c:pt>
                <c:pt idx="14">
                  <c:v>45144</c:v>
                </c:pt>
                <c:pt idx="15">
                  <c:v>45207</c:v>
                </c:pt>
                <c:pt idx="16">
                  <c:v>45277</c:v>
                </c:pt>
                <c:pt idx="17">
                  <c:v>45284</c:v>
                </c:pt>
                <c:pt idx="18">
                  <c:v>45291</c:v>
                </c:pt>
                <c:pt idx="19">
                  <c:v>45298</c:v>
                </c:pt>
                <c:pt idx="20">
                  <c:v>45305</c:v>
                </c:pt>
                <c:pt idx="21">
                  <c:v>45312</c:v>
                </c:pt>
                <c:pt idx="22">
                  <c:v>45319</c:v>
                </c:pt>
                <c:pt idx="23">
                  <c:v>45326</c:v>
                </c:pt>
                <c:pt idx="24">
                  <c:v>45333</c:v>
                </c:pt>
                <c:pt idx="25">
                  <c:v>45340</c:v>
                </c:pt>
                <c:pt idx="26">
                  <c:v>45347</c:v>
                </c:pt>
                <c:pt idx="27">
                  <c:v>45354</c:v>
                </c:pt>
                <c:pt idx="28">
                  <c:v>45375</c:v>
                </c:pt>
                <c:pt idx="29">
                  <c:v>45382</c:v>
                </c:pt>
                <c:pt idx="30">
                  <c:v>45389</c:v>
                </c:pt>
                <c:pt idx="31">
                  <c:v>45396</c:v>
                </c:pt>
                <c:pt idx="32">
                  <c:v>45403</c:v>
                </c:pt>
                <c:pt idx="33">
                  <c:v>45410</c:v>
                </c:pt>
                <c:pt idx="34">
                  <c:v>45417</c:v>
                </c:pt>
                <c:pt idx="35">
                  <c:v>45424</c:v>
                </c:pt>
                <c:pt idx="36">
                  <c:v>45431</c:v>
                </c:pt>
                <c:pt idx="37">
                  <c:v>45438</c:v>
                </c:pt>
                <c:pt idx="38">
                  <c:v>45445</c:v>
                </c:pt>
                <c:pt idx="39">
                  <c:v>45452</c:v>
                </c:pt>
                <c:pt idx="40">
                  <c:v>45459</c:v>
                </c:pt>
                <c:pt idx="41">
                  <c:v>45466</c:v>
                </c:pt>
              </c:numCache>
            </c:numRef>
          </c:cat>
          <c:val>
            <c:numRef>
              <c:f>Sheet1!$C$2:$C$43</c:f>
              <c:numCache>
                <c:formatCode>General</c:formatCode>
                <c:ptCount val="42"/>
                <c:pt idx="0">
                  <c:v>12732</c:v>
                </c:pt>
                <c:pt idx="1">
                  <c:v>16805</c:v>
                </c:pt>
                <c:pt idx="2">
                  <c:v>10936</c:v>
                </c:pt>
                <c:pt idx="3">
                  <c:v>4899</c:v>
                </c:pt>
                <c:pt idx="4">
                  <c:v>3963</c:v>
                </c:pt>
                <c:pt idx="5">
                  <c:v>2114</c:v>
                </c:pt>
                <c:pt idx="6">
                  <c:v>2775</c:v>
                </c:pt>
                <c:pt idx="7">
                  <c:v>2991</c:v>
                </c:pt>
                <c:pt idx="8">
                  <c:v>1455</c:v>
                </c:pt>
                <c:pt idx="9">
                  <c:v>1648</c:v>
                </c:pt>
                <c:pt idx="10">
                  <c:v>2390</c:v>
                </c:pt>
                <c:pt idx="11">
                  <c:v>2103</c:v>
                </c:pt>
                <c:pt idx="12">
                  <c:v>5994</c:v>
                </c:pt>
                <c:pt idx="13">
                  <c:v>1385</c:v>
                </c:pt>
                <c:pt idx="14">
                  <c:v>7241</c:v>
                </c:pt>
                <c:pt idx="15">
                  <c:v>13424</c:v>
                </c:pt>
                <c:pt idx="16">
                  <c:v>6876</c:v>
                </c:pt>
                <c:pt idx="17">
                  <c:v>10430</c:v>
                </c:pt>
                <c:pt idx="18">
                  <c:v>6675</c:v>
                </c:pt>
                <c:pt idx="19">
                  <c:v>19088</c:v>
                </c:pt>
                <c:pt idx="20">
                  <c:v>37833</c:v>
                </c:pt>
                <c:pt idx="21">
                  <c:v>33792</c:v>
                </c:pt>
                <c:pt idx="22">
                  <c:v>34711</c:v>
                </c:pt>
                <c:pt idx="23">
                  <c:v>34036</c:v>
                </c:pt>
                <c:pt idx="24">
                  <c:v>42328</c:v>
                </c:pt>
                <c:pt idx="25">
                  <c:v>45838</c:v>
                </c:pt>
                <c:pt idx="26">
                  <c:v>28448</c:v>
                </c:pt>
                <c:pt idx="27">
                  <c:v>5061</c:v>
                </c:pt>
                <c:pt idx="28">
                  <c:v>6060</c:v>
                </c:pt>
                <c:pt idx="29">
                  <c:v>5521</c:v>
                </c:pt>
                <c:pt idx="30">
                  <c:v>99224</c:v>
                </c:pt>
                <c:pt idx="31">
                  <c:v>168610</c:v>
                </c:pt>
                <c:pt idx="32">
                  <c:v>173541</c:v>
                </c:pt>
                <c:pt idx="33">
                  <c:v>168751</c:v>
                </c:pt>
                <c:pt idx="34">
                  <c:v>188270</c:v>
                </c:pt>
                <c:pt idx="35">
                  <c:v>191569</c:v>
                </c:pt>
                <c:pt idx="36">
                  <c:v>189183</c:v>
                </c:pt>
                <c:pt idx="37">
                  <c:v>199318</c:v>
                </c:pt>
                <c:pt idx="38">
                  <c:v>197256</c:v>
                </c:pt>
                <c:pt idx="39">
                  <c:v>220550</c:v>
                </c:pt>
                <c:pt idx="40">
                  <c:v>202736</c:v>
                </c:pt>
                <c:pt idx="41">
                  <c:v>175344</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vert="horz"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1"/>
      <c:txPr>
        <a:bodyPr/>
        <a:lstStyle/>
        <a:p>
          <a:pPr>
            <a:defRPr sz="800">
              <a:latin typeface="Nexa Book"/>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9</c:f>
              <c:numCache>
                <c:formatCode>yyyy\-mm\-dd</c:formatCode>
                <c:ptCount val="8"/>
                <c:pt idx="0">
                  <c:v>45032</c:v>
                </c:pt>
                <c:pt idx="1">
                  <c:v>45039</c:v>
                </c:pt>
                <c:pt idx="2">
                  <c:v>45046</c:v>
                </c:pt>
                <c:pt idx="3">
                  <c:v>45053</c:v>
                </c:pt>
                <c:pt idx="4">
                  <c:v>45060</c:v>
                </c:pt>
                <c:pt idx="5">
                  <c:v>45067</c:v>
                </c:pt>
                <c:pt idx="6">
                  <c:v>45592</c:v>
                </c:pt>
                <c:pt idx="7">
                  <c:v>45613</c:v>
                </c:pt>
              </c:numCache>
            </c:numRef>
          </c:cat>
          <c:val>
            <c:numRef>
              <c:f>Sheet1!$B$2:$B$9</c:f>
              <c:numCache>
                <c:formatCode>General</c:formatCode>
                <c:ptCount val="8"/>
                <c:pt idx="0">
                  <c:v>3004</c:v>
                </c:pt>
                <c:pt idx="1">
                  <c:v>9706</c:v>
                </c:pt>
                <c:pt idx="2">
                  <c:v>15682</c:v>
                </c:pt>
                <c:pt idx="3">
                  <c:v>18092</c:v>
                </c:pt>
                <c:pt idx="4">
                  <c:v>17852</c:v>
                </c:pt>
                <c:pt idx="5">
                  <c:v>17714</c:v>
                </c:pt>
                <c:pt idx="6">
                  <c:v>10128</c:v>
                </c:pt>
                <c:pt idx="7">
                  <c:v>10044</c:v>
                </c:pt>
              </c:numCache>
            </c:numRef>
          </c:val>
          <c:extLst>
            <c:ext xmlns:c16="http://schemas.microsoft.com/office/drawing/2014/chart" uri="{C3380CC4-5D6E-409C-BE32-E72D297353CC}">
              <c16:uniqueId val="{00000000-72A7-4D08-96D7-E73109FBDC9A}"/>
            </c:ext>
          </c:extLst>
        </c:ser>
        <c:ser>
          <c:idx val="0"/>
          <c:order val="1"/>
          <c:tx>
            <c:strRef>
              <c:f>Sheet1!$C$1</c:f>
              <c:strCache>
                <c:ptCount val="1"/>
                <c:pt idx="0">
                  <c:v>Promo Volume</c:v>
                </c:pt>
              </c:strCache>
            </c:strRef>
          </c:tx>
          <c:spPr>
            <a:solidFill>
              <a:schemeClr val="accent3"/>
            </a:solidFill>
            <a:ln>
              <a:noFill/>
            </a:ln>
            <a:effectLst/>
          </c:spPr>
          <c:invertIfNegative val="0"/>
          <c:cat>
            <c:numRef>
              <c:f>Sheet1!$A$2:$A$9</c:f>
              <c:numCache>
                <c:formatCode>yyyy\-mm\-dd</c:formatCode>
                <c:ptCount val="8"/>
                <c:pt idx="0">
                  <c:v>45032</c:v>
                </c:pt>
                <c:pt idx="1">
                  <c:v>45039</c:v>
                </c:pt>
                <c:pt idx="2">
                  <c:v>45046</c:v>
                </c:pt>
                <c:pt idx="3">
                  <c:v>45053</c:v>
                </c:pt>
                <c:pt idx="4">
                  <c:v>45060</c:v>
                </c:pt>
                <c:pt idx="5">
                  <c:v>45067</c:v>
                </c:pt>
                <c:pt idx="6">
                  <c:v>45592</c:v>
                </c:pt>
                <c:pt idx="7">
                  <c:v>45613</c:v>
                </c:pt>
              </c:numCache>
            </c:numRef>
          </c:cat>
          <c:val>
            <c:numRef>
              <c:f>Sheet1!$C$2:$C$9</c:f>
              <c:numCache>
                <c:formatCode>General</c:formatCode>
                <c:ptCount val="8"/>
                <c:pt idx="0">
                  <c:v>1636</c:v>
                </c:pt>
                <c:pt idx="1">
                  <c:v>1336</c:v>
                </c:pt>
                <c:pt idx="2">
                  <c:v>576</c:v>
                </c:pt>
                <c:pt idx="3">
                  <c:v>302</c:v>
                </c:pt>
                <c:pt idx="4">
                  <c:v>222</c:v>
                </c:pt>
                <c:pt idx="5">
                  <c:v>146</c:v>
                </c:pt>
                <c:pt idx="6">
                  <c:v>166</c:v>
                </c:pt>
                <c:pt idx="7">
                  <c:v>186</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vert="horz"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1"/>
      <c:txPr>
        <a:bodyPr/>
        <a:lstStyle/>
        <a:p>
          <a:pPr>
            <a:defRPr sz="800">
              <a:latin typeface="Nexa Book"/>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32</c:f>
              <c:numCache>
                <c:formatCode>yyyy\-mm\-dd</c:formatCode>
                <c:ptCount val="31"/>
                <c:pt idx="0">
                  <c:v>45032</c:v>
                </c:pt>
                <c:pt idx="1">
                  <c:v>45039</c:v>
                </c:pt>
                <c:pt idx="2">
                  <c:v>45046</c:v>
                </c:pt>
                <c:pt idx="3">
                  <c:v>45053</c:v>
                </c:pt>
                <c:pt idx="4">
                  <c:v>45060</c:v>
                </c:pt>
                <c:pt idx="5">
                  <c:v>45067</c:v>
                </c:pt>
                <c:pt idx="6">
                  <c:v>45074</c:v>
                </c:pt>
                <c:pt idx="7">
                  <c:v>45081</c:v>
                </c:pt>
                <c:pt idx="8">
                  <c:v>45088</c:v>
                </c:pt>
                <c:pt idx="9">
                  <c:v>45095</c:v>
                </c:pt>
                <c:pt idx="10">
                  <c:v>45102</c:v>
                </c:pt>
                <c:pt idx="11">
                  <c:v>45109</c:v>
                </c:pt>
                <c:pt idx="12">
                  <c:v>45221</c:v>
                </c:pt>
                <c:pt idx="13">
                  <c:v>45228</c:v>
                </c:pt>
                <c:pt idx="14">
                  <c:v>45235</c:v>
                </c:pt>
                <c:pt idx="15">
                  <c:v>45256</c:v>
                </c:pt>
                <c:pt idx="16">
                  <c:v>45270</c:v>
                </c:pt>
                <c:pt idx="17">
                  <c:v>45277</c:v>
                </c:pt>
                <c:pt idx="18">
                  <c:v>45312</c:v>
                </c:pt>
                <c:pt idx="19">
                  <c:v>45333</c:v>
                </c:pt>
                <c:pt idx="20">
                  <c:v>45347</c:v>
                </c:pt>
                <c:pt idx="21">
                  <c:v>45368</c:v>
                </c:pt>
                <c:pt idx="22">
                  <c:v>45382</c:v>
                </c:pt>
                <c:pt idx="23">
                  <c:v>45564</c:v>
                </c:pt>
                <c:pt idx="24">
                  <c:v>45641</c:v>
                </c:pt>
                <c:pt idx="25">
                  <c:v>45648</c:v>
                </c:pt>
                <c:pt idx="26">
                  <c:v>45655</c:v>
                </c:pt>
                <c:pt idx="27">
                  <c:v>45662</c:v>
                </c:pt>
                <c:pt idx="28">
                  <c:v>45669</c:v>
                </c:pt>
                <c:pt idx="29">
                  <c:v>45676</c:v>
                </c:pt>
                <c:pt idx="30">
                  <c:v>45683</c:v>
                </c:pt>
              </c:numCache>
            </c:numRef>
          </c:cat>
          <c:val>
            <c:numRef>
              <c:f>Sheet1!$B$2:$B$32</c:f>
              <c:numCache>
                <c:formatCode>General</c:formatCode>
                <c:ptCount val="31"/>
                <c:pt idx="0">
                  <c:v>17984</c:v>
                </c:pt>
                <c:pt idx="1">
                  <c:v>38336</c:v>
                </c:pt>
                <c:pt idx="2">
                  <c:v>55360</c:v>
                </c:pt>
                <c:pt idx="3">
                  <c:v>62004</c:v>
                </c:pt>
                <c:pt idx="4">
                  <c:v>59160</c:v>
                </c:pt>
                <c:pt idx="5">
                  <c:v>58500</c:v>
                </c:pt>
                <c:pt idx="6">
                  <c:v>61444</c:v>
                </c:pt>
                <c:pt idx="7">
                  <c:v>65202</c:v>
                </c:pt>
                <c:pt idx="8">
                  <c:v>65224</c:v>
                </c:pt>
                <c:pt idx="9">
                  <c:v>63740</c:v>
                </c:pt>
                <c:pt idx="10">
                  <c:v>62261</c:v>
                </c:pt>
                <c:pt idx="11">
                  <c:v>65245</c:v>
                </c:pt>
                <c:pt idx="12">
                  <c:v>63696</c:v>
                </c:pt>
                <c:pt idx="13">
                  <c:v>63812</c:v>
                </c:pt>
                <c:pt idx="14">
                  <c:v>66832</c:v>
                </c:pt>
                <c:pt idx="15">
                  <c:v>61536</c:v>
                </c:pt>
                <c:pt idx="16">
                  <c:v>70100</c:v>
                </c:pt>
                <c:pt idx="17">
                  <c:v>68444</c:v>
                </c:pt>
                <c:pt idx="18">
                  <c:v>60848</c:v>
                </c:pt>
                <c:pt idx="19">
                  <c:v>65384</c:v>
                </c:pt>
                <c:pt idx="20">
                  <c:v>65412</c:v>
                </c:pt>
                <c:pt idx="21">
                  <c:v>66128</c:v>
                </c:pt>
                <c:pt idx="22">
                  <c:v>64564</c:v>
                </c:pt>
                <c:pt idx="23">
                  <c:v>64136</c:v>
                </c:pt>
                <c:pt idx="24">
                  <c:v>56216</c:v>
                </c:pt>
                <c:pt idx="25">
                  <c:v>51424</c:v>
                </c:pt>
                <c:pt idx="26">
                  <c:v>44016</c:v>
                </c:pt>
                <c:pt idx="27">
                  <c:v>45084</c:v>
                </c:pt>
                <c:pt idx="28">
                  <c:v>40552</c:v>
                </c:pt>
                <c:pt idx="29">
                  <c:v>51828</c:v>
                </c:pt>
                <c:pt idx="30">
                  <c:v>70364</c:v>
                </c:pt>
              </c:numCache>
            </c:numRef>
          </c:val>
          <c:extLst>
            <c:ext xmlns:c16="http://schemas.microsoft.com/office/drawing/2014/chart" uri="{C3380CC4-5D6E-409C-BE32-E72D297353CC}">
              <c16:uniqueId val="{00000000-72A7-4D08-96D7-E73109FBDC9A}"/>
            </c:ext>
          </c:extLst>
        </c:ser>
        <c:ser>
          <c:idx val="0"/>
          <c:order val="1"/>
          <c:tx>
            <c:strRef>
              <c:f>Sheet1!$C$1</c:f>
              <c:strCache>
                <c:ptCount val="1"/>
                <c:pt idx="0">
                  <c:v>Promo Volume</c:v>
                </c:pt>
              </c:strCache>
            </c:strRef>
          </c:tx>
          <c:spPr>
            <a:solidFill>
              <a:schemeClr val="accent3"/>
            </a:solidFill>
            <a:ln>
              <a:noFill/>
            </a:ln>
            <a:effectLst/>
          </c:spPr>
          <c:invertIfNegative val="0"/>
          <c:cat>
            <c:numRef>
              <c:f>Sheet1!$A$2:$A$32</c:f>
              <c:numCache>
                <c:formatCode>yyyy\-mm\-dd</c:formatCode>
                <c:ptCount val="31"/>
                <c:pt idx="0">
                  <c:v>45032</c:v>
                </c:pt>
                <c:pt idx="1">
                  <c:v>45039</c:v>
                </c:pt>
                <c:pt idx="2">
                  <c:v>45046</c:v>
                </c:pt>
                <c:pt idx="3">
                  <c:v>45053</c:v>
                </c:pt>
                <c:pt idx="4">
                  <c:v>45060</c:v>
                </c:pt>
                <c:pt idx="5">
                  <c:v>45067</c:v>
                </c:pt>
                <c:pt idx="6">
                  <c:v>45074</c:v>
                </c:pt>
                <c:pt idx="7">
                  <c:v>45081</c:v>
                </c:pt>
                <c:pt idx="8">
                  <c:v>45088</c:v>
                </c:pt>
                <c:pt idx="9">
                  <c:v>45095</c:v>
                </c:pt>
                <c:pt idx="10">
                  <c:v>45102</c:v>
                </c:pt>
                <c:pt idx="11">
                  <c:v>45109</c:v>
                </c:pt>
                <c:pt idx="12">
                  <c:v>45221</c:v>
                </c:pt>
                <c:pt idx="13">
                  <c:v>45228</c:v>
                </c:pt>
                <c:pt idx="14">
                  <c:v>45235</c:v>
                </c:pt>
                <c:pt idx="15">
                  <c:v>45256</c:v>
                </c:pt>
                <c:pt idx="16">
                  <c:v>45270</c:v>
                </c:pt>
                <c:pt idx="17">
                  <c:v>45277</c:v>
                </c:pt>
                <c:pt idx="18">
                  <c:v>45312</c:v>
                </c:pt>
                <c:pt idx="19">
                  <c:v>45333</c:v>
                </c:pt>
                <c:pt idx="20">
                  <c:v>45347</c:v>
                </c:pt>
                <c:pt idx="21">
                  <c:v>45368</c:v>
                </c:pt>
                <c:pt idx="22">
                  <c:v>45382</c:v>
                </c:pt>
                <c:pt idx="23">
                  <c:v>45564</c:v>
                </c:pt>
                <c:pt idx="24">
                  <c:v>45641</c:v>
                </c:pt>
                <c:pt idx="25">
                  <c:v>45648</c:v>
                </c:pt>
                <c:pt idx="26">
                  <c:v>45655</c:v>
                </c:pt>
                <c:pt idx="27">
                  <c:v>45662</c:v>
                </c:pt>
                <c:pt idx="28">
                  <c:v>45669</c:v>
                </c:pt>
                <c:pt idx="29">
                  <c:v>45676</c:v>
                </c:pt>
                <c:pt idx="30">
                  <c:v>45683</c:v>
                </c:pt>
              </c:numCache>
            </c:numRef>
          </c:cat>
          <c:val>
            <c:numRef>
              <c:f>Sheet1!$C$2:$C$32</c:f>
              <c:numCache>
                <c:formatCode>General</c:formatCode>
                <c:ptCount val="31"/>
                <c:pt idx="0">
                  <c:v>16144</c:v>
                </c:pt>
                <c:pt idx="1">
                  <c:v>17848</c:v>
                </c:pt>
                <c:pt idx="2">
                  <c:v>8392</c:v>
                </c:pt>
                <c:pt idx="3">
                  <c:v>6620</c:v>
                </c:pt>
                <c:pt idx="4">
                  <c:v>4692</c:v>
                </c:pt>
                <c:pt idx="5">
                  <c:v>3160</c:v>
                </c:pt>
                <c:pt idx="6">
                  <c:v>2424</c:v>
                </c:pt>
                <c:pt idx="7">
                  <c:v>1748</c:v>
                </c:pt>
                <c:pt idx="8">
                  <c:v>1992</c:v>
                </c:pt>
                <c:pt idx="9">
                  <c:v>996</c:v>
                </c:pt>
                <c:pt idx="10">
                  <c:v>888</c:v>
                </c:pt>
                <c:pt idx="11">
                  <c:v>648</c:v>
                </c:pt>
                <c:pt idx="12">
                  <c:v>780</c:v>
                </c:pt>
                <c:pt idx="13">
                  <c:v>836</c:v>
                </c:pt>
                <c:pt idx="14">
                  <c:v>800</c:v>
                </c:pt>
                <c:pt idx="15">
                  <c:v>840</c:v>
                </c:pt>
                <c:pt idx="16">
                  <c:v>1068</c:v>
                </c:pt>
                <c:pt idx="17">
                  <c:v>868</c:v>
                </c:pt>
                <c:pt idx="18">
                  <c:v>864</c:v>
                </c:pt>
                <c:pt idx="19">
                  <c:v>908</c:v>
                </c:pt>
                <c:pt idx="20">
                  <c:v>1076</c:v>
                </c:pt>
                <c:pt idx="21">
                  <c:v>908</c:v>
                </c:pt>
                <c:pt idx="22">
                  <c:v>940</c:v>
                </c:pt>
                <c:pt idx="23">
                  <c:v>629</c:v>
                </c:pt>
                <c:pt idx="24">
                  <c:v>18164</c:v>
                </c:pt>
                <c:pt idx="25">
                  <c:v>26352</c:v>
                </c:pt>
                <c:pt idx="26">
                  <c:v>15816</c:v>
                </c:pt>
                <c:pt idx="27">
                  <c:v>22048</c:v>
                </c:pt>
                <c:pt idx="28">
                  <c:v>14636</c:v>
                </c:pt>
                <c:pt idx="29">
                  <c:v>6964</c:v>
                </c:pt>
                <c:pt idx="30">
                  <c:v>3156</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vert="horz"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1"/>
      <c:txPr>
        <a:bodyPr/>
        <a:lstStyle/>
        <a:p>
          <a:pPr>
            <a:defRPr sz="800">
              <a:latin typeface="Nexa Book"/>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219792786125353E-2"/>
          <c:y val="0.22555108645669017"/>
          <c:w val="0.96766497516299987"/>
          <c:h val="0.76466540290122786"/>
        </c:manualLayout>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1</c:f>
              <c:numCache>
                <c:formatCode>yyyy\-mm\-dd</c:formatCode>
                <c:ptCount val="100"/>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51</c:v>
                </c:pt>
                <c:pt idx="29">
                  <c:v>45158</c:v>
                </c:pt>
                <c:pt idx="30">
                  <c:v>45165</c:v>
                </c:pt>
                <c:pt idx="31">
                  <c:v>45172</c:v>
                </c:pt>
                <c:pt idx="32">
                  <c:v>45179</c:v>
                </c:pt>
                <c:pt idx="33">
                  <c:v>45186</c:v>
                </c:pt>
                <c:pt idx="34">
                  <c:v>45193</c:v>
                </c:pt>
                <c:pt idx="35">
                  <c:v>45200</c:v>
                </c:pt>
                <c:pt idx="36">
                  <c:v>45207</c:v>
                </c:pt>
                <c:pt idx="37">
                  <c:v>45214</c:v>
                </c:pt>
                <c:pt idx="38">
                  <c:v>45221</c:v>
                </c:pt>
                <c:pt idx="39">
                  <c:v>45228</c:v>
                </c:pt>
                <c:pt idx="40">
                  <c:v>45235</c:v>
                </c:pt>
                <c:pt idx="41">
                  <c:v>45242</c:v>
                </c:pt>
                <c:pt idx="42">
                  <c:v>45249</c:v>
                </c:pt>
                <c:pt idx="43">
                  <c:v>45256</c:v>
                </c:pt>
                <c:pt idx="44">
                  <c:v>45263</c:v>
                </c:pt>
                <c:pt idx="45">
                  <c:v>45270</c:v>
                </c:pt>
                <c:pt idx="46">
                  <c:v>45277</c:v>
                </c:pt>
                <c:pt idx="47">
                  <c:v>45284</c:v>
                </c:pt>
                <c:pt idx="48">
                  <c:v>45291</c:v>
                </c:pt>
                <c:pt idx="49">
                  <c:v>45298</c:v>
                </c:pt>
                <c:pt idx="50">
                  <c:v>45305</c:v>
                </c:pt>
                <c:pt idx="51">
                  <c:v>45312</c:v>
                </c:pt>
                <c:pt idx="52">
                  <c:v>45319</c:v>
                </c:pt>
                <c:pt idx="53">
                  <c:v>45326</c:v>
                </c:pt>
                <c:pt idx="54">
                  <c:v>45340</c:v>
                </c:pt>
                <c:pt idx="55">
                  <c:v>45347</c:v>
                </c:pt>
                <c:pt idx="56">
                  <c:v>45354</c:v>
                </c:pt>
                <c:pt idx="57">
                  <c:v>45361</c:v>
                </c:pt>
                <c:pt idx="58">
                  <c:v>45368</c:v>
                </c:pt>
                <c:pt idx="59">
                  <c:v>45375</c:v>
                </c:pt>
                <c:pt idx="60">
                  <c:v>45389</c:v>
                </c:pt>
                <c:pt idx="61">
                  <c:v>45396</c:v>
                </c:pt>
                <c:pt idx="62">
                  <c:v>45403</c:v>
                </c:pt>
                <c:pt idx="63">
                  <c:v>45410</c:v>
                </c:pt>
                <c:pt idx="64">
                  <c:v>45417</c:v>
                </c:pt>
                <c:pt idx="65">
                  <c:v>45424</c:v>
                </c:pt>
                <c:pt idx="66">
                  <c:v>45431</c:v>
                </c:pt>
                <c:pt idx="67">
                  <c:v>45438</c:v>
                </c:pt>
                <c:pt idx="68">
                  <c:v>45445</c:v>
                </c:pt>
                <c:pt idx="69">
                  <c:v>45452</c:v>
                </c:pt>
                <c:pt idx="70">
                  <c:v>45459</c:v>
                </c:pt>
                <c:pt idx="71">
                  <c:v>45466</c:v>
                </c:pt>
                <c:pt idx="72">
                  <c:v>45473</c:v>
                </c:pt>
                <c:pt idx="73">
                  <c:v>45480</c:v>
                </c:pt>
                <c:pt idx="74">
                  <c:v>45487</c:v>
                </c:pt>
                <c:pt idx="75">
                  <c:v>45508</c:v>
                </c:pt>
                <c:pt idx="76">
                  <c:v>45515</c:v>
                </c:pt>
                <c:pt idx="77">
                  <c:v>45522</c:v>
                </c:pt>
                <c:pt idx="78">
                  <c:v>45529</c:v>
                </c:pt>
                <c:pt idx="79">
                  <c:v>45536</c:v>
                </c:pt>
                <c:pt idx="80">
                  <c:v>45543</c:v>
                </c:pt>
                <c:pt idx="81">
                  <c:v>45550</c:v>
                </c:pt>
                <c:pt idx="82">
                  <c:v>45557</c:v>
                </c:pt>
                <c:pt idx="83">
                  <c:v>45564</c:v>
                </c:pt>
                <c:pt idx="84">
                  <c:v>45578</c:v>
                </c:pt>
                <c:pt idx="85">
                  <c:v>45585</c:v>
                </c:pt>
                <c:pt idx="86">
                  <c:v>45592</c:v>
                </c:pt>
                <c:pt idx="87">
                  <c:v>45599</c:v>
                </c:pt>
                <c:pt idx="88">
                  <c:v>45606</c:v>
                </c:pt>
                <c:pt idx="89">
                  <c:v>45613</c:v>
                </c:pt>
                <c:pt idx="90">
                  <c:v>45620</c:v>
                </c:pt>
                <c:pt idx="91">
                  <c:v>45627</c:v>
                </c:pt>
                <c:pt idx="92">
                  <c:v>45634</c:v>
                </c:pt>
                <c:pt idx="93">
                  <c:v>45641</c:v>
                </c:pt>
                <c:pt idx="94">
                  <c:v>45648</c:v>
                </c:pt>
                <c:pt idx="95">
                  <c:v>45655</c:v>
                </c:pt>
                <c:pt idx="96">
                  <c:v>45662</c:v>
                </c:pt>
                <c:pt idx="97">
                  <c:v>45669</c:v>
                </c:pt>
                <c:pt idx="98">
                  <c:v>45676</c:v>
                </c:pt>
                <c:pt idx="99">
                  <c:v>45683</c:v>
                </c:pt>
              </c:numCache>
            </c:numRef>
          </c:cat>
          <c:val>
            <c:numRef>
              <c:f>Sheet1!$B$2:$B$101</c:f>
              <c:numCache>
                <c:formatCode>General</c:formatCode>
                <c:ptCount val="100"/>
                <c:pt idx="0">
                  <c:v>156680</c:v>
                </c:pt>
                <c:pt idx="1">
                  <c:v>232060</c:v>
                </c:pt>
                <c:pt idx="2">
                  <c:v>238860</c:v>
                </c:pt>
                <c:pt idx="3">
                  <c:v>189020</c:v>
                </c:pt>
                <c:pt idx="4">
                  <c:v>0</c:v>
                </c:pt>
                <c:pt idx="5">
                  <c:v>0</c:v>
                </c:pt>
                <c:pt idx="6">
                  <c:v>0</c:v>
                </c:pt>
                <c:pt idx="7">
                  <c:v>0</c:v>
                </c:pt>
                <c:pt idx="8">
                  <c:v>0</c:v>
                </c:pt>
                <c:pt idx="9">
                  <c:v>205060</c:v>
                </c:pt>
                <c:pt idx="10">
                  <c:v>191945</c:v>
                </c:pt>
                <c:pt idx="11">
                  <c:v>201600</c:v>
                </c:pt>
                <c:pt idx="12">
                  <c:v>176060</c:v>
                </c:pt>
                <c:pt idx="13">
                  <c:v>213540</c:v>
                </c:pt>
                <c:pt idx="14">
                  <c:v>173500</c:v>
                </c:pt>
                <c:pt idx="15">
                  <c:v>212560</c:v>
                </c:pt>
                <c:pt idx="16">
                  <c:v>273145</c:v>
                </c:pt>
                <c:pt idx="17">
                  <c:v>0</c:v>
                </c:pt>
                <c:pt idx="18">
                  <c:v>0</c:v>
                </c:pt>
                <c:pt idx="19">
                  <c:v>188080</c:v>
                </c:pt>
                <c:pt idx="20">
                  <c:v>192880</c:v>
                </c:pt>
                <c:pt idx="21">
                  <c:v>20960</c:v>
                </c:pt>
                <c:pt idx="22">
                  <c:v>12760</c:v>
                </c:pt>
                <c:pt idx="23">
                  <c:v>14740</c:v>
                </c:pt>
                <c:pt idx="24">
                  <c:v>9060</c:v>
                </c:pt>
                <c:pt idx="25">
                  <c:v>36440</c:v>
                </c:pt>
                <c:pt idx="26">
                  <c:v>205220</c:v>
                </c:pt>
                <c:pt idx="27">
                  <c:v>200100</c:v>
                </c:pt>
                <c:pt idx="28">
                  <c:v>0</c:v>
                </c:pt>
                <c:pt idx="29">
                  <c:v>0</c:v>
                </c:pt>
                <c:pt idx="30">
                  <c:v>199540</c:v>
                </c:pt>
                <c:pt idx="31">
                  <c:v>221300</c:v>
                </c:pt>
                <c:pt idx="32">
                  <c:v>194440</c:v>
                </c:pt>
                <c:pt idx="33">
                  <c:v>203620</c:v>
                </c:pt>
                <c:pt idx="34">
                  <c:v>0</c:v>
                </c:pt>
                <c:pt idx="35">
                  <c:v>0</c:v>
                </c:pt>
                <c:pt idx="36">
                  <c:v>0</c:v>
                </c:pt>
                <c:pt idx="37">
                  <c:v>0</c:v>
                </c:pt>
                <c:pt idx="38">
                  <c:v>186640</c:v>
                </c:pt>
                <c:pt idx="39">
                  <c:v>180980</c:v>
                </c:pt>
                <c:pt idx="40">
                  <c:v>248520</c:v>
                </c:pt>
                <c:pt idx="41">
                  <c:v>0</c:v>
                </c:pt>
                <c:pt idx="42">
                  <c:v>0</c:v>
                </c:pt>
                <c:pt idx="43">
                  <c:v>320</c:v>
                </c:pt>
                <c:pt idx="44">
                  <c:v>166900</c:v>
                </c:pt>
                <c:pt idx="45">
                  <c:v>205340</c:v>
                </c:pt>
                <c:pt idx="46">
                  <c:v>205760</c:v>
                </c:pt>
                <c:pt idx="47">
                  <c:v>205740</c:v>
                </c:pt>
                <c:pt idx="48">
                  <c:v>780</c:v>
                </c:pt>
                <c:pt idx="49">
                  <c:v>120</c:v>
                </c:pt>
                <c:pt idx="50">
                  <c:v>60</c:v>
                </c:pt>
                <c:pt idx="51">
                  <c:v>125</c:v>
                </c:pt>
                <c:pt idx="52">
                  <c:v>9080</c:v>
                </c:pt>
                <c:pt idx="53">
                  <c:v>0</c:v>
                </c:pt>
                <c:pt idx="54">
                  <c:v>0</c:v>
                </c:pt>
                <c:pt idx="55">
                  <c:v>0</c:v>
                </c:pt>
                <c:pt idx="56">
                  <c:v>202860</c:v>
                </c:pt>
                <c:pt idx="57">
                  <c:v>198540</c:v>
                </c:pt>
                <c:pt idx="58">
                  <c:v>216920</c:v>
                </c:pt>
                <c:pt idx="59">
                  <c:v>229880</c:v>
                </c:pt>
                <c:pt idx="60">
                  <c:v>164320</c:v>
                </c:pt>
                <c:pt idx="61">
                  <c:v>120800</c:v>
                </c:pt>
                <c:pt idx="62">
                  <c:v>131820</c:v>
                </c:pt>
                <c:pt idx="63">
                  <c:v>157060</c:v>
                </c:pt>
                <c:pt idx="64">
                  <c:v>169650</c:v>
                </c:pt>
                <c:pt idx="65">
                  <c:v>173060</c:v>
                </c:pt>
                <c:pt idx="66">
                  <c:v>137660</c:v>
                </c:pt>
                <c:pt idx="67">
                  <c:v>158280</c:v>
                </c:pt>
                <c:pt idx="68">
                  <c:v>16600</c:v>
                </c:pt>
                <c:pt idx="69">
                  <c:v>3440</c:v>
                </c:pt>
                <c:pt idx="70">
                  <c:v>2560</c:v>
                </c:pt>
                <c:pt idx="71">
                  <c:v>3640</c:v>
                </c:pt>
                <c:pt idx="72">
                  <c:v>14530</c:v>
                </c:pt>
                <c:pt idx="73">
                  <c:v>20560</c:v>
                </c:pt>
                <c:pt idx="74">
                  <c:v>161840</c:v>
                </c:pt>
                <c:pt idx="75">
                  <c:v>148260</c:v>
                </c:pt>
                <c:pt idx="76">
                  <c:v>168920</c:v>
                </c:pt>
                <c:pt idx="77">
                  <c:v>148060</c:v>
                </c:pt>
                <c:pt idx="78">
                  <c:v>158980</c:v>
                </c:pt>
                <c:pt idx="79">
                  <c:v>180370</c:v>
                </c:pt>
                <c:pt idx="80">
                  <c:v>169620</c:v>
                </c:pt>
                <c:pt idx="81">
                  <c:v>169590</c:v>
                </c:pt>
                <c:pt idx="82">
                  <c:v>164760</c:v>
                </c:pt>
                <c:pt idx="83">
                  <c:v>170300</c:v>
                </c:pt>
                <c:pt idx="84">
                  <c:v>185160</c:v>
                </c:pt>
                <c:pt idx="85">
                  <c:v>154620</c:v>
                </c:pt>
                <c:pt idx="86">
                  <c:v>166860</c:v>
                </c:pt>
                <c:pt idx="87">
                  <c:v>0</c:v>
                </c:pt>
                <c:pt idx="88">
                  <c:v>175</c:v>
                </c:pt>
                <c:pt idx="89">
                  <c:v>500</c:v>
                </c:pt>
                <c:pt idx="90">
                  <c:v>20</c:v>
                </c:pt>
                <c:pt idx="91">
                  <c:v>40</c:v>
                </c:pt>
                <c:pt idx="92">
                  <c:v>30580</c:v>
                </c:pt>
                <c:pt idx="93">
                  <c:v>169160</c:v>
                </c:pt>
                <c:pt idx="94">
                  <c:v>163120</c:v>
                </c:pt>
                <c:pt idx="95">
                  <c:v>137480</c:v>
                </c:pt>
                <c:pt idx="96">
                  <c:v>17980</c:v>
                </c:pt>
                <c:pt idx="97">
                  <c:v>0</c:v>
                </c:pt>
                <c:pt idx="98">
                  <c:v>140</c:v>
                </c:pt>
                <c:pt idx="99">
                  <c:v>180</c:v>
                </c:pt>
              </c:numCache>
            </c:numRef>
          </c:val>
          <c:extLst>
            <c:ext xmlns:c16="http://schemas.microsoft.com/office/drawing/2014/chart" uri="{C3380CC4-5D6E-409C-BE32-E72D297353CC}">
              <c16:uniqueId val="{00000001-E3C4-46BC-AA3D-A3795B7CC7BA}"/>
            </c:ext>
          </c:extLst>
        </c:ser>
        <c:ser>
          <c:idx val="0"/>
          <c:order val="1"/>
          <c:tx>
            <c:strRef>
              <c:f>Sheet1!$C$1</c:f>
              <c:strCache>
                <c:ptCount val="1"/>
                <c:pt idx="0">
                  <c:v>Promo Volume</c:v>
                </c:pt>
              </c:strCache>
            </c:strRef>
          </c:tx>
          <c:spPr>
            <a:solidFill>
              <a:schemeClr val="accent3"/>
            </a:solidFill>
            <a:ln>
              <a:noFill/>
            </a:ln>
            <a:effectLst/>
          </c:spPr>
          <c:invertIfNegative val="0"/>
          <c:cat>
            <c:numRef>
              <c:f>Sheet1!$A$2:$A$101</c:f>
              <c:numCache>
                <c:formatCode>yyyy\-mm\-dd</c:formatCode>
                <c:ptCount val="100"/>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51</c:v>
                </c:pt>
                <c:pt idx="29">
                  <c:v>45158</c:v>
                </c:pt>
                <c:pt idx="30">
                  <c:v>45165</c:v>
                </c:pt>
                <c:pt idx="31">
                  <c:v>45172</c:v>
                </c:pt>
                <c:pt idx="32">
                  <c:v>45179</c:v>
                </c:pt>
                <c:pt idx="33">
                  <c:v>45186</c:v>
                </c:pt>
                <c:pt idx="34">
                  <c:v>45193</c:v>
                </c:pt>
                <c:pt idx="35">
                  <c:v>45200</c:v>
                </c:pt>
                <c:pt idx="36">
                  <c:v>45207</c:v>
                </c:pt>
                <c:pt idx="37">
                  <c:v>45214</c:v>
                </c:pt>
                <c:pt idx="38">
                  <c:v>45221</c:v>
                </c:pt>
                <c:pt idx="39">
                  <c:v>45228</c:v>
                </c:pt>
                <c:pt idx="40">
                  <c:v>45235</c:v>
                </c:pt>
                <c:pt idx="41">
                  <c:v>45242</c:v>
                </c:pt>
                <c:pt idx="42">
                  <c:v>45249</c:v>
                </c:pt>
                <c:pt idx="43">
                  <c:v>45256</c:v>
                </c:pt>
                <c:pt idx="44">
                  <c:v>45263</c:v>
                </c:pt>
                <c:pt idx="45">
                  <c:v>45270</c:v>
                </c:pt>
                <c:pt idx="46">
                  <c:v>45277</c:v>
                </c:pt>
                <c:pt idx="47">
                  <c:v>45284</c:v>
                </c:pt>
                <c:pt idx="48">
                  <c:v>45291</c:v>
                </c:pt>
                <c:pt idx="49">
                  <c:v>45298</c:v>
                </c:pt>
                <c:pt idx="50">
                  <c:v>45305</c:v>
                </c:pt>
                <c:pt idx="51">
                  <c:v>45312</c:v>
                </c:pt>
                <c:pt idx="52">
                  <c:v>45319</c:v>
                </c:pt>
                <c:pt idx="53">
                  <c:v>45326</c:v>
                </c:pt>
                <c:pt idx="54">
                  <c:v>45340</c:v>
                </c:pt>
                <c:pt idx="55">
                  <c:v>45347</c:v>
                </c:pt>
                <c:pt idx="56">
                  <c:v>45354</c:v>
                </c:pt>
                <c:pt idx="57">
                  <c:v>45361</c:v>
                </c:pt>
                <c:pt idx="58">
                  <c:v>45368</c:v>
                </c:pt>
                <c:pt idx="59">
                  <c:v>45375</c:v>
                </c:pt>
                <c:pt idx="60">
                  <c:v>45389</c:v>
                </c:pt>
                <c:pt idx="61">
                  <c:v>45396</c:v>
                </c:pt>
                <c:pt idx="62">
                  <c:v>45403</c:v>
                </c:pt>
                <c:pt idx="63">
                  <c:v>45410</c:v>
                </c:pt>
                <c:pt idx="64">
                  <c:v>45417</c:v>
                </c:pt>
                <c:pt idx="65">
                  <c:v>45424</c:v>
                </c:pt>
                <c:pt idx="66">
                  <c:v>45431</c:v>
                </c:pt>
                <c:pt idx="67">
                  <c:v>45438</c:v>
                </c:pt>
                <c:pt idx="68">
                  <c:v>45445</c:v>
                </c:pt>
                <c:pt idx="69">
                  <c:v>45452</c:v>
                </c:pt>
                <c:pt idx="70">
                  <c:v>45459</c:v>
                </c:pt>
                <c:pt idx="71">
                  <c:v>45466</c:v>
                </c:pt>
                <c:pt idx="72">
                  <c:v>45473</c:v>
                </c:pt>
                <c:pt idx="73">
                  <c:v>45480</c:v>
                </c:pt>
                <c:pt idx="74">
                  <c:v>45487</c:v>
                </c:pt>
                <c:pt idx="75">
                  <c:v>45508</c:v>
                </c:pt>
                <c:pt idx="76">
                  <c:v>45515</c:v>
                </c:pt>
                <c:pt idx="77">
                  <c:v>45522</c:v>
                </c:pt>
                <c:pt idx="78">
                  <c:v>45529</c:v>
                </c:pt>
                <c:pt idx="79">
                  <c:v>45536</c:v>
                </c:pt>
                <c:pt idx="80">
                  <c:v>45543</c:v>
                </c:pt>
                <c:pt idx="81">
                  <c:v>45550</c:v>
                </c:pt>
                <c:pt idx="82">
                  <c:v>45557</c:v>
                </c:pt>
                <c:pt idx="83">
                  <c:v>45564</c:v>
                </c:pt>
                <c:pt idx="84">
                  <c:v>45578</c:v>
                </c:pt>
                <c:pt idx="85">
                  <c:v>45585</c:v>
                </c:pt>
                <c:pt idx="86">
                  <c:v>45592</c:v>
                </c:pt>
                <c:pt idx="87">
                  <c:v>45599</c:v>
                </c:pt>
                <c:pt idx="88">
                  <c:v>45606</c:v>
                </c:pt>
                <c:pt idx="89">
                  <c:v>45613</c:v>
                </c:pt>
                <c:pt idx="90">
                  <c:v>45620</c:v>
                </c:pt>
                <c:pt idx="91">
                  <c:v>45627</c:v>
                </c:pt>
                <c:pt idx="92">
                  <c:v>45634</c:v>
                </c:pt>
                <c:pt idx="93">
                  <c:v>45641</c:v>
                </c:pt>
                <c:pt idx="94">
                  <c:v>45648</c:v>
                </c:pt>
                <c:pt idx="95">
                  <c:v>45655</c:v>
                </c:pt>
                <c:pt idx="96">
                  <c:v>45662</c:v>
                </c:pt>
                <c:pt idx="97">
                  <c:v>45669</c:v>
                </c:pt>
                <c:pt idx="98">
                  <c:v>45676</c:v>
                </c:pt>
                <c:pt idx="99">
                  <c:v>45683</c:v>
                </c:pt>
              </c:numCache>
            </c:numRef>
          </c:cat>
          <c:val>
            <c:numRef>
              <c:f>Sheet1!$C$2:$C$101</c:f>
              <c:numCache>
                <c:formatCode>General</c:formatCode>
                <c:ptCount val="100"/>
                <c:pt idx="0">
                  <c:v>82385</c:v>
                </c:pt>
                <c:pt idx="1">
                  <c:v>37785</c:v>
                </c:pt>
                <c:pt idx="2">
                  <c:v>32565</c:v>
                </c:pt>
                <c:pt idx="3">
                  <c:v>80990</c:v>
                </c:pt>
                <c:pt idx="4">
                  <c:v>0</c:v>
                </c:pt>
                <c:pt idx="5">
                  <c:v>0</c:v>
                </c:pt>
                <c:pt idx="6">
                  <c:v>0</c:v>
                </c:pt>
                <c:pt idx="7">
                  <c:v>0</c:v>
                </c:pt>
                <c:pt idx="8">
                  <c:v>0</c:v>
                </c:pt>
                <c:pt idx="9">
                  <c:v>85445</c:v>
                </c:pt>
                <c:pt idx="10">
                  <c:v>131080</c:v>
                </c:pt>
                <c:pt idx="11">
                  <c:v>106425</c:v>
                </c:pt>
                <c:pt idx="12">
                  <c:v>94670</c:v>
                </c:pt>
                <c:pt idx="13">
                  <c:v>81835</c:v>
                </c:pt>
                <c:pt idx="14">
                  <c:v>89265</c:v>
                </c:pt>
                <c:pt idx="15">
                  <c:v>107720</c:v>
                </c:pt>
                <c:pt idx="16">
                  <c:v>2820</c:v>
                </c:pt>
                <c:pt idx="17">
                  <c:v>0</c:v>
                </c:pt>
                <c:pt idx="18">
                  <c:v>0</c:v>
                </c:pt>
                <c:pt idx="19">
                  <c:v>78975</c:v>
                </c:pt>
                <c:pt idx="20">
                  <c:v>94165</c:v>
                </c:pt>
                <c:pt idx="21">
                  <c:v>293260</c:v>
                </c:pt>
                <c:pt idx="22">
                  <c:v>374525</c:v>
                </c:pt>
                <c:pt idx="23">
                  <c:v>375095</c:v>
                </c:pt>
                <c:pt idx="24">
                  <c:v>369045</c:v>
                </c:pt>
                <c:pt idx="25">
                  <c:v>337830</c:v>
                </c:pt>
                <c:pt idx="26">
                  <c:v>74925</c:v>
                </c:pt>
                <c:pt idx="27">
                  <c:v>61380</c:v>
                </c:pt>
                <c:pt idx="28">
                  <c:v>0</c:v>
                </c:pt>
                <c:pt idx="29">
                  <c:v>0</c:v>
                </c:pt>
                <c:pt idx="30">
                  <c:v>92610</c:v>
                </c:pt>
                <c:pt idx="31">
                  <c:v>70190</c:v>
                </c:pt>
                <c:pt idx="32">
                  <c:v>90505</c:v>
                </c:pt>
                <c:pt idx="33">
                  <c:v>59355</c:v>
                </c:pt>
                <c:pt idx="34">
                  <c:v>0</c:v>
                </c:pt>
                <c:pt idx="35">
                  <c:v>0</c:v>
                </c:pt>
                <c:pt idx="36">
                  <c:v>0</c:v>
                </c:pt>
                <c:pt idx="37">
                  <c:v>0</c:v>
                </c:pt>
                <c:pt idx="38">
                  <c:v>81380</c:v>
                </c:pt>
                <c:pt idx="39">
                  <c:v>101315</c:v>
                </c:pt>
                <c:pt idx="40">
                  <c:v>82960</c:v>
                </c:pt>
                <c:pt idx="41">
                  <c:v>370715</c:v>
                </c:pt>
                <c:pt idx="42">
                  <c:v>347800</c:v>
                </c:pt>
                <c:pt idx="43">
                  <c:v>306190</c:v>
                </c:pt>
                <c:pt idx="44">
                  <c:v>87065</c:v>
                </c:pt>
                <c:pt idx="45">
                  <c:v>69520</c:v>
                </c:pt>
                <c:pt idx="46">
                  <c:v>65215</c:v>
                </c:pt>
                <c:pt idx="47">
                  <c:v>95400</c:v>
                </c:pt>
                <c:pt idx="48">
                  <c:v>256870</c:v>
                </c:pt>
                <c:pt idx="49">
                  <c:v>362385</c:v>
                </c:pt>
                <c:pt idx="50">
                  <c:v>379230</c:v>
                </c:pt>
                <c:pt idx="51">
                  <c:v>348940</c:v>
                </c:pt>
                <c:pt idx="52">
                  <c:v>300020</c:v>
                </c:pt>
                <c:pt idx="53">
                  <c:v>0</c:v>
                </c:pt>
                <c:pt idx="54">
                  <c:v>0</c:v>
                </c:pt>
                <c:pt idx="55">
                  <c:v>0</c:v>
                </c:pt>
                <c:pt idx="56">
                  <c:v>69880</c:v>
                </c:pt>
                <c:pt idx="57">
                  <c:v>90165</c:v>
                </c:pt>
                <c:pt idx="58">
                  <c:v>65135</c:v>
                </c:pt>
                <c:pt idx="59">
                  <c:v>24340</c:v>
                </c:pt>
                <c:pt idx="60">
                  <c:v>86355</c:v>
                </c:pt>
                <c:pt idx="61">
                  <c:v>200865</c:v>
                </c:pt>
                <c:pt idx="62">
                  <c:v>188060</c:v>
                </c:pt>
                <c:pt idx="63">
                  <c:v>104420</c:v>
                </c:pt>
                <c:pt idx="64">
                  <c:v>54460</c:v>
                </c:pt>
                <c:pt idx="65">
                  <c:v>37460</c:v>
                </c:pt>
                <c:pt idx="66">
                  <c:v>63420</c:v>
                </c:pt>
                <c:pt idx="67">
                  <c:v>56845</c:v>
                </c:pt>
                <c:pt idx="68">
                  <c:v>213695</c:v>
                </c:pt>
                <c:pt idx="69">
                  <c:v>288120</c:v>
                </c:pt>
                <c:pt idx="70">
                  <c:v>286380</c:v>
                </c:pt>
                <c:pt idx="71">
                  <c:v>280440</c:v>
                </c:pt>
                <c:pt idx="72">
                  <c:v>278160</c:v>
                </c:pt>
                <c:pt idx="73">
                  <c:v>257200</c:v>
                </c:pt>
                <c:pt idx="74">
                  <c:v>26580</c:v>
                </c:pt>
                <c:pt idx="75">
                  <c:v>53250</c:v>
                </c:pt>
                <c:pt idx="76">
                  <c:v>66225</c:v>
                </c:pt>
                <c:pt idx="77">
                  <c:v>77510</c:v>
                </c:pt>
                <c:pt idx="78">
                  <c:v>63095</c:v>
                </c:pt>
                <c:pt idx="79">
                  <c:v>13520</c:v>
                </c:pt>
                <c:pt idx="80">
                  <c:v>14580</c:v>
                </c:pt>
                <c:pt idx="81">
                  <c:v>13440</c:v>
                </c:pt>
                <c:pt idx="82">
                  <c:v>14500</c:v>
                </c:pt>
                <c:pt idx="83">
                  <c:v>15360</c:v>
                </c:pt>
                <c:pt idx="84">
                  <c:v>910</c:v>
                </c:pt>
                <c:pt idx="85">
                  <c:v>53165</c:v>
                </c:pt>
                <c:pt idx="86">
                  <c:v>68325</c:v>
                </c:pt>
                <c:pt idx="87">
                  <c:v>285865</c:v>
                </c:pt>
                <c:pt idx="88">
                  <c:v>313980</c:v>
                </c:pt>
                <c:pt idx="89">
                  <c:v>296770</c:v>
                </c:pt>
                <c:pt idx="90">
                  <c:v>289345</c:v>
                </c:pt>
                <c:pt idx="91">
                  <c:v>266660</c:v>
                </c:pt>
                <c:pt idx="92">
                  <c:v>205270</c:v>
                </c:pt>
                <c:pt idx="93">
                  <c:v>58285</c:v>
                </c:pt>
                <c:pt idx="94">
                  <c:v>84160</c:v>
                </c:pt>
                <c:pt idx="95">
                  <c:v>76150</c:v>
                </c:pt>
                <c:pt idx="96">
                  <c:v>232055</c:v>
                </c:pt>
                <c:pt idx="97">
                  <c:v>404220</c:v>
                </c:pt>
                <c:pt idx="98">
                  <c:v>424980</c:v>
                </c:pt>
                <c:pt idx="99">
                  <c:v>386300</c:v>
                </c:pt>
              </c:numCache>
            </c:numRef>
          </c:val>
          <c:extLst>
            <c:ext xmlns:c16="http://schemas.microsoft.com/office/drawing/2014/chart" uri="{C3380CC4-5D6E-409C-BE32-E72D297353CC}">
              <c16:uniqueId val="{00000000-E3C4-46BC-AA3D-A3795B7CC7B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yyyy\-mm\-dd"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101</c:f>
              <c:numCache>
                <c:formatCode>yyyy\-mm\-dd</c:formatCode>
                <c:ptCount val="100"/>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51</c:v>
                </c:pt>
                <c:pt idx="29">
                  <c:v>45158</c:v>
                </c:pt>
                <c:pt idx="30">
                  <c:v>45165</c:v>
                </c:pt>
                <c:pt idx="31">
                  <c:v>45172</c:v>
                </c:pt>
                <c:pt idx="32">
                  <c:v>45179</c:v>
                </c:pt>
                <c:pt idx="33">
                  <c:v>45186</c:v>
                </c:pt>
                <c:pt idx="34">
                  <c:v>45193</c:v>
                </c:pt>
                <c:pt idx="35">
                  <c:v>45200</c:v>
                </c:pt>
                <c:pt idx="36">
                  <c:v>45207</c:v>
                </c:pt>
                <c:pt idx="37">
                  <c:v>45214</c:v>
                </c:pt>
                <c:pt idx="38">
                  <c:v>45221</c:v>
                </c:pt>
                <c:pt idx="39">
                  <c:v>45228</c:v>
                </c:pt>
                <c:pt idx="40">
                  <c:v>45235</c:v>
                </c:pt>
                <c:pt idx="41">
                  <c:v>45242</c:v>
                </c:pt>
                <c:pt idx="42">
                  <c:v>45249</c:v>
                </c:pt>
                <c:pt idx="43">
                  <c:v>45256</c:v>
                </c:pt>
                <c:pt idx="44">
                  <c:v>45263</c:v>
                </c:pt>
                <c:pt idx="45">
                  <c:v>45270</c:v>
                </c:pt>
                <c:pt idx="46">
                  <c:v>45277</c:v>
                </c:pt>
                <c:pt idx="47">
                  <c:v>45284</c:v>
                </c:pt>
                <c:pt idx="48">
                  <c:v>45291</c:v>
                </c:pt>
                <c:pt idx="49">
                  <c:v>45298</c:v>
                </c:pt>
                <c:pt idx="50">
                  <c:v>45305</c:v>
                </c:pt>
                <c:pt idx="51">
                  <c:v>45312</c:v>
                </c:pt>
                <c:pt idx="52">
                  <c:v>45319</c:v>
                </c:pt>
                <c:pt idx="53">
                  <c:v>45326</c:v>
                </c:pt>
                <c:pt idx="54">
                  <c:v>45340</c:v>
                </c:pt>
                <c:pt idx="55">
                  <c:v>45347</c:v>
                </c:pt>
                <c:pt idx="56">
                  <c:v>45354</c:v>
                </c:pt>
                <c:pt idx="57">
                  <c:v>45361</c:v>
                </c:pt>
                <c:pt idx="58">
                  <c:v>45368</c:v>
                </c:pt>
                <c:pt idx="59">
                  <c:v>45375</c:v>
                </c:pt>
                <c:pt idx="60">
                  <c:v>45389</c:v>
                </c:pt>
                <c:pt idx="61">
                  <c:v>45396</c:v>
                </c:pt>
                <c:pt idx="62">
                  <c:v>45403</c:v>
                </c:pt>
                <c:pt idx="63">
                  <c:v>45410</c:v>
                </c:pt>
                <c:pt idx="64">
                  <c:v>45417</c:v>
                </c:pt>
                <c:pt idx="65">
                  <c:v>45424</c:v>
                </c:pt>
                <c:pt idx="66">
                  <c:v>45431</c:v>
                </c:pt>
                <c:pt idx="67">
                  <c:v>45438</c:v>
                </c:pt>
                <c:pt idx="68">
                  <c:v>45445</c:v>
                </c:pt>
                <c:pt idx="69">
                  <c:v>45452</c:v>
                </c:pt>
                <c:pt idx="70">
                  <c:v>45459</c:v>
                </c:pt>
                <c:pt idx="71">
                  <c:v>45466</c:v>
                </c:pt>
                <c:pt idx="72">
                  <c:v>45473</c:v>
                </c:pt>
                <c:pt idx="73">
                  <c:v>45480</c:v>
                </c:pt>
                <c:pt idx="74">
                  <c:v>45487</c:v>
                </c:pt>
                <c:pt idx="75">
                  <c:v>45508</c:v>
                </c:pt>
                <c:pt idx="76">
                  <c:v>45515</c:v>
                </c:pt>
                <c:pt idx="77">
                  <c:v>45522</c:v>
                </c:pt>
                <c:pt idx="78">
                  <c:v>45529</c:v>
                </c:pt>
                <c:pt idx="79">
                  <c:v>45536</c:v>
                </c:pt>
                <c:pt idx="80">
                  <c:v>45543</c:v>
                </c:pt>
                <c:pt idx="81">
                  <c:v>45550</c:v>
                </c:pt>
                <c:pt idx="82">
                  <c:v>45557</c:v>
                </c:pt>
                <c:pt idx="83">
                  <c:v>45564</c:v>
                </c:pt>
                <c:pt idx="84">
                  <c:v>45578</c:v>
                </c:pt>
                <c:pt idx="85">
                  <c:v>45585</c:v>
                </c:pt>
                <c:pt idx="86">
                  <c:v>45592</c:v>
                </c:pt>
                <c:pt idx="87">
                  <c:v>45599</c:v>
                </c:pt>
                <c:pt idx="88">
                  <c:v>45606</c:v>
                </c:pt>
                <c:pt idx="89">
                  <c:v>45613</c:v>
                </c:pt>
                <c:pt idx="90">
                  <c:v>45620</c:v>
                </c:pt>
                <c:pt idx="91">
                  <c:v>45627</c:v>
                </c:pt>
                <c:pt idx="92">
                  <c:v>45634</c:v>
                </c:pt>
                <c:pt idx="93">
                  <c:v>45641</c:v>
                </c:pt>
                <c:pt idx="94">
                  <c:v>45648</c:v>
                </c:pt>
                <c:pt idx="95">
                  <c:v>45655</c:v>
                </c:pt>
                <c:pt idx="96">
                  <c:v>45662</c:v>
                </c:pt>
                <c:pt idx="97">
                  <c:v>45669</c:v>
                </c:pt>
                <c:pt idx="98">
                  <c:v>45676</c:v>
                </c:pt>
                <c:pt idx="99">
                  <c:v>45683</c:v>
                </c:pt>
              </c:numCache>
            </c:numRef>
          </c:cat>
          <c:val>
            <c:numRef>
              <c:f>Sheet1!$B$2:$B$101</c:f>
              <c:numCache>
                <c:formatCode>General</c:formatCode>
                <c:ptCount val="100"/>
                <c:pt idx="0">
                  <c:v>360607</c:v>
                </c:pt>
                <c:pt idx="1">
                  <c:v>352249</c:v>
                </c:pt>
                <c:pt idx="2">
                  <c:v>342992</c:v>
                </c:pt>
                <c:pt idx="3">
                  <c:v>328492</c:v>
                </c:pt>
                <c:pt idx="4">
                  <c:v>339350</c:v>
                </c:pt>
                <c:pt idx="5">
                  <c:v>346982</c:v>
                </c:pt>
                <c:pt idx="6">
                  <c:v>334096</c:v>
                </c:pt>
                <c:pt idx="7">
                  <c:v>336495</c:v>
                </c:pt>
                <c:pt idx="8">
                  <c:v>358221</c:v>
                </c:pt>
                <c:pt idx="9">
                  <c:v>339625</c:v>
                </c:pt>
                <c:pt idx="10">
                  <c:v>320878</c:v>
                </c:pt>
                <c:pt idx="11">
                  <c:v>327195</c:v>
                </c:pt>
                <c:pt idx="12">
                  <c:v>360794</c:v>
                </c:pt>
                <c:pt idx="13">
                  <c:v>361445</c:v>
                </c:pt>
                <c:pt idx="14">
                  <c:v>307922</c:v>
                </c:pt>
                <c:pt idx="15">
                  <c:v>352501</c:v>
                </c:pt>
                <c:pt idx="16">
                  <c:v>362104</c:v>
                </c:pt>
                <c:pt idx="17">
                  <c:v>389632</c:v>
                </c:pt>
                <c:pt idx="18">
                  <c:v>365463</c:v>
                </c:pt>
                <c:pt idx="19">
                  <c:v>363794</c:v>
                </c:pt>
                <c:pt idx="20">
                  <c:v>385878</c:v>
                </c:pt>
                <c:pt idx="21">
                  <c:v>402742</c:v>
                </c:pt>
                <c:pt idx="22">
                  <c:v>411659</c:v>
                </c:pt>
                <c:pt idx="23">
                  <c:v>398022</c:v>
                </c:pt>
                <c:pt idx="24">
                  <c:v>386487</c:v>
                </c:pt>
                <c:pt idx="25">
                  <c:v>401198</c:v>
                </c:pt>
                <c:pt idx="26">
                  <c:v>0</c:v>
                </c:pt>
                <c:pt idx="27">
                  <c:v>0</c:v>
                </c:pt>
                <c:pt idx="28">
                  <c:v>251962</c:v>
                </c:pt>
                <c:pt idx="29">
                  <c:v>35160</c:v>
                </c:pt>
                <c:pt idx="30">
                  <c:v>20498</c:v>
                </c:pt>
                <c:pt idx="31">
                  <c:v>17883</c:v>
                </c:pt>
                <c:pt idx="32">
                  <c:v>18859</c:v>
                </c:pt>
                <c:pt idx="33">
                  <c:v>16659</c:v>
                </c:pt>
                <c:pt idx="34">
                  <c:v>19135</c:v>
                </c:pt>
                <c:pt idx="35">
                  <c:v>25785</c:v>
                </c:pt>
                <c:pt idx="36">
                  <c:v>30853</c:v>
                </c:pt>
                <c:pt idx="37">
                  <c:v>34539</c:v>
                </c:pt>
                <c:pt idx="38">
                  <c:v>36233</c:v>
                </c:pt>
                <c:pt idx="39">
                  <c:v>38811</c:v>
                </c:pt>
                <c:pt idx="40">
                  <c:v>422506</c:v>
                </c:pt>
                <c:pt idx="41">
                  <c:v>410500</c:v>
                </c:pt>
                <c:pt idx="42">
                  <c:v>366254</c:v>
                </c:pt>
                <c:pt idx="43">
                  <c:v>333519</c:v>
                </c:pt>
                <c:pt idx="44">
                  <c:v>367563</c:v>
                </c:pt>
                <c:pt idx="45">
                  <c:v>364252</c:v>
                </c:pt>
                <c:pt idx="46">
                  <c:v>379089</c:v>
                </c:pt>
                <c:pt idx="47">
                  <c:v>413928</c:v>
                </c:pt>
                <c:pt idx="48">
                  <c:v>320297</c:v>
                </c:pt>
                <c:pt idx="49">
                  <c:v>362390</c:v>
                </c:pt>
                <c:pt idx="50">
                  <c:v>309163</c:v>
                </c:pt>
                <c:pt idx="51">
                  <c:v>315193</c:v>
                </c:pt>
                <c:pt idx="52">
                  <c:v>340848</c:v>
                </c:pt>
                <c:pt idx="53">
                  <c:v>355996</c:v>
                </c:pt>
                <c:pt idx="54">
                  <c:v>301344</c:v>
                </c:pt>
                <c:pt idx="55">
                  <c:v>279597</c:v>
                </c:pt>
                <c:pt idx="56">
                  <c:v>335054</c:v>
                </c:pt>
                <c:pt idx="57">
                  <c:v>0</c:v>
                </c:pt>
                <c:pt idx="58">
                  <c:v>344234</c:v>
                </c:pt>
                <c:pt idx="59">
                  <c:v>264455</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362277</c:v>
                </c:pt>
                <c:pt idx="78">
                  <c:v>0</c:v>
                </c:pt>
                <c:pt idx="79">
                  <c:v>0</c:v>
                </c:pt>
                <c:pt idx="80">
                  <c:v>0</c:v>
                </c:pt>
                <c:pt idx="81">
                  <c:v>0</c:v>
                </c:pt>
                <c:pt idx="82">
                  <c:v>0</c:v>
                </c:pt>
                <c:pt idx="83">
                  <c:v>0</c:v>
                </c:pt>
                <c:pt idx="84">
                  <c:v>272432</c:v>
                </c:pt>
                <c:pt idx="85">
                  <c:v>269867</c:v>
                </c:pt>
                <c:pt idx="86">
                  <c:v>299321</c:v>
                </c:pt>
                <c:pt idx="87">
                  <c:v>345554</c:v>
                </c:pt>
                <c:pt idx="88">
                  <c:v>354622</c:v>
                </c:pt>
                <c:pt idx="89">
                  <c:v>336014</c:v>
                </c:pt>
                <c:pt idx="90">
                  <c:v>330034</c:v>
                </c:pt>
                <c:pt idx="91">
                  <c:v>265530</c:v>
                </c:pt>
                <c:pt idx="92">
                  <c:v>278416</c:v>
                </c:pt>
                <c:pt idx="93">
                  <c:v>323708</c:v>
                </c:pt>
                <c:pt idx="94">
                  <c:v>370460</c:v>
                </c:pt>
                <c:pt idx="95">
                  <c:v>313626</c:v>
                </c:pt>
                <c:pt idx="96">
                  <c:v>336739</c:v>
                </c:pt>
                <c:pt idx="97">
                  <c:v>316330</c:v>
                </c:pt>
                <c:pt idx="98">
                  <c:v>0</c:v>
                </c:pt>
                <c:pt idx="99">
                  <c:v>0</c:v>
                </c:pt>
              </c:numCache>
            </c:numRef>
          </c:val>
          <c:extLst>
            <c:ext xmlns:c16="http://schemas.microsoft.com/office/drawing/2014/chart" uri="{C3380CC4-5D6E-409C-BE32-E72D297353CC}">
              <c16:uniqueId val="{00000000-72A7-4D08-96D7-E73109FBDC9A}"/>
            </c:ext>
          </c:extLst>
        </c:ser>
        <c:ser>
          <c:idx val="0"/>
          <c:order val="1"/>
          <c:tx>
            <c:strRef>
              <c:f>Sheet1!$C$1</c:f>
              <c:strCache>
                <c:ptCount val="1"/>
                <c:pt idx="0">
                  <c:v>Promo Volume</c:v>
                </c:pt>
              </c:strCache>
            </c:strRef>
          </c:tx>
          <c:spPr>
            <a:solidFill>
              <a:schemeClr val="accent3"/>
            </a:solidFill>
            <a:ln>
              <a:noFill/>
            </a:ln>
            <a:effectLst/>
          </c:spPr>
          <c:invertIfNegative val="0"/>
          <c:cat>
            <c:numRef>
              <c:f>Sheet1!$A$2:$A$101</c:f>
              <c:numCache>
                <c:formatCode>yyyy\-mm\-dd</c:formatCode>
                <c:ptCount val="100"/>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074</c:v>
                </c:pt>
                <c:pt idx="21">
                  <c:v>45081</c:v>
                </c:pt>
                <c:pt idx="22">
                  <c:v>45088</c:v>
                </c:pt>
                <c:pt idx="23">
                  <c:v>45095</c:v>
                </c:pt>
                <c:pt idx="24">
                  <c:v>45102</c:v>
                </c:pt>
                <c:pt idx="25">
                  <c:v>45109</c:v>
                </c:pt>
                <c:pt idx="26">
                  <c:v>45116</c:v>
                </c:pt>
                <c:pt idx="27">
                  <c:v>45123</c:v>
                </c:pt>
                <c:pt idx="28">
                  <c:v>45151</c:v>
                </c:pt>
                <c:pt idx="29">
                  <c:v>45158</c:v>
                </c:pt>
                <c:pt idx="30">
                  <c:v>45165</c:v>
                </c:pt>
                <c:pt idx="31">
                  <c:v>45172</c:v>
                </c:pt>
                <c:pt idx="32">
                  <c:v>45179</c:v>
                </c:pt>
                <c:pt idx="33">
                  <c:v>45186</c:v>
                </c:pt>
                <c:pt idx="34">
                  <c:v>45193</c:v>
                </c:pt>
                <c:pt idx="35">
                  <c:v>45200</c:v>
                </c:pt>
                <c:pt idx="36">
                  <c:v>45207</c:v>
                </c:pt>
                <c:pt idx="37">
                  <c:v>45214</c:v>
                </c:pt>
                <c:pt idx="38">
                  <c:v>45221</c:v>
                </c:pt>
                <c:pt idx="39">
                  <c:v>45228</c:v>
                </c:pt>
                <c:pt idx="40">
                  <c:v>45235</c:v>
                </c:pt>
                <c:pt idx="41">
                  <c:v>45242</c:v>
                </c:pt>
                <c:pt idx="42">
                  <c:v>45249</c:v>
                </c:pt>
                <c:pt idx="43">
                  <c:v>45256</c:v>
                </c:pt>
                <c:pt idx="44">
                  <c:v>45263</c:v>
                </c:pt>
                <c:pt idx="45">
                  <c:v>45270</c:v>
                </c:pt>
                <c:pt idx="46">
                  <c:v>45277</c:v>
                </c:pt>
                <c:pt idx="47">
                  <c:v>45284</c:v>
                </c:pt>
                <c:pt idx="48">
                  <c:v>45291</c:v>
                </c:pt>
                <c:pt idx="49">
                  <c:v>45298</c:v>
                </c:pt>
                <c:pt idx="50">
                  <c:v>45305</c:v>
                </c:pt>
                <c:pt idx="51">
                  <c:v>45312</c:v>
                </c:pt>
                <c:pt idx="52">
                  <c:v>45319</c:v>
                </c:pt>
                <c:pt idx="53">
                  <c:v>45326</c:v>
                </c:pt>
                <c:pt idx="54">
                  <c:v>45340</c:v>
                </c:pt>
                <c:pt idx="55">
                  <c:v>45347</c:v>
                </c:pt>
                <c:pt idx="56">
                  <c:v>45354</c:v>
                </c:pt>
                <c:pt idx="57">
                  <c:v>45361</c:v>
                </c:pt>
                <c:pt idx="58">
                  <c:v>45368</c:v>
                </c:pt>
                <c:pt idx="59">
                  <c:v>45375</c:v>
                </c:pt>
                <c:pt idx="60">
                  <c:v>45389</c:v>
                </c:pt>
                <c:pt idx="61">
                  <c:v>45396</c:v>
                </c:pt>
                <c:pt idx="62">
                  <c:v>45403</c:v>
                </c:pt>
                <c:pt idx="63">
                  <c:v>45410</c:v>
                </c:pt>
                <c:pt idx="64">
                  <c:v>45417</c:v>
                </c:pt>
                <c:pt idx="65">
                  <c:v>45424</c:v>
                </c:pt>
                <c:pt idx="66">
                  <c:v>45431</c:v>
                </c:pt>
                <c:pt idx="67">
                  <c:v>45438</c:v>
                </c:pt>
                <c:pt idx="68">
                  <c:v>45445</c:v>
                </c:pt>
                <c:pt idx="69">
                  <c:v>45452</c:v>
                </c:pt>
                <c:pt idx="70">
                  <c:v>45459</c:v>
                </c:pt>
                <c:pt idx="71">
                  <c:v>45466</c:v>
                </c:pt>
                <c:pt idx="72">
                  <c:v>45473</c:v>
                </c:pt>
                <c:pt idx="73">
                  <c:v>45480</c:v>
                </c:pt>
                <c:pt idx="74">
                  <c:v>45487</c:v>
                </c:pt>
                <c:pt idx="75">
                  <c:v>45508</c:v>
                </c:pt>
                <c:pt idx="76">
                  <c:v>45515</c:v>
                </c:pt>
                <c:pt idx="77">
                  <c:v>45522</c:v>
                </c:pt>
                <c:pt idx="78">
                  <c:v>45529</c:v>
                </c:pt>
                <c:pt idx="79">
                  <c:v>45536</c:v>
                </c:pt>
                <c:pt idx="80">
                  <c:v>45543</c:v>
                </c:pt>
                <c:pt idx="81">
                  <c:v>45550</c:v>
                </c:pt>
                <c:pt idx="82">
                  <c:v>45557</c:v>
                </c:pt>
                <c:pt idx="83">
                  <c:v>45564</c:v>
                </c:pt>
                <c:pt idx="84">
                  <c:v>45578</c:v>
                </c:pt>
                <c:pt idx="85">
                  <c:v>45585</c:v>
                </c:pt>
                <c:pt idx="86">
                  <c:v>45592</c:v>
                </c:pt>
                <c:pt idx="87">
                  <c:v>45599</c:v>
                </c:pt>
                <c:pt idx="88">
                  <c:v>45606</c:v>
                </c:pt>
                <c:pt idx="89">
                  <c:v>45613</c:v>
                </c:pt>
                <c:pt idx="90">
                  <c:v>45620</c:v>
                </c:pt>
                <c:pt idx="91">
                  <c:v>45627</c:v>
                </c:pt>
                <c:pt idx="92">
                  <c:v>45634</c:v>
                </c:pt>
                <c:pt idx="93">
                  <c:v>45641</c:v>
                </c:pt>
                <c:pt idx="94">
                  <c:v>45648</c:v>
                </c:pt>
                <c:pt idx="95">
                  <c:v>45655</c:v>
                </c:pt>
                <c:pt idx="96">
                  <c:v>45662</c:v>
                </c:pt>
                <c:pt idx="97">
                  <c:v>45669</c:v>
                </c:pt>
                <c:pt idx="98">
                  <c:v>45676</c:v>
                </c:pt>
                <c:pt idx="99">
                  <c:v>45683</c:v>
                </c:pt>
              </c:numCache>
            </c:numRef>
          </c:cat>
          <c:val>
            <c:numRef>
              <c:f>Sheet1!$C$2:$C$101</c:f>
              <c:numCache>
                <c:formatCode>General</c:formatCode>
                <c:ptCount val="100"/>
                <c:pt idx="0">
                  <c:v>64667</c:v>
                </c:pt>
                <c:pt idx="1">
                  <c:v>42852</c:v>
                </c:pt>
                <c:pt idx="2">
                  <c:v>35164</c:v>
                </c:pt>
                <c:pt idx="3">
                  <c:v>25722</c:v>
                </c:pt>
                <c:pt idx="4">
                  <c:v>26786</c:v>
                </c:pt>
                <c:pt idx="5">
                  <c:v>30736</c:v>
                </c:pt>
                <c:pt idx="6">
                  <c:v>37173</c:v>
                </c:pt>
                <c:pt idx="7">
                  <c:v>75134</c:v>
                </c:pt>
                <c:pt idx="8">
                  <c:v>60902</c:v>
                </c:pt>
                <c:pt idx="9">
                  <c:v>56603</c:v>
                </c:pt>
                <c:pt idx="10">
                  <c:v>56632</c:v>
                </c:pt>
                <c:pt idx="11">
                  <c:v>71144</c:v>
                </c:pt>
                <c:pt idx="12">
                  <c:v>2547</c:v>
                </c:pt>
                <c:pt idx="13">
                  <c:v>37345</c:v>
                </c:pt>
                <c:pt idx="14">
                  <c:v>56291</c:v>
                </c:pt>
                <c:pt idx="15">
                  <c:v>50081</c:v>
                </c:pt>
                <c:pt idx="16">
                  <c:v>7683</c:v>
                </c:pt>
                <c:pt idx="17">
                  <c:v>2404</c:v>
                </c:pt>
                <c:pt idx="18">
                  <c:v>2232</c:v>
                </c:pt>
                <c:pt idx="19">
                  <c:v>1606</c:v>
                </c:pt>
                <c:pt idx="20">
                  <c:v>1255</c:v>
                </c:pt>
                <c:pt idx="21">
                  <c:v>1901</c:v>
                </c:pt>
                <c:pt idx="22">
                  <c:v>1725</c:v>
                </c:pt>
                <c:pt idx="23">
                  <c:v>862</c:v>
                </c:pt>
                <c:pt idx="24">
                  <c:v>2127</c:v>
                </c:pt>
                <c:pt idx="25">
                  <c:v>2886</c:v>
                </c:pt>
                <c:pt idx="26">
                  <c:v>0</c:v>
                </c:pt>
                <c:pt idx="27">
                  <c:v>0</c:v>
                </c:pt>
                <c:pt idx="28">
                  <c:v>167672</c:v>
                </c:pt>
                <c:pt idx="29">
                  <c:v>418146</c:v>
                </c:pt>
                <c:pt idx="30">
                  <c:v>423573</c:v>
                </c:pt>
                <c:pt idx="31">
                  <c:v>421880</c:v>
                </c:pt>
                <c:pt idx="32">
                  <c:v>423350</c:v>
                </c:pt>
                <c:pt idx="33">
                  <c:v>407095</c:v>
                </c:pt>
                <c:pt idx="34">
                  <c:v>397584</c:v>
                </c:pt>
                <c:pt idx="35">
                  <c:v>393285</c:v>
                </c:pt>
                <c:pt idx="36">
                  <c:v>414853</c:v>
                </c:pt>
                <c:pt idx="37">
                  <c:v>418524</c:v>
                </c:pt>
                <c:pt idx="38">
                  <c:v>408006</c:v>
                </c:pt>
                <c:pt idx="39">
                  <c:v>387093</c:v>
                </c:pt>
                <c:pt idx="40">
                  <c:v>22028</c:v>
                </c:pt>
                <c:pt idx="41">
                  <c:v>26488</c:v>
                </c:pt>
                <c:pt idx="42">
                  <c:v>34566</c:v>
                </c:pt>
                <c:pt idx="43">
                  <c:v>51502</c:v>
                </c:pt>
                <c:pt idx="44">
                  <c:v>62994</c:v>
                </c:pt>
                <c:pt idx="45">
                  <c:v>112572</c:v>
                </c:pt>
                <c:pt idx="46">
                  <c:v>106864</c:v>
                </c:pt>
                <c:pt idx="47">
                  <c:v>174603</c:v>
                </c:pt>
                <c:pt idx="48">
                  <c:v>317552</c:v>
                </c:pt>
                <c:pt idx="49">
                  <c:v>11348</c:v>
                </c:pt>
                <c:pt idx="50">
                  <c:v>21360</c:v>
                </c:pt>
                <c:pt idx="51">
                  <c:v>9072</c:v>
                </c:pt>
                <c:pt idx="52">
                  <c:v>3816</c:v>
                </c:pt>
                <c:pt idx="53">
                  <c:v>2476</c:v>
                </c:pt>
                <c:pt idx="54">
                  <c:v>34978</c:v>
                </c:pt>
                <c:pt idx="55">
                  <c:v>121649</c:v>
                </c:pt>
                <c:pt idx="56">
                  <c:v>42472</c:v>
                </c:pt>
                <c:pt idx="57">
                  <c:v>0</c:v>
                </c:pt>
                <c:pt idx="58">
                  <c:v>1003</c:v>
                </c:pt>
                <c:pt idx="59">
                  <c:v>119643</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1683</c:v>
                </c:pt>
                <c:pt idx="78">
                  <c:v>0</c:v>
                </c:pt>
                <c:pt idx="79">
                  <c:v>0</c:v>
                </c:pt>
                <c:pt idx="80">
                  <c:v>0</c:v>
                </c:pt>
                <c:pt idx="81">
                  <c:v>0</c:v>
                </c:pt>
                <c:pt idx="82">
                  <c:v>0</c:v>
                </c:pt>
                <c:pt idx="83">
                  <c:v>0</c:v>
                </c:pt>
                <c:pt idx="84">
                  <c:v>86535</c:v>
                </c:pt>
                <c:pt idx="85">
                  <c:v>109076</c:v>
                </c:pt>
                <c:pt idx="86">
                  <c:v>70912</c:v>
                </c:pt>
                <c:pt idx="87">
                  <c:v>30284</c:v>
                </c:pt>
                <c:pt idx="88">
                  <c:v>38753</c:v>
                </c:pt>
                <c:pt idx="89">
                  <c:v>47520</c:v>
                </c:pt>
                <c:pt idx="90">
                  <c:v>55336</c:v>
                </c:pt>
                <c:pt idx="91">
                  <c:v>122843</c:v>
                </c:pt>
                <c:pt idx="92">
                  <c:v>190112</c:v>
                </c:pt>
                <c:pt idx="93">
                  <c:v>159134</c:v>
                </c:pt>
                <c:pt idx="94">
                  <c:v>160254</c:v>
                </c:pt>
                <c:pt idx="95">
                  <c:v>334412</c:v>
                </c:pt>
                <c:pt idx="96">
                  <c:v>7227</c:v>
                </c:pt>
                <c:pt idx="97">
                  <c:v>2106</c:v>
                </c:pt>
                <c:pt idx="98">
                  <c:v>0</c:v>
                </c:pt>
                <c:pt idx="99">
                  <c:v>0</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68</c:f>
              <c:numCache>
                <c:formatCode>yyyy\-mm\-dd</c:formatCode>
                <c:ptCount val="67"/>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109</c:v>
                </c:pt>
                <c:pt idx="21">
                  <c:v>45130</c:v>
                </c:pt>
                <c:pt idx="22">
                  <c:v>45172</c:v>
                </c:pt>
                <c:pt idx="23">
                  <c:v>45179</c:v>
                </c:pt>
                <c:pt idx="24">
                  <c:v>45193</c:v>
                </c:pt>
                <c:pt idx="25">
                  <c:v>45200</c:v>
                </c:pt>
                <c:pt idx="26">
                  <c:v>45207</c:v>
                </c:pt>
                <c:pt idx="27">
                  <c:v>45214</c:v>
                </c:pt>
                <c:pt idx="28">
                  <c:v>45221</c:v>
                </c:pt>
                <c:pt idx="29">
                  <c:v>45228</c:v>
                </c:pt>
                <c:pt idx="30">
                  <c:v>45235</c:v>
                </c:pt>
                <c:pt idx="31">
                  <c:v>45242</c:v>
                </c:pt>
                <c:pt idx="32">
                  <c:v>45249</c:v>
                </c:pt>
                <c:pt idx="33">
                  <c:v>45256</c:v>
                </c:pt>
                <c:pt idx="34">
                  <c:v>45263</c:v>
                </c:pt>
                <c:pt idx="35">
                  <c:v>45270</c:v>
                </c:pt>
                <c:pt idx="36">
                  <c:v>45277</c:v>
                </c:pt>
                <c:pt idx="37">
                  <c:v>45284</c:v>
                </c:pt>
                <c:pt idx="38">
                  <c:v>45291</c:v>
                </c:pt>
                <c:pt idx="39">
                  <c:v>45298</c:v>
                </c:pt>
                <c:pt idx="40">
                  <c:v>45305</c:v>
                </c:pt>
                <c:pt idx="41">
                  <c:v>45312</c:v>
                </c:pt>
                <c:pt idx="42">
                  <c:v>45319</c:v>
                </c:pt>
                <c:pt idx="43">
                  <c:v>45326</c:v>
                </c:pt>
                <c:pt idx="44">
                  <c:v>45333</c:v>
                </c:pt>
                <c:pt idx="45">
                  <c:v>45340</c:v>
                </c:pt>
                <c:pt idx="46">
                  <c:v>45354</c:v>
                </c:pt>
                <c:pt idx="47">
                  <c:v>45396</c:v>
                </c:pt>
                <c:pt idx="48">
                  <c:v>45438</c:v>
                </c:pt>
                <c:pt idx="49">
                  <c:v>45445</c:v>
                </c:pt>
                <c:pt idx="50">
                  <c:v>45515</c:v>
                </c:pt>
                <c:pt idx="51">
                  <c:v>45543</c:v>
                </c:pt>
                <c:pt idx="52">
                  <c:v>45578</c:v>
                </c:pt>
                <c:pt idx="53">
                  <c:v>45585</c:v>
                </c:pt>
                <c:pt idx="54">
                  <c:v>45592</c:v>
                </c:pt>
                <c:pt idx="55">
                  <c:v>45599</c:v>
                </c:pt>
                <c:pt idx="56">
                  <c:v>45606</c:v>
                </c:pt>
                <c:pt idx="57">
                  <c:v>45613</c:v>
                </c:pt>
                <c:pt idx="58">
                  <c:v>45620</c:v>
                </c:pt>
                <c:pt idx="59">
                  <c:v>45627</c:v>
                </c:pt>
                <c:pt idx="60">
                  <c:v>45634</c:v>
                </c:pt>
                <c:pt idx="61">
                  <c:v>45641</c:v>
                </c:pt>
                <c:pt idx="62">
                  <c:v>45648</c:v>
                </c:pt>
                <c:pt idx="63">
                  <c:v>45655</c:v>
                </c:pt>
                <c:pt idx="64">
                  <c:v>45662</c:v>
                </c:pt>
                <c:pt idx="65">
                  <c:v>45669</c:v>
                </c:pt>
                <c:pt idx="66">
                  <c:v>45676</c:v>
                </c:pt>
              </c:numCache>
            </c:numRef>
          </c:cat>
          <c:val>
            <c:numRef>
              <c:f>Sheet1!$B$2:$B$68</c:f>
              <c:numCache>
                <c:formatCode>General</c:formatCode>
                <c:ptCount val="67"/>
                <c:pt idx="0">
                  <c:v>13518</c:v>
                </c:pt>
                <c:pt idx="1">
                  <c:v>13770</c:v>
                </c:pt>
                <c:pt idx="2">
                  <c:v>13187</c:v>
                </c:pt>
                <c:pt idx="3">
                  <c:v>12524</c:v>
                </c:pt>
                <c:pt idx="4">
                  <c:v>12618</c:v>
                </c:pt>
                <c:pt idx="5">
                  <c:v>13768</c:v>
                </c:pt>
                <c:pt idx="6">
                  <c:v>12938</c:v>
                </c:pt>
                <c:pt idx="7">
                  <c:v>12475</c:v>
                </c:pt>
                <c:pt idx="8">
                  <c:v>14854</c:v>
                </c:pt>
                <c:pt idx="9">
                  <c:v>13401</c:v>
                </c:pt>
                <c:pt idx="10">
                  <c:v>13554</c:v>
                </c:pt>
                <c:pt idx="11">
                  <c:v>14162</c:v>
                </c:pt>
                <c:pt idx="12">
                  <c:v>14373</c:v>
                </c:pt>
                <c:pt idx="13">
                  <c:v>16015</c:v>
                </c:pt>
                <c:pt idx="14">
                  <c:v>12880</c:v>
                </c:pt>
                <c:pt idx="15">
                  <c:v>12913</c:v>
                </c:pt>
                <c:pt idx="16">
                  <c:v>13782</c:v>
                </c:pt>
                <c:pt idx="17">
                  <c:v>16074</c:v>
                </c:pt>
                <c:pt idx="18">
                  <c:v>15074</c:v>
                </c:pt>
                <c:pt idx="19">
                  <c:v>14838</c:v>
                </c:pt>
                <c:pt idx="20">
                  <c:v>15634</c:v>
                </c:pt>
                <c:pt idx="21">
                  <c:v>13912</c:v>
                </c:pt>
                <c:pt idx="22">
                  <c:v>17661</c:v>
                </c:pt>
                <c:pt idx="23">
                  <c:v>18756</c:v>
                </c:pt>
                <c:pt idx="24">
                  <c:v>15700</c:v>
                </c:pt>
                <c:pt idx="25">
                  <c:v>14408</c:v>
                </c:pt>
                <c:pt idx="26">
                  <c:v>14359</c:v>
                </c:pt>
                <c:pt idx="27">
                  <c:v>12408</c:v>
                </c:pt>
                <c:pt idx="28">
                  <c:v>13562</c:v>
                </c:pt>
                <c:pt idx="29">
                  <c:v>12860</c:v>
                </c:pt>
                <c:pt idx="30">
                  <c:v>12822</c:v>
                </c:pt>
                <c:pt idx="31">
                  <c:v>14636</c:v>
                </c:pt>
                <c:pt idx="32">
                  <c:v>13674</c:v>
                </c:pt>
                <c:pt idx="33">
                  <c:v>13065</c:v>
                </c:pt>
                <c:pt idx="34">
                  <c:v>13914</c:v>
                </c:pt>
                <c:pt idx="35">
                  <c:v>14444</c:v>
                </c:pt>
                <c:pt idx="36">
                  <c:v>10802</c:v>
                </c:pt>
                <c:pt idx="37">
                  <c:v>10867</c:v>
                </c:pt>
                <c:pt idx="38">
                  <c:v>6831</c:v>
                </c:pt>
                <c:pt idx="39">
                  <c:v>8839</c:v>
                </c:pt>
                <c:pt idx="40">
                  <c:v>11710</c:v>
                </c:pt>
                <c:pt idx="41">
                  <c:v>19856</c:v>
                </c:pt>
                <c:pt idx="42">
                  <c:v>23059</c:v>
                </c:pt>
                <c:pt idx="43">
                  <c:v>24499</c:v>
                </c:pt>
                <c:pt idx="44">
                  <c:v>26927</c:v>
                </c:pt>
                <c:pt idx="45">
                  <c:v>23142</c:v>
                </c:pt>
                <c:pt idx="46">
                  <c:v>23818</c:v>
                </c:pt>
                <c:pt idx="47">
                  <c:v>19687</c:v>
                </c:pt>
                <c:pt idx="48">
                  <c:v>23937</c:v>
                </c:pt>
                <c:pt idx="49">
                  <c:v>26963</c:v>
                </c:pt>
                <c:pt idx="50">
                  <c:v>25998</c:v>
                </c:pt>
                <c:pt idx="51">
                  <c:v>25833</c:v>
                </c:pt>
                <c:pt idx="52">
                  <c:v>19488</c:v>
                </c:pt>
                <c:pt idx="53">
                  <c:v>18353</c:v>
                </c:pt>
                <c:pt idx="54">
                  <c:v>20147</c:v>
                </c:pt>
                <c:pt idx="55">
                  <c:v>22422</c:v>
                </c:pt>
                <c:pt idx="56">
                  <c:v>23180</c:v>
                </c:pt>
                <c:pt idx="57">
                  <c:v>21596</c:v>
                </c:pt>
                <c:pt idx="58">
                  <c:v>21277</c:v>
                </c:pt>
                <c:pt idx="59">
                  <c:v>20811</c:v>
                </c:pt>
                <c:pt idx="60">
                  <c:v>22963</c:v>
                </c:pt>
                <c:pt idx="61">
                  <c:v>22045</c:v>
                </c:pt>
                <c:pt idx="62">
                  <c:v>24420</c:v>
                </c:pt>
                <c:pt idx="63">
                  <c:v>24889</c:v>
                </c:pt>
                <c:pt idx="64">
                  <c:v>20159</c:v>
                </c:pt>
                <c:pt idx="65">
                  <c:v>18974</c:v>
                </c:pt>
                <c:pt idx="66">
                  <c:v>20654</c:v>
                </c:pt>
              </c:numCache>
            </c:numRef>
          </c:val>
          <c:extLst>
            <c:ext xmlns:c16="http://schemas.microsoft.com/office/drawing/2014/chart" uri="{C3380CC4-5D6E-409C-BE32-E72D297353CC}">
              <c16:uniqueId val="{00000000-72A7-4D08-96D7-E73109FBDC9A}"/>
            </c:ext>
          </c:extLst>
        </c:ser>
        <c:ser>
          <c:idx val="0"/>
          <c:order val="1"/>
          <c:tx>
            <c:strRef>
              <c:f>Sheet1!$C$1</c:f>
              <c:strCache>
                <c:ptCount val="1"/>
                <c:pt idx="0">
                  <c:v>Promo Volume</c:v>
                </c:pt>
              </c:strCache>
            </c:strRef>
          </c:tx>
          <c:spPr>
            <a:solidFill>
              <a:schemeClr val="accent3"/>
            </a:solidFill>
            <a:ln>
              <a:noFill/>
            </a:ln>
            <a:effectLst/>
          </c:spPr>
          <c:invertIfNegative val="0"/>
          <c:cat>
            <c:numRef>
              <c:f>Sheet1!$A$2:$A$68</c:f>
              <c:numCache>
                <c:formatCode>yyyy\-mm\-dd</c:formatCode>
                <c:ptCount val="67"/>
                <c:pt idx="0">
                  <c:v>44934</c:v>
                </c:pt>
                <c:pt idx="1">
                  <c:v>44941</c:v>
                </c:pt>
                <c:pt idx="2">
                  <c:v>44948</c:v>
                </c:pt>
                <c:pt idx="3">
                  <c:v>44955</c:v>
                </c:pt>
                <c:pt idx="4">
                  <c:v>44962</c:v>
                </c:pt>
                <c:pt idx="5">
                  <c:v>44969</c:v>
                </c:pt>
                <c:pt idx="6">
                  <c:v>44976</c:v>
                </c:pt>
                <c:pt idx="7">
                  <c:v>44983</c:v>
                </c:pt>
                <c:pt idx="8">
                  <c:v>44990</c:v>
                </c:pt>
                <c:pt idx="9">
                  <c:v>44997</c:v>
                </c:pt>
                <c:pt idx="10">
                  <c:v>45004</c:v>
                </c:pt>
                <c:pt idx="11">
                  <c:v>45011</c:v>
                </c:pt>
                <c:pt idx="12">
                  <c:v>45018</c:v>
                </c:pt>
                <c:pt idx="13">
                  <c:v>45025</c:v>
                </c:pt>
                <c:pt idx="14">
                  <c:v>45032</c:v>
                </c:pt>
                <c:pt idx="15">
                  <c:v>45039</c:v>
                </c:pt>
                <c:pt idx="16">
                  <c:v>45046</c:v>
                </c:pt>
                <c:pt idx="17">
                  <c:v>45053</c:v>
                </c:pt>
                <c:pt idx="18">
                  <c:v>45060</c:v>
                </c:pt>
                <c:pt idx="19">
                  <c:v>45067</c:v>
                </c:pt>
                <c:pt idx="20">
                  <c:v>45109</c:v>
                </c:pt>
                <c:pt idx="21">
                  <c:v>45130</c:v>
                </c:pt>
                <c:pt idx="22">
                  <c:v>45172</c:v>
                </c:pt>
                <c:pt idx="23">
                  <c:v>45179</c:v>
                </c:pt>
                <c:pt idx="24">
                  <c:v>45193</c:v>
                </c:pt>
                <c:pt idx="25">
                  <c:v>45200</c:v>
                </c:pt>
                <c:pt idx="26">
                  <c:v>45207</c:v>
                </c:pt>
                <c:pt idx="27">
                  <c:v>45214</c:v>
                </c:pt>
                <c:pt idx="28">
                  <c:v>45221</c:v>
                </c:pt>
                <c:pt idx="29">
                  <c:v>45228</c:v>
                </c:pt>
                <c:pt idx="30">
                  <c:v>45235</c:v>
                </c:pt>
                <c:pt idx="31">
                  <c:v>45242</c:v>
                </c:pt>
                <c:pt idx="32">
                  <c:v>45249</c:v>
                </c:pt>
                <c:pt idx="33">
                  <c:v>45256</c:v>
                </c:pt>
                <c:pt idx="34">
                  <c:v>45263</c:v>
                </c:pt>
                <c:pt idx="35">
                  <c:v>45270</c:v>
                </c:pt>
                <c:pt idx="36">
                  <c:v>45277</c:v>
                </c:pt>
                <c:pt idx="37">
                  <c:v>45284</c:v>
                </c:pt>
                <c:pt idx="38">
                  <c:v>45291</c:v>
                </c:pt>
                <c:pt idx="39">
                  <c:v>45298</c:v>
                </c:pt>
                <c:pt idx="40">
                  <c:v>45305</c:v>
                </c:pt>
                <c:pt idx="41">
                  <c:v>45312</c:v>
                </c:pt>
                <c:pt idx="42">
                  <c:v>45319</c:v>
                </c:pt>
                <c:pt idx="43">
                  <c:v>45326</c:v>
                </c:pt>
                <c:pt idx="44">
                  <c:v>45333</c:v>
                </c:pt>
                <c:pt idx="45">
                  <c:v>45340</c:v>
                </c:pt>
                <c:pt idx="46">
                  <c:v>45354</c:v>
                </c:pt>
                <c:pt idx="47">
                  <c:v>45396</c:v>
                </c:pt>
                <c:pt idx="48">
                  <c:v>45438</c:v>
                </c:pt>
                <c:pt idx="49">
                  <c:v>45445</c:v>
                </c:pt>
                <c:pt idx="50">
                  <c:v>45515</c:v>
                </c:pt>
                <c:pt idx="51">
                  <c:v>45543</c:v>
                </c:pt>
                <c:pt idx="52">
                  <c:v>45578</c:v>
                </c:pt>
                <c:pt idx="53">
                  <c:v>45585</c:v>
                </c:pt>
                <c:pt idx="54">
                  <c:v>45592</c:v>
                </c:pt>
                <c:pt idx="55">
                  <c:v>45599</c:v>
                </c:pt>
                <c:pt idx="56">
                  <c:v>45606</c:v>
                </c:pt>
                <c:pt idx="57">
                  <c:v>45613</c:v>
                </c:pt>
                <c:pt idx="58">
                  <c:v>45620</c:v>
                </c:pt>
                <c:pt idx="59">
                  <c:v>45627</c:v>
                </c:pt>
                <c:pt idx="60">
                  <c:v>45634</c:v>
                </c:pt>
                <c:pt idx="61">
                  <c:v>45641</c:v>
                </c:pt>
                <c:pt idx="62">
                  <c:v>45648</c:v>
                </c:pt>
                <c:pt idx="63">
                  <c:v>45655</c:v>
                </c:pt>
                <c:pt idx="64">
                  <c:v>45662</c:v>
                </c:pt>
                <c:pt idx="65">
                  <c:v>45669</c:v>
                </c:pt>
                <c:pt idx="66">
                  <c:v>45676</c:v>
                </c:pt>
              </c:numCache>
            </c:numRef>
          </c:cat>
          <c:val>
            <c:numRef>
              <c:f>Sheet1!$C$2:$C$68</c:f>
              <c:numCache>
                <c:formatCode>General</c:formatCode>
                <c:ptCount val="67"/>
                <c:pt idx="0">
                  <c:v>23948</c:v>
                </c:pt>
                <c:pt idx="1">
                  <c:v>10792</c:v>
                </c:pt>
                <c:pt idx="2">
                  <c:v>10092</c:v>
                </c:pt>
                <c:pt idx="3">
                  <c:v>6823</c:v>
                </c:pt>
                <c:pt idx="4">
                  <c:v>4430</c:v>
                </c:pt>
                <c:pt idx="5">
                  <c:v>3676</c:v>
                </c:pt>
                <c:pt idx="6">
                  <c:v>3566</c:v>
                </c:pt>
                <c:pt idx="7">
                  <c:v>7690</c:v>
                </c:pt>
                <c:pt idx="8">
                  <c:v>3042</c:v>
                </c:pt>
                <c:pt idx="9">
                  <c:v>3114</c:v>
                </c:pt>
                <c:pt idx="10">
                  <c:v>6582</c:v>
                </c:pt>
                <c:pt idx="11">
                  <c:v>4008</c:v>
                </c:pt>
                <c:pt idx="12">
                  <c:v>2248</c:v>
                </c:pt>
                <c:pt idx="13">
                  <c:v>2128</c:v>
                </c:pt>
                <c:pt idx="14">
                  <c:v>3146</c:v>
                </c:pt>
                <c:pt idx="15">
                  <c:v>7800</c:v>
                </c:pt>
                <c:pt idx="16">
                  <c:v>3170</c:v>
                </c:pt>
                <c:pt idx="17">
                  <c:v>634</c:v>
                </c:pt>
                <c:pt idx="18">
                  <c:v>914</c:v>
                </c:pt>
                <c:pt idx="19">
                  <c:v>794</c:v>
                </c:pt>
                <c:pt idx="20">
                  <c:v>156</c:v>
                </c:pt>
                <c:pt idx="21">
                  <c:v>5162</c:v>
                </c:pt>
                <c:pt idx="22">
                  <c:v>1512</c:v>
                </c:pt>
                <c:pt idx="23">
                  <c:v>422</c:v>
                </c:pt>
                <c:pt idx="24">
                  <c:v>110</c:v>
                </c:pt>
                <c:pt idx="25">
                  <c:v>732</c:v>
                </c:pt>
                <c:pt idx="26">
                  <c:v>1514</c:v>
                </c:pt>
                <c:pt idx="27">
                  <c:v>9464</c:v>
                </c:pt>
                <c:pt idx="28">
                  <c:v>10943</c:v>
                </c:pt>
                <c:pt idx="29">
                  <c:v>11873</c:v>
                </c:pt>
                <c:pt idx="30">
                  <c:v>13733</c:v>
                </c:pt>
                <c:pt idx="31">
                  <c:v>14194</c:v>
                </c:pt>
                <c:pt idx="32">
                  <c:v>16678</c:v>
                </c:pt>
                <c:pt idx="33">
                  <c:v>26659</c:v>
                </c:pt>
                <c:pt idx="34">
                  <c:v>26457</c:v>
                </c:pt>
                <c:pt idx="35">
                  <c:v>34149</c:v>
                </c:pt>
                <c:pt idx="36">
                  <c:v>54478</c:v>
                </c:pt>
                <c:pt idx="37">
                  <c:v>91195</c:v>
                </c:pt>
                <c:pt idx="38">
                  <c:v>141008</c:v>
                </c:pt>
                <c:pt idx="39">
                  <c:v>5142</c:v>
                </c:pt>
                <c:pt idx="40">
                  <c:v>5587</c:v>
                </c:pt>
                <c:pt idx="41">
                  <c:v>2614</c:v>
                </c:pt>
                <c:pt idx="42">
                  <c:v>1455</c:v>
                </c:pt>
                <c:pt idx="43">
                  <c:v>725</c:v>
                </c:pt>
                <c:pt idx="44">
                  <c:v>702</c:v>
                </c:pt>
                <c:pt idx="45">
                  <c:v>3966</c:v>
                </c:pt>
                <c:pt idx="46">
                  <c:v>7003</c:v>
                </c:pt>
                <c:pt idx="47">
                  <c:v>6659</c:v>
                </c:pt>
                <c:pt idx="48">
                  <c:v>6948</c:v>
                </c:pt>
                <c:pt idx="49">
                  <c:v>41</c:v>
                </c:pt>
                <c:pt idx="50">
                  <c:v>1399</c:v>
                </c:pt>
                <c:pt idx="51">
                  <c:v>249</c:v>
                </c:pt>
                <c:pt idx="52">
                  <c:v>6665</c:v>
                </c:pt>
                <c:pt idx="53">
                  <c:v>12478</c:v>
                </c:pt>
                <c:pt idx="54">
                  <c:v>11648</c:v>
                </c:pt>
                <c:pt idx="55">
                  <c:v>10494</c:v>
                </c:pt>
                <c:pt idx="56">
                  <c:v>13311</c:v>
                </c:pt>
                <c:pt idx="57">
                  <c:v>16093</c:v>
                </c:pt>
                <c:pt idx="58">
                  <c:v>19979</c:v>
                </c:pt>
                <c:pt idx="59">
                  <c:v>32195</c:v>
                </c:pt>
                <c:pt idx="60">
                  <c:v>35366</c:v>
                </c:pt>
                <c:pt idx="61">
                  <c:v>49136</c:v>
                </c:pt>
                <c:pt idx="62">
                  <c:v>76956</c:v>
                </c:pt>
                <c:pt idx="63">
                  <c:v>200721</c:v>
                </c:pt>
                <c:pt idx="64">
                  <c:v>6521</c:v>
                </c:pt>
                <c:pt idx="65">
                  <c:v>1504</c:v>
                </c:pt>
                <c:pt idx="66">
                  <c:v>778</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vert="horz"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1"/>
      <c:txPr>
        <a:bodyPr/>
        <a:lstStyle/>
        <a:p>
          <a:pPr>
            <a:defRPr sz="800">
              <a:latin typeface="Nexa Book"/>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B$1</c:f>
              <c:strCache>
                <c:ptCount val="1"/>
                <c:pt idx="0">
                  <c:v>Non Promo Volume</c:v>
                </c:pt>
              </c:strCache>
            </c:strRef>
          </c:tx>
          <c:spPr>
            <a:solidFill>
              <a:schemeClr val="bg2"/>
            </a:solidFill>
            <a:ln>
              <a:noFill/>
            </a:ln>
            <a:effectLst/>
          </c:spPr>
          <c:invertIfNegative val="0"/>
          <c:cat>
            <c:numRef>
              <c:f>Sheet1!$A$2:$A$70</c:f>
              <c:numCache>
                <c:formatCode>yyyy\-mm\-dd</c:formatCode>
                <c:ptCount val="69"/>
                <c:pt idx="0">
                  <c:v>44934</c:v>
                </c:pt>
                <c:pt idx="1">
                  <c:v>44941</c:v>
                </c:pt>
                <c:pt idx="2">
                  <c:v>44948</c:v>
                </c:pt>
                <c:pt idx="3">
                  <c:v>44955</c:v>
                </c:pt>
                <c:pt idx="4">
                  <c:v>44962</c:v>
                </c:pt>
                <c:pt idx="5">
                  <c:v>44969</c:v>
                </c:pt>
                <c:pt idx="6">
                  <c:v>44976</c:v>
                </c:pt>
                <c:pt idx="7">
                  <c:v>44983</c:v>
                </c:pt>
                <c:pt idx="8">
                  <c:v>44990</c:v>
                </c:pt>
                <c:pt idx="9">
                  <c:v>44997</c:v>
                </c:pt>
                <c:pt idx="10">
                  <c:v>45011</c:v>
                </c:pt>
                <c:pt idx="11">
                  <c:v>45130</c:v>
                </c:pt>
                <c:pt idx="12">
                  <c:v>45277</c:v>
                </c:pt>
                <c:pt idx="13">
                  <c:v>45284</c:v>
                </c:pt>
                <c:pt idx="14">
                  <c:v>45291</c:v>
                </c:pt>
                <c:pt idx="15">
                  <c:v>45298</c:v>
                </c:pt>
                <c:pt idx="16">
                  <c:v>45305</c:v>
                </c:pt>
                <c:pt idx="17">
                  <c:v>45312</c:v>
                </c:pt>
                <c:pt idx="18">
                  <c:v>45319</c:v>
                </c:pt>
                <c:pt idx="19">
                  <c:v>45326</c:v>
                </c:pt>
                <c:pt idx="20">
                  <c:v>45333</c:v>
                </c:pt>
                <c:pt idx="21">
                  <c:v>45340</c:v>
                </c:pt>
                <c:pt idx="22">
                  <c:v>45347</c:v>
                </c:pt>
                <c:pt idx="23">
                  <c:v>45354</c:v>
                </c:pt>
                <c:pt idx="24">
                  <c:v>45361</c:v>
                </c:pt>
                <c:pt idx="25">
                  <c:v>45368</c:v>
                </c:pt>
                <c:pt idx="26">
                  <c:v>45375</c:v>
                </c:pt>
                <c:pt idx="27">
                  <c:v>45382</c:v>
                </c:pt>
                <c:pt idx="28">
                  <c:v>45389</c:v>
                </c:pt>
                <c:pt idx="29">
                  <c:v>45396</c:v>
                </c:pt>
                <c:pt idx="30">
                  <c:v>45403</c:v>
                </c:pt>
                <c:pt idx="31">
                  <c:v>45410</c:v>
                </c:pt>
                <c:pt idx="32">
                  <c:v>45417</c:v>
                </c:pt>
                <c:pt idx="33">
                  <c:v>45424</c:v>
                </c:pt>
                <c:pt idx="34">
                  <c:v>45431</c:v>
                </c:pt>
                <c:pt idx="35">
                  <c:v>45438</c:v>
                </c:pt>
                <c:pt idx="36">
                  <c:v>45445</c:v>
                </c:pt>
                <c:pt idx="37">
                  <c:v>45452</c:v>
                </c:pt>
                <c:pt idx="38">
                  <c:v>45459</c:v>
                </c:pt>
                <c:pt idx="39">
                  <c:v>45466</c:v>
                </c:pt>
                <c:pt idx="40">
                  <c:v>45473</c:v>
                </c:pt>
                <c:pt idx="41">
                  <c:v>45480</c:v>
                </c:pt>
                <c:pt idx="42">
                  <c:v>45487</c:v>
                </c:pt>
                <c:pt idx="43">
                  <c:v>45494</c:v>
                </c:pt>
                <c:pt idx="44">
                  <c:v>45501</c:v>
                </c:pt>
                <c:pt idx="45">
                  <c:v>45508</c:v>
                </c:pt>
                <c:pt idx="46">
                  <c:v>45515</c:v>
                </c:pt>
                <c:pt idx="47">
                  <c:v>45522</c:v>
                </c:pt>
                <c:pt idx="48">
                  <c:v>45529</c:v>
                </c:pt>
                <c:pt idx="49">
                  <c:v>45536</c:v>
                </c:pt>
                <c:pt idx="50">
                  <c:v>45550</c:v>
                </c:pt>
                <c:pt idx="51">
                  <c:v>45564</c:v>
                </c:pt>
                <c:pt idx="52">
                  <c:v>45571</c:v>
                </c:pt>
                <c:pt idx="53">
                  <c:v>45578</c:v>
                </c:pt>
                <c:pt idx="54">
                  <c:v>45585</c:v>
                </c:pt>
                <c:pt idx="55">
                  <c:v>45592</c:v>
                </c:pt>
                <c:pt idx="56">
                  <c:v>45599</c:v>
                </c:pt>
                <c:pt idx="57">
                  <c:v>45606</c:v>
                </c:pt>
                <c:pt idx="58">
                  <c:v>45613</c:v>
                </c:pt>
                <c:pt idx="59">
                  <c:v>45620</c:v>
                </c:pt>
                <c:pt idx="60">
                  <c:v>45627</c:v>
                </c:pt>
                <c:pt idx="61">
                  <c:v>45634</c:v>
                </c:pt>
                <c:pt idx="62">
                  <c:v>45641</c:v>
                </c:pt>
                <c:pt idx="63">
                  <c:v>45648</c:v>
                </c:pt>
                <c:pt idx="64">
                  <c:v>45655</c:v>
                </c:pt>
                <c:pt idx="65">
                  <c:v>45662</c:v>
                </c:pt>
                <c:pt idx="66">
                  <c:v>45669</c:v>
                </c:pt>
                <c:pt idx="67">
                  <c:v>45676</c:v>
                </c:pt>
                <c:pt idx="68">
                  <c:v>45683</c:v>
                </c:pt>
              </c:numCache>
            </c:numRef>
          </c:cat>
          <c:val>
            <c:numRef>
              <c:f>Sheet1!$B$2:$B$70</c:f>
              <c:numCache>
                <c:formatCode>General</c:formatCode>
                <c:ptCount val="69"/>
                <c:pt idx="0">
                  <c:v>70952</c:v>
                </c:pt>
                <c:pt idx="1">
                  <c:v>74944</c:v>
                </c:pt>
                <c:pt idx="2">
                  <c:v>76800</c:v>
                </c:pt>
                <c:pt idx="3">
                  <c:v>75533</c:v>
                </c:pt>
                <c:pt idx="4">
                  <c:v>79108</c:v>
                </c:pt>
                <c:pt idx="5">
                  <c:v>73192</c:v>
                </c:pt>
                <c:pt idx="6">
                  <c:v>67752</c:v>
                </c:pt>
                <c:pt idx="7">
                  <c:v>69044</c:v>
                </c:pt>
                <c:pt idx="8">
                  <c:v>74020</c:v>
                </c:pt>
                <c:pt idx="9">
                  <c:v>68652</c:v>
                </c:pt>
                <c:pt idx="10">
                  <c:v>68692</c:v>
                </c:pt>
                <c:pt idx="11">
                  <c:v>69678</c:v>
                </c:pt>
                <c:pt idx="12">
                  <c:v>68688</c:v>
                </c:pt>
                <c:pt idx="13">
                  <c:v>73080</c:v>
                </c:pt>
                <c:pt idx="14">
                  <c:v>51686</c:v>
                </c:pt>
                <c:pt idx="15">
                  <c:v>61077</c:v>
                </c:pt>
                <c:pt idx="16">
                  <c:v>61244</c:v>
                </c:pt>
                <c:pt idx="17">
                  <c:v>67110</c:v>
                </c:pt>
                <c:pt idx="18">
                  <c:v>73532</c:v>
                </c:pt>
                <c:pt idx="19">
                  <c:v>64790</c:v>
                </c:pt>
                <c:pt idx="20">
                  <c:v>52337</c:v>
                </c:pt>
                <c:pt idx="21">
                  <c:v>45317</c:v>
                </c:pt>
                <c:pt idx="22">
                  <c:v>42597</c:v>
                </c:pt>
                <c:pt idx="23">
                  <c:v>41163</c:v>
                </c:pt>
                <c:pt idx="24">
                  <c:v>41867</c:v>
                </c:pt>
                <c:pt idx="25">
                  <c:v>48164</c:v>
                </c:pt>
                <c:pt idx="26">
                  <c:v>59661</c:v>
                </c:pt>
                <c:pt idx="27">
                  <c:v>59362</c:v>
                </c:pt>
                <c:pt idx="28">
                  <c:v>60412</c:v>
                </c:pt>
                <c:pt idx="29">
                  <c:v>59039</c:v>
                </c:pt>
                <c:pt idx="30">
                  <c:v>57405</c:v>
                </c:pt>
                <c:pt idx="31">
                  <c:v>57681</c:v>
                </c:pt>
                <c:pt idx="32">
                  <c:v>60189</c:v>
                </c:pt>
                <c:pt idx="33">
                  <c:v>59376</c:v>
                </c:pt>
                <c:pt idx="34">
                  <c:v>56686</c:v>
                </c:pt>
                <c:pt idx="35">
                  <c:v>67369</c:v>
                </c:pt>
                <c:pt idx="36">
                  <c:v>71312</c:v>
                </c:pt>
                <c:pt idx="37">
                  <c:v>75749</c:v>
                </c:pt>
                <c:pt idx="38">
                  <c:v>72187</c:v>
                </c:pt>
                <c:pt idx="39">
                  <c:v>70428</c:v>
                </c:pt>
                <c:pt idx="40">
                  <c:v>70854</c:v>
                </c:pt>
                <c:pt idx="41">
                  <c:v>78307</c:v>
                </c:pt>
                <c:pt idx="42">
                  <c:v>63764</c:v>
                </c:pt>
                <c:pt idx="43">
                  <c:v>60201</c:v>
                </c:pt>
                <c:pt idx="44">
                  <c:v>57002</c:v>
                </c:pt>
                <c:pt idx="45">
                  <c:v>61604</c:v>
                </c:pt>
                <c:pt idx="46">
                  <c:v>69678</c:v>
                </c:pt>
                <c:pt idx="47">
                  <c:v>68878</c:v>
                </c:pt>
                <c:pt idx="48">
                  <c:v>71529</c:v>
                </c:pt>
                <c:pt idx="49">
                  <c:v>68625</c:v>
                </c:pt>
                <c:pt idx="50">
                  <c:v>67703</c:v>
                </c:pt>
                <c:pt idx="51">
                  <c:v>63450</c:v>
                </c:pt>
                <c:pt idx="52">
                  <c:v>70285</c:v>
                </c:pt>
                <c:pt idx="53">
                  <c:v>56060</c:v>
                </c:pt>
                <c:pt idx="54">
                  <c:v>54380</c:v>
                </c:pt>
                <c:pt idx="55">
                  <c:v>61014</c:v>
                </c:pt>
                <c:pt idx="56">
                  <c:v>68517</c:v>
                </c:pt>
                <c:pt idx="57">
                  <c:v>72869</c:v>
                </c:pt>
                <c:pt idx="58">
                  <c:v>50626</c:v>
                </c:pt>
                <c:pt idx="59">
                  <c:v>1844</c:v>
                </c:pt>
                <c:pt idx="60">
                  <c:v>1312</c:v>
                </c:pt>
                <c:pt idx="61">
                  <c:v>1609</c:v>
                </c:pt>
                <c:pt idx="62">
                  <c:v>978</c:v>
                </c:pt>
                <c:pt idx="63">
                  <c:v>645</c:v>
                </c:pt>
                <c:pt idx="64">
                  <c:v>698</c:v>
                </c:pt>
                <c:pt idx="65">
                  <c:v>1083</c:v>
                </c:pt>
                <c:pt idx="66">
                  <c:v>2025</c:v>
                </c:pt>
                <c:pt idx="67">
                  <c:v>3294</c:v>
                </c:pt>
                <c:pt idx="68">
                  <c:v>4284</c:v>
                </c:pt>
              </c:numCache>
            </c:numRef>
          </c:val>
          <c:extLst>
            <c:ext xmlns:c16="http://schemas.microsoft.com/office/drawing/2014/chart" uri="{C3380CC4-5D6E-409C-BE32-E72D297353CC}">
              <c16:uniqueId val="{00000000-72A7-4D08-96D7-E73109FBDC9A}"/>
            </c:ext>
          </c:extLst>
        </c:ser>
        <c:ser>
          <c:idx val="0"/>
          <c:order val="1"/>
          <c:tx>
            <c:strRef>
              <c:f>Sheet1!$C$1</c:f>
              <c:strCache>
                <c:ptCount val="1"/>
                <c:pt idx="0">
                  <c:v>Promo Volume</c:v>
                </c:pt>
              </c:strCache>
            </c:strRef>
          </c:tx>
          <c:spPr>
            <a:solidFill>
              <a:schemeClr val="accent3"/>
            </a:solidFill>
            <a:ln>
              <a:noFill/>
            </a:ln>
            <a:effectLst/>
          </c:spPr>
          <c:invertIfNegative val="0"/>
          <c:cat>
            <c:numRef>
              <c:f>Sheet1!$A$2:$A$70</c:f>
              <c:numCache>
                <c:formatCode>yyyy\-mm\-dd</c:formatCode>
                <c:ptCount val="69"/>
                <c:pt idx="0">
                  <c:v>44934</c:v>
                </c:pt>
                <c:pt idx="1">
                  <c:v>44941</c:v>
                </c:pt>
                <c:pt idx="2">
                  <c:v>44948</c:v>
                </c:pt>
                <c:pt idx="3">
                  <c:v>44955</c:v>
                </c:pt>
                <c:pt idx="4">
                  <c:v>44962</c:v>
                </c:pt>
                <c:pt idx="5">
                  <c:v>44969</c:v>
                </c:pt>
                <c:pt idx="6">
                  <c:v>44976</c:v>
                </c:pt>
                <c:pt idx="7">
                  <c:v>44983</c:v>
                </c:pt>
                <c:pt idx="8">
                  <c:v>44990</c:v>
                </c:pt>
                <c:pt idx="9">
                  <c:v>44997</c:v>
                </c:pt>
                <c:pt idx="10">
                  <c:v>45011</c:v>
                </c:pt>
                <c:pt idx="11">
                  <c:v>45130</c:v>
                </c:pt>
                <c:pt idx="12">
                  <c:v>45277</c:v>
                </c:pt>
                <c:pt idx="13">
                  <c:v>45284</c:v>
                </c:pt>
                <c:pt idx="14">
                  <c:v>45291</c:v>
                </c:pt>
                <c:pt idx="15">
                  <c:v>45298</c:v>
                </c:pt>
                <c:pt idx="16">
                  <c:v>45305</c:v>
                </c:pt>
                <c:pt idx="17">
                  <c:v>45312</c:v>
                </c:pt>
                <c:pt idx="18">
                  <c:v>45319</c:v>
                </c:pt>
                <c:pt idx="19">
                  <c:v>45326</c:v>
                </c:pt>
                <c:pt idx="20">
                  <c:v>45333</c:v>
                </c:pt>
                <c:pt idx="21">
                  <c:v>45340</c:v>
                </c:pt>
                <c:pt idx="22">
                  <c:v>45347</c:v>
                </c:pt>
                <c:pt idx="23">
                  <c:v>45354</c:v>
                </c:pt>
                <c:pt idx="24">
                  <c:v>45361</c:v>
                </c:pt>
                <c:pt idx="25">
                  <c:v>45368</c:v>
                </c:pt>
                <c:pt idx="26">
                  <c:v>45375</c:v>
                </c:pt>
                <c:pt idx="27">
                  <c:v>45382</c:v>
                </c:pt>
                <c:pt idx="28">
                  <c:v>45389</c:v>
                </c:pt>
                <c:pt idx="29">
                  <c:v>45396</c:v>
                </c:pt>
                <c:pt idx="30">
                  <c:v>45403</c:v>
                </c:pt>
                <c:pt idx="31">
                  <c:v>45410</c:v>
                </c:pt>
                <c:pt idx="32">
                  <c:v>45417</c:v>
                </c:pt>
                <c:pt idx="33">
                  <c:v>45424</c:v>
                </c:pt>
                <c:pt idx="34">
                  <c:v>45431</c:v>
                </c:pt>
                <c:pt idx="35">
                  <c:v>45438</c:v>
                </c:pt>
                <c:pt idx="36">
                  <c:v>45445</c:v>
                </c:pt>
                <c:pt idx="37">
                  <c:v>45452</c:v>
                </c:pt>
                <c:pt idx="38">
                  <c:v>45459</c:v>
                </c:pt>
                <c:pt idx="39">
                  <c:v>45466</c:v>
                </c:pt>
                <c:pt idx="40">
                  <c:v>45473</c:v>
                </c:pt>
                <c:pt idx="41">
                  <c:v>45480</c:v>
                </c:pt>
                <c:pt idx="42">
                  <c:v>45487</c:v>
                </c:pt>
                <c:pt idx="43">
                  <c:v>45494</c:v>
                </c:pt>
                <c:pt idx="44">
                  <c:v>45501</c:v>
                </c:pt>
                <c:pt idx="45">
                  <c:v>45508</c:v>
                </c:pt>
                <c:pt idx="46">
                  <c:v>45515</c:v>
                </c:pt>
                <c:pt idx="47">
                  <c:v>45522</c:v>
                </c:pt>
                <c:pt idx="48">
                  <c:v>45529</c:v>
                </c:pt>
                <c:pt idx="49">
                  <c:v>45536</c:v>
                </c:pt>
                <c:pt idx="50">
                  <c:v>45550</c:v>
                </c:pt>
                <c:pt idx="51">
                  <c:v>45564</c:v>
                </c:pt>
                <c:pt idx="52">
                  <c:v>45571</c:v>
                </c:pt>
                <c:pt idx="53">
                  <c:v>45578</c:v>
                </c:pt>
                <c:pt idx="54">
                  <c:v>45585</c:v>
                </c:pt>
                <c:pt idx="55">
                  <c:v>45592</c:v>
                </c:pt>
                <c:pt idx="56">
                  <c:v>45599</c:v>
                </c:pt>
                <c:pt idx="57">
                  <c:v>45606</c:v>
                </c:pt>
                <c:pt idx="58">
                  <c:v>45613</c:v>
                </c:pt>
                <c:pt idx="59">
                  <c:v>45620</c:v>
                </c:pt>
                <c:pt idx="60">
                  <c:v>45627</c:v>
                </c:pt>
                <c:pt idx="61">
                  <c:v>45634</c:v>
                </c:pt>
                <c:pt idx="62">
                  <c:v>45641</c:v>
                </c:pt>
                <c:pt idx="63">
                  <c:v>45648</c:v>
                </c:pt>
                <c:pt idx="64">
                  <c:v>45655</c:v>
                </c:pt>
                <c:pt idx="65">
                  <c:v>45662</c:v>
                </c:pt>
                <c:pt idx="66">
                  <c:v>45669</c:v>
                </c:pt>
                <c:pt idx="67">
                  <c:v>45676</c:v>
                </c:pt>
                <c:pt idx="68">
                  <c:v>45683</c:v>
                </c:pt>
              </c:numCache>
            </c:numRef>
          </c:cat>
          <c:val>
            <c:numRef>
              <c:f>Sheet1!$C$2:$C$70</c:f>
              <c:numCache>
                <c:formatCode>General</c:formatCode>
                <c:ptCount val="69"/>
                <c:pt idx="0">
                  <c:v>15044</c:v>
                </c:pt>
                <c:pt idx="1">
                  <c:v>7080</c:v>
                </c:pt>
                <c:pt idx="2">
                  <c:v>5360</c:v>
                </c:pt>
                <c:pt idx="3">
                  <c:v>3180</c:v>
                </c:pt>
                <c:pt idx="4">
                  <c:v>1772</c:v>
                </c:pt>
                <c:pt idx="5">
                  <c:v>9654</c:v>
                </c:pt>
                <c:pt idx="6">
                  <c:v>11772</c:v>
                </c:pt>
                <c:pt idx="7">
                  <c:v>13294</c:v>
                </c:pt>
                <c:pt idx="8">
                  <c:v>9778</c:v>
                </c:pt>
                <c:pt idx="9">
                  <c:v>9470</c:v>
                </c:pt>
                <c:pt idx="10">
                  <c:v>9198</c:v>
                </c:pt>
                <c:pt idx="11">
                  <c:v>13801</c:v>
                </c:pt>
                <c:pt idx="12">
                  <c:v>9742</c:v>
                </c:pt>
                <c:pt idx="13">
                  <c:v>11346</c:v>
                </c:pt>
                <c:pt idx="14">
                  <c:v>5636</c:v>
                </c:pt>
                <c:pt idx="15">
                  <c:v>4046</c:v>
                </c:pt>
                <c:pt idx="16">
                  <c:v>14278</c:v>
                </c:pt>
                <c:pt idx="17">
                  <c:v>10192</c:v>
                </c:pt>
                <c:pt idx="18">
                  <c:v>4922</c:v>
                </c:pt>
                <c:pt idx="19">
                  <c:v>17790</c:v>
                </c:pt>
                <c:pt idx="20">
                  <c:v>31969</c:v>
                </c:pt>
                <c:pt idx="21">
                  <c:v>33400</c:v>
                </c:pt>
                <c:pt idx="22">
                  <c:v>47776</c:v>
                </c:pt>
                <c:pt idx="23">
                  <c:v>45265</c:v>
                </c:pt>
                <c:pt idx="24">
                  <c:v>42307</c:v>
                </c:pt>
                <c:pt idx="25">
                  <c:v>31719</c:v>
                </c:pt>
                <c:pt idx="26">
                  <c:v>18059</c:v>
                </c:pt>
                <c:pt idx="27">
                  <c:v>17388</c:v>
                </c:pt>
                <c:pt idx="28">
                  <c:v>18084</c:v>
                </c:pt>
                <c:pt idx="29">
                  <c:v>16440</c:v>
                </c:pt>
                <c:pt idx="30">
                  <c:v>14974</c:v>
                </c:pt>
                <c:pt idx="31">
                  <c:v>13672</c:v>
                </c:pt>
                <c:pt idx="32">
                  <c:v>15030</c:v>
                </c:pt>
                <c:pt idx="33">
                  <c:v>14432</c:v>
                </c:pt>
                <c:pt idx="34">
                  <c:v>13321</c:v>
                </c:pt>
                <c:pt idx="35">
                  <c:v>6760</c:v>
                </c:pt>
                <c:pt idx="36">
                  <c:v>242</c:v>
                </c:pt>
                <c:pt idx="37">
                  <c:v>138</c:v>
                </c:pt>
                <c:pt idx="38">
                  <c:v>232</c:v>
                </c:pt>
                <c:pt idx="39">
                  <c:v>620</c:v>
                </c:pt>
                <c:pt idx="40">
                  <c:v>176</c:v>
                </c:pt>
                <c:pt idx="41">
                  <c:v>270</c:v>
                </c:pt>
                <c:pt idx="42">
                  <c:v>8723</c:v>
                </c:pt>
                <c:pt idx="43">
                  <c:v>15670</c:v>
                </c:pt>
                <c:pt idx="44">
                  <c:v>16121</c:v>
                </c:pt>
                <c:pt idx="45">
                  <c:v>14844</c:v>
                </c:pt>
                <c:pt idx="46">
                  <c:v>4507</c:v>
                </c:pt>
                <c:pt idx="47">
                  <c:v>3685</c:v>
                </c:pt>
                <c:pt idx="48">
                  <c:v>114</c:v>
                </c:pt>
                <c:pt idx="49">
                  <c:v>2486</c:v>
                </c:pt>
                <c:pt idx="50">
                  <c:v>264</c:v>
                </c:pt>
                <c:pt idx="51">
                  <c:v>4476</c:v>
                </c:pt>
                <c:pt idx="52">
                  <c:v>9565</c:v>
                </c:pt>
                <c:pt idx="53">
                  <c:v>16667</c:v>
                </c:pt>
                <c:pt idx="54">
                  <c:v>19485</c:v>
                </c:pt>
                <c:pt idx="55">
                  <c:v>9229</c:v>
                </c:pt>
                <c:pt idx="56">
                  <c:v>177</c:v>
                </c:pt>
                <c:pt idx="57">
                  <c:v>184</c:v>
                </c:pt>
                <c:pt idx="58">
                  <c:v>23587</c:v>
                </c:pt>
                <c:pt idx="59">
                  <c:v>73824</c:v>
                </c:pt>
                <c:pt idx="60">
                  <c:v>71232</c:v>
                </c:pt>
                <c:pt idx="61">
                  <c:v>78714</c:v>
                </c:pt>
                <c:pt idx="62">
                  <c:v>80577</c:v>
                </c:pt>
                <c:pt idx="63">
                  <c:v>88030</c:v>
                </c:pt>
                <c:pt idx="64">
                  <c:v>74659</c:v>
                </c:pt>
                <c:pt idx="65">
                  <c:v>78201</c:v>
                </c:pt>
                <c:pt idx="66">
                  <c:v>71779</c:v>
                </c:pt>
                <c:pt idx="67">
                  <c:v>70983</c:v>
                </c:pt>
                <c:pt idx="68">
                  <c:v>63540</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vert="horz"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1"/>
      <c:txPr>
        <a:bodyPr/>
        <a:lstStyle/>
        <a:p>
          <a:pPr>
            <a:defRPr sz="800">
              <a:latin typeface="Nexa Book"/>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64</c:f>
              <c:numCache>
                <c:formatCode>General</c:formatCode>
                <c:ptCount val="63"/>
                <c:pt idx="0">
                  <c:v>0.25</c:v>
                </c:pt>
                <c:pt idx="1">
                  <c:v>0.2</c:v>
                </c:pt>
                <c:pt idx="2">
                  <c:v>0.1</c:v>
                </c:pt>
                <c:pt idx="3">
                  <c:v>0.1</c:v>
                </c:pt>
                <c:pt idx="4">
                  <c:v>0.1</c:v>
                </c:pt>
                <c:pt idx="5">
                  <c:v>0.1</c:v>
                </c:pt>
                <c:pt idx="6">
                  <c:v>0.1</c:v>
                </c:pt>
                <c:pt idx="7">
                  <c:v>0.25</c:v>
                </c:pt>
                <c:pt idx="8">
                  <c:v>0.25</c:v>
                </c:pt>
                <c:pt idx="9">
                  <c:v>0.25</c:v>
                </c:pt>
                <c:pt idx="10">
                  <c:v>0.2</c:v>
                </c:pt>
                <c:pt idx="11">
                  <c:v>0.2</c:v>
                </c:pt>
                <c:pt idx="12">
                  <c:v>0.15</c:v>
                </c:pt>
                <c:pt idx="13">
                  <c:v>0.15</c:v>
                </c:pt>
                <c:pt idx="14">
                  <c:v>0.15</c:v>
                </c:pt>
                <c:pt idx="15">
                  <c:v>0.3</c:v>
                </c:pt>
                <c:pt idx="16">
                  <c:v>0.15</c:v>
                </c:pt>
                <c:pt idx="17">
                  <c:v>0.2</c:v>
                </c:pt>
                <c:pt idx="18">
                  <c:v>0.25</c:v>
                </c:pt>
                <c:pt idx="19">
                  <c:v>0.25</c:v>
                </c:pt>
                <c:pt idx="20">
                  <c:v>0.15</c:v>
                </c:pt>
                <c:pt idx="21">
                  <c:v>0.15</c:v>
                </c:pt>
                <c:pt idx="22">
                  <c:v>0.25</c:v>
                </c:pt>
                <c:pt idx="23">
                  <c:v>0.2</c:v>
                </c:pt>
                <c:pt idx="24">
                  <c:v>0.05</c:v>
                </c:pt>
                <c:pt idx="25">
                  <c:v>0.05</c:v>
                </c:pt>
                <c:pt idx="26">
                  <c:v>0.1</c:v>
                </c:pt>
                <c:pt idx="27">
                  <c:v>0.2</c:v>
                </c:pt>
                <c:pt idx="28">
                  <c:v>0.2</c:v>
                </c:pt>
                <c:pt idx="29">
                  <c:v>0.2</c:v>
                </c:pt>
                <c:pt idx="30">
                  <c:v>0.2</c:v>
                </c:pt>
                <c:pt idx="31">
                  <c:v>0.15</c:v>
                </c:pt>
                <c:pt idx="32">
                  <c:v>0.05</c:v>
                </c:pt>
                <c:pt idx="33">
                  <c:v>0.1</c:v>
                </c:pt>
                <c:pt idx="34">
                  <c:v>0.15</c:v>
                </c:pt>
                <c:pt idx="35">
                  <c:v>0.2</c:v>
                </c:pt>
                <c:pt idx="36">
                  <c:v>0.15</c:v>
                </c:pt>
                <c:pt idx="37">
                  <c:v>0</c:v>
                </c:pt>
                <c:pt idx="38">
                  <c:v>0</c:v>
                </c:pt>
                <c:pt idx="39">
                  <c:v>0</c:v>
                </c:pt>
                <c:pt idx="40">
                  <c:v>0</c:v>
                </c:pt>
                <c:pt idx="41">
                  <c:v>0</c:v>
                </c:pt>
                <c:pt idx="42">
                  <c:v>0.15</c:v>
                </c:pt>
                <c:pt idx="43">
                  <c:v>0.2</c:v>
                </c:pt>
                <c:pt idx="44">
                  <c:v>0.15</c:v>
                </c:pt>
                <c:pt idx="45">
                  <c:v>0.2</c:v>
                </c:pt>
                <c:pt idx="46">
                  <c:v>0.15</c:v>
                </c:pt>
                <c:pt idx="47">
                  <c:v>0.15</c:v>
                </c:pt>
                <c:pt idx="48">
                  <c:v>0.2</c:v>
                </c:pt>
                <c:pt idx="49">
                  <c:v>0.1</c:v>
                </c:pt>
                <c:pt idx="50">
                  <c:v>0.05</c:v>
                </c:pt>
                <c:pt idx="51">
                  <c:v>0.1</c:v>
                </c:pt>
                <c:pt idx="52">
                  <c:v>0.15</c:v>
                </c:pt>
                <c:pt idx="53">
                  <c:v>0.15</c:v>
                </c:pt>
                <c:pt idx="54">
                  <c:v>0.3</c:v>
                </c:pt>
                <c:pt idx="55">
                  <c:v>0.3</c:v>
                </c:pt>
                <c:pt idx="56">
                  <c:v>0.3</c:v>
                </c:pt>
                <c:pt idx="57">
                  <c:v>0.15</c:v>
                </c:pt>
                <c:pt idx="58">
                  <c:v>0.05</c:v>
                </c:pt>
                <c:pt idx="59">
                  <c:v>0.1</c:v>
                </c:pt>
                <c:pt idx="60">
                  <c:v>0.1</c:v>
                </c:pt>
                <c:pt idx="61">
                  <c:v>0.2</c:v>
                </c:pt>
                <c:pt idx="62">
                  <c:v>0.25</c:v>
                </c:pt>
              </c:numCache>
            </c:numRef>
          </c:xVal>
          <c:yVal>
            <c:numRef>
              <c:f>Sheet1!$B$2:$B$64</c:f>
              <c:numCache>
                <c:formatCode>General</c:formatCode>
                <c:ptCount val="63"/>
                <c:pt idx="0">
                  <c:v>0.27314601566098567</c:v>
                </c:pt>
                <c:pt idx="1">
                  <c:v>0.32185206098249569</c:v>
                </c:pt>
                <c:pt idx="2">
                  <c:v>4.8875855327468229E-2</c:v>
                </c:pt>
                <c:pt idx="3">
                  <c:v>0.35273712077412289</c:v>
                </c:pt>
                <c:pt idx="4">
                  <c:v>0.18371771767183259</c:v>
                </c:pt>
                <c:pt idx="5">
                  <c:v>0.1795941434969999</c:v>
                </c:pt>
                <c:pt idx="6">
                  <c:v>5.5055172517754901E-2</c:v>
                </c:pt>
                <c:pt idx="7">
                  <c:v>3.3745932069133351E-2</c:v>
                </c:pt>
                <c:pt idx="8">
                  <c:v>0.14052008566797869</c:v>
                </c:pt>
                <c:pt idx="9">
                  <c:v>0.44398376852505289</c:v>
                </c:pt>
                <c:pt idx="10">
                  <c:v>0.3253012048192771</c:v>
                </c:pt>
                <c:pt idx="11">
                  <c:v>1.1520750843232139</c:v>
                </c:pt>
                <c:pt idx="12">
                  <c:v>0.35492063492063503</c:v>
                </c:pt>
                <c:pt idx="13">
                  <c:v>0.63374754741661221</c:v>
                </c:pt>
                <c:pt idx="14">
                  <c:v>0.59254579911560323</c:v>
                </c:pt>
                <c:pt idx="15">
                  <c:v>0.27457381211461729</c:v>
                </c:pt>
                <c:pt idx="16">
                  <c:v>0.31026438569206838</c:v>
                </c:pt>
                <c:pt idx="17">
                  <c:v>4.8640915593705293E-2</c:v>
                </c:pt>
                <c:pt idx="18">
                  <c:v>0.3663883089770355</c:v>
                </c:pt>
                <c:pt idx="19">
                  <c:v>0.44154488517745311</c:v>
                </c:pt>
                <c:pt idx="20">
                  <c:v>0.67509986684420775</c:v>
                </c:pt>
                <c:pt idx="21">
                  <c:v>0.2550719054956343</c:v>
                </c:pt>
                <c:pt idx="22">
                  <c:v>0.66268788682581781</c:v>
                </c:pt>
                <c:pt idx="23">
                  <c:v>0.83854848714590946</c:v>
                </c:pt>
                <c:pt idx="24">
                  <c:v>0.55572390572390573</c:v>
                </c:pt>
                <c:pt idx="25">
                  <c:v>0.1123536695058576</c:v>
                </c:pt>
                <c:pt idx="26">
                  <c:v>0.1742412331025987</c:v>
                </c:pt>
                <c:pt idx="27">
                  <c:v>0.1886650111061452</c:v>
                </c:pt>
                <c:pt idx="28">
                  <c:v>0.20088787711547909</c:v>
                </c:pt>
                <c:pt idx="29">
                  <c:v>0.19359136434134461</c:v>
                </c:pt>
                <c:pt idx="30">
                  <c:v>0.3427320722363329</c:v>
                </c:pt>
                <c:pt idx="31">
                  <c:v>0.36691163255147519</c:v>
                </c:pt>
                <c:pt idx="32">
                  <c:v>0.32950482242091761</c:v>
                </c:pt>
                <c:pt idx="33">
                  <c:v>0.41400256755487358</c:v>
                </c:pt>
                <c:pt idx="34">
                  <c:v>0.55035191399637695</c:v>
                </c:pt>
                <c:pt idx="35">
                  <c:v>0.65620350234634317</c:v>
                </c:pt>
                <c:pt idx="36">
                  <c:v>0.39494845917210858</c:v>
                </c:pt>
                <c:pt idx="37">
                  <c:v>0</c:v>
                </c:pt>
                <c:pt idx="38">
                  <c:v>0</c:v>
                </c:pt>
                <c:pt idx="39">
                  <c:v>0</c:v>
                </c:pt>
                <c:pt idx="40">
                  <c:v>0</c:v>
                </c:pt>
                <c:pt idx="41">
                  <c:v>0</c:v>
                </c:pt>
                <c:pt idx="42">
                  <c:v>0.17107433618900661</c:v>
                </c:pt>
                <c:pt idx="43">
                  <c:v>0.36591744782225899</c:v>
                </c:pt>
                <c:pt idx="44">
                  <c:v>0.17790683211986111</c:v>
                </c:pt>
                <c:pt idx="45">
                  <c:v>0.35525963562306778</c:v>
                </c:pt>
                <c:pt idx="46">
                  <c:v>0.29153932514189479</c:v>
                </c:pt>
                <c:pt idx="47">
                  <c:v>0.1838700663297072</c:v>
                </c:pt>
                <c:pt idx="48">
                  <c:v>4.3700516837219809E-2</c:v>
                </c:pt>
                <c:pt idx="49">
                  <c:v>7.2424445838151427E-2</c:v>
                </c:pt>
                <c:pt idx="50">
                  <c:v>0.70112384631895253</c:v>
                </c:pt>
                <c:pt idx="51">
                  <c:v>0.72470242843922517</c:v>
                </c:pt>
                <c:pt idx="52">
                  <c:v>0.51456744423524903</c:v>
                </c:pt>
                <c:pt idx="53">
                  <c:v>8.2687865875512717E-2</c:v>
                </c:pt>
                <c:pt idx="54">
                  <c:v>0.39987455696706631</c:v>
                </c:pt>
                <c:pt idx="55">
                  <c:v>0.45573376495978019</c:v>
                </c:pt>
                <c:pt idx="56">
                  <c:v>0.42321448382614762</c:v>
                </c:pt>
                <c:pt idx="57">
                  <c:v>0.2072825113666989</c:v>
                </c:pt>
                <c:pt idx="58">
                  <c:v>0.242131233334164</c:v>
                </c:pt>
                <c:pt idx="59">
                  <c:v>0.42598297739021462</c:v>
                </c:pt>
                <c:pt idx="60">
                  <c:v>0.21319280532050219</c:v>
                </c:pt>
                <c:pt idx="61">
                  <c:v>0.1632352524709014</c:v>
                </c:pt>
                <c:pt idx="62">
                  <c:v>0.1051367892945049</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max val="0.36000000000000004"/>
          <c:min val="0"/>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1.3824901011878572"/>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c:v>
                </c:pt>
                <c:pt idx="1">
                  <c:v>Harry's</c:v>
                </c:pt>
              </c:strCache>
            </c:strRef>
          </c:cat>
          <c:val>
            <c:numRef>
              <c:f>Sheet1!$B$2:$B$3</c:f>
              <c:numCache>
                <c:formatCode>General</c:formatCode>
                <c:ptCount val="2"/>
                <c:pt idx="0">
                  <c:v>-0.62041098753600477</c:v>
                </c:pt>
                <c:pt idx="1">
                  <c:v>-4.132381541819993</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64</c:f>
              <c:numCache>
                <c:formatCode>General</c:formatCode>
                <c:ptCount val="63"/>
                <c:pt idx="0">
                  <c:v>19</c:v>
                </c:pt>
                <c:pt idx="1">
                  <c:v>19.5</c:v>
                </c:pt>
                <c:pt idx="2">
                  <c:v>22.5</c:v>
                </c:pt>
                <c:pt idx="3">
                  <c:v>21</c:v>
                </c:pt>
                <c:pt idx="4">
                  <c:v>20</c:v>
                </c:pt>
                <c:pt idx="5">
                  <c:v>19.5</c:v>
                </c:pt>
                <c:pt idx="6">
                  <c:v>20</c:v>
                </c:pt>
                <c:pt idx="7">
                  <c:v>17.5</c:v>
                </c:pt>
                <c:pt idx="8">
                  <c:v>17.5</c:v>
                </c:pt>
                <c:pt idx="9">
                  <c:v>17</c:v>
                </c:pt>
                <c:pt idx="10">
                  <c:v>16</c:v>
                </c:pt>
                <c:pt idx="11">
                  <c:v>20</c:v>
                </c:pt>
                <c:pt idx="12">
                  <c:v>21</c:v>
                </c:pt>
                <c:pt idx="13">
                  <c:v>21.5</c:v>
                </c:pt>
                <c:pt idx="14">
                  <c:v>20.5</c:v>
                </c:pt>
                <c:pt idx="15">
                  <c:v>15</c:v>
                </c:pt>
                <c:pt idx="16">
                  <c:v>21.5</c:v>
                </c:pt>
                <c:pt idx="17">
                  <c:v>21</c:v>
                </c:pt>
                <c:pt idx="18">
                  <c:v>20</c:v>
                </c:pt>
                <c:pt idx="19">
                  <c:v>20</c:v>
                </c:pt>
                <c:pt idx="20">
                  <c:v>21.5</c:v>
                </c:pt>
                <c:pt idx="21">
                  <c:v>17</c:v>
                </c:pt>
                <c:pt idx="22">
                  <c:v>15</c:v>
                </c:pt>
                <c:pt idx="23">
                  <c:v>16.5</c:v>
                </c:pt>
                <c:pt idx="24">
                  <c:v>19.5</c:v>
                </c:pt>
                <c:pt idx="25">
                  <c:v>19</c:v>
                </c:pt>
                <c:pt idx="26">
                  <c:v>18</c:v>
                </c:pt>
                <c:pt idx="27">
                  <c:v>16.5</c:v>
                </c:pt>
                <c:pt idx="28">
                  <c:v>16.5</c:v>
                </c:pt>
                <c:pt idx="29">
                  <c:v>16.5</c:v>
                </c:pt>
                <c:pt idx="30">
                  <c:v>16.5</c:v>
                </c:pt>
                <c:pt idx="31">
                  <c:v>17.5</c:v>
                </c:pt>
                <c:pt idx="32">
                  <c:v>19.5</c:v>
                </c:pt>
                <c:pt idx="33">
                  <c:v>18.5</c:v>
                </c:pt>
                <c:pt idx="34">
                  <c:v>17</c:v>
                </c:pt>
                <c:pt idx="35">
                  <c:v>16</c:v>
                </c:pt>
                <c:pt idx="36">
                  <c:v>17.5</c:v>
                </c:pt>
                <c:pt idx="37">
                  <c:v>20</c:v>
                </c:pt>
                <c:pt idx="38">
                  <c:v>20</c:v>
                </c:pt>
                <c:pt idx="39">
                  <c:v>20</c:v>
                </c:pt>
                <c:pt idx="40">
                  <c:v>20</c:v>
                </c:pt>
                <c:pt idx="41">
                  <c:v>20.5</c:v>
                </c:pt>
                <c:pt idx="42">
                  <c:v>17.5</c:v>
                </c:pt>
                <c:pt idx="43">
                  <c:v>16</c:v>
                </c:pt>
                <c:pt idx="44">
                  <c:v>17.5</c:v>
                </c:pt>
                <c:pt idx="45">
                  <c:v>16.5</c:v>
                </c:pt>
                <c:pt idx="46">
                  <c:v>16.5</c:v>
                </c:pt>
                <c:pt idx="47">
                  <c:v>16.5</c:v>
                </c:pt>
                <c:pt idx="48">
                  <c:v>16.5</c:v>
                </c:pt>
                <c:pt idx="49">
                  <c:v>18.5</c:v>
                </c:pt>
                <c:pt idx="50">
                  <c:v>19.5</c:v>
                </c:pt>
                <c:pt idx="51">
                  <c:v>18</c:v>
                </c:pt>
                <c:pt idx="52">
                  <c:v>17</c:v>
                </c:pt>
                <c:pt idx="53">
                  <c:v>17.5</c:v>
                </c:pt>
                <c:pt idx="54">
                  <c:v>14</c:v>
                </c:pt>
                <c:pt idx="55">
                  <c:v>14</c:v>
                </c:pt>
                <c:pt idx="56">
                  <c:v>14</c:v>
                </c:pt>
                <c:pt idx="57">
                  <c:v>16.5</c:v>
                </c:pt>
                <c:pt idx="58">
                  <c:v>19</c:v>
                </c:pt>
                <c:pt idx="59">
                  <c:v>18.5</c:v>
                </c:pt>
                <c:pt idx="60">
                  <c:v>18</c:v>
                </c:pt>
                <c:pt idx="61">
                  <c:v>16</c:v>
                </c:pt>
                <c:pt idx="62">
                  <c:v>15.5</c:v>
                </c:pt>
              </c:numCache>
            </c:numRef>
          </c:xVal>
          <c:yVal>
            <c:numRef>
              <c:f>Sheet1!$B$2:$B$64</c:f>
              <c:numCache>
                <c:formatCode>General</c:formatCode>
                <c:ptCount val="63"/>
                <c:pt idx="0">
                  <c:v>0.27314601566098567</c:v>
                </c:pt>
                <c:pt idx="1">
                  <c:v>0.32185206098249569</c:v>
                </c:pt>
                <c:pt idx="2">
                  <c:v>4.8875855327468229E-2</c:v>
                </c:pt>
                <c:pt idx="3">
                  <c:v>0.35273712077412289</c:v>
                </c:pt>
                <c:pt idx="4">
                  <c:v>0.18371771767183259</c:v>
                </c:pt>
                <c:pt idx="5">
                  <c:v>0.1795941434969999</c:v>
                </c:pt>
                <c:pt idx="6">
                  <c:v>5.5055172517754901E-2</c:v>
                </c:pt>
                <c:pt idx="7">
                  <c:v>3.3745932069133351E-2</c:v>
                </c:pt>
                <c:pt idx="8">
                  <c:v>0.14052008566797869</c:v>
                </c:pt>
                <c:pt idx="9">
                  <c:v>0.44398376852505289</c:v>
                </c:pt>
                <c:pt idx="10">
                  <c:v>0.3253012048192771</c:v>
                </c:pt>
                <c:pt idx="11">
                  <c:v>1.1520750843232139</c:v>
                </c:pt>
                <c:pt idx="12">
                  <c:v>0.35492063492063503</c:v>
                </c:pt>
                <c:pt idx="13">
                  <c:v>0.63374754741661221</c:v>
                </c:pt>
                <c:pt idx="14">
                  <c:v>0.59254579911560323</c:v>
                </c:pt>
                <c:pt idx="15">
                  <c:v>0.27457381211461729</c:v>
                </c:pt>
                <c:pt idx="16">
                  <c:v>0.31026438569206838</c:v>
                </c:pt>
                <c:pt idx="17">
                  <c:v>4.8640915593705293E-2</c:v>
                </c:pt>
                <c:pt idx="18">
                  <c:v>0.3663883089770355</c:v>
                </c:pt>
                <c:pt idx="19">
                  <c:v>0.44154488517745311</c:v>
                </c:pt>
                <c:pt idx="20">
                  <c:v>0.67509986684420775</c:v>
                </c:pt>
                <c:pt idx="21">
                  <c:v>0.2550719054956343</c:v>
                </c:pt>
                <c:pt idx="22">
                  <c:v>0.66268788682581781</c:v>
                </c:pt>
                <c:pt idx="23">
                  <c:v>0.83854848714590946</c:v>
                </c:pt>
                <c:pt idx="24">
                  <c:v>0.55572390572390573</c:v>
                </c:pt>
                <c:pt idx="25">
                  <c:v>0.1123536695058576</c:v>
                </c:pt>
                <c:pt idx="26">
                  <c:v>0.1742412331025987</c:v>
                </c:pt>
                <c:pt idx="27">
                  <c:v>0.1886650111061452</c:v>
                </c:pt>
                <c:pt idx="28">
                  <c:v>0.20088787711547909</c:v>
                </c:pt>
                <c:pt idx="29">
                  <c:v>0.19359136434134461</c:v>
                </c:pt>
                <c:pt idx="30">
                  <c:v>0.3427320722363329</c:v>
                </c:pt>
                <c:pt idx="31">
                  <c:v>0.36691163255147519</c:v>
                </c:pt>
                <c:pt idx="32">
                  <c:v>0.32950482242091761</c:v>
                </c:pt>
                <c:pt idx="33">
                  <c:v>0.41400256755487358</c:v>
                </c:pt>
                <c:pt idx="34">
                  <c:v>0.55035191399637695</c:v>
                </c:pt>
                <c:pt idx="35">
                  <c:v>0.65620350234634317</c:v>
                </c:pt>
                <c:pt idx="36">
                  <c:v>0.39494845917210858</c:v>
                </c:pt>
                <c:pt idx="37">
                  <c:v>0</c:v>
                </c:pt>
                <c:pt idx="38">
                  <c:v>0</c:v>
                </c:pt>
                <c:pt idx="39">
                  <c:v>0</c:v>
                </c:pt>
                <c:pt idx="40">
                  <c:v>0</c:v>
                </c:pt>
                <c:pt idx="41">
                  <c:v>0</c:v>
                </c:pt>
                <c:pt idx="42">
                  <c:v>0.17107433618900661</c:v>
                </c:pt>
                <c:pt idx="43">
                  <c:v>0.36591744782225899</c:v>
                </c:pt>
                <c:pt idx="44">
                  <c:v>0.17790683211986111</c:v>
                </c:pt>
                <c:pt idx="45">
                  <c:v>0.35525963562306778</c:v>
                </c:pt>
                <c:pt idx="46">
                  <c:v>0.29153932514189479</c:v>
                </c:pt>
                <c:pt idx="47">
                  <c:v>0.1838700663297072</c:v>
                </c:pt>
                <c:pt idx="48">
                  <c:v>4.3700516837219809E-2</c:v>
                </c:pt>
                <c:pt idx="49">
                  <c:v>7.2424445838151427E-2</c:v>
                </c:pt>
                <c:pt idx="50">
                  <c:v>0.70112384631895253</c:v>
                </c:pt>
                <c:pt idx="51">
                  <c:v>0.72470242843922517</c:v>
                </c:pt>
                <c:pt idx="52">
                  <c:v>0.51456744423524903</c:v>
                </c:pt>
                <c:pt idx="53">
                  <c:v>8.2687865875512717E-2</c:v>
                </c:pt>
                <c:pt idx="54">
                  <c:v>0.39987455696706631</c:v>
                </c:pt>
                <c:pt idx="55">
                  <c:v>0.45573376495978019</c:v>
                </c:pt>
                <c:pt idx="56">
                  <c:v>0.42321448382614762</c:v>
                </c:pt>
                <c:pt idx="57">
                  <c:v>0.2072825113666989</c:v>
                </c:pt>
                <c:pt idx="58">
                  <c:v>0.242131233334164</c:v>
                </c:pt>
                <c:pt idx="59">
                  <c:v>0.42598297739021462</c:v>
                </c:pt>
                <c:pt idx="60">
                  <c:v>0.21319280532050219</c:v>
                </c:pt>
                <c:pt idx="61">
                  <c:v>0.1632352524709014</c:v>
                </c:pt>
                <c:pt idx="62">
                  <c:v>0.1051367892945049</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max val="27"/>
          <c:min val="11.200000000000001"/>
        </c:scaling>
        <c:delete val="0"/>
        <c:axPos val="b"/>
        <c:title>
          <c:tx>
            <c:rich>
              <a:bodyPr rot="0" spcFirstLastPara="1" vertOverflow="ellipsis" vert="horz" wrap="square" anchor="ctr" anchorCtr="1"/>
              <a:lstStyle/>
              <a:p>
                <a:pPr>
                  <a:defRPr sz="800">
                    <a:latin typeface="Nexa Bold"/>
                  </a:defRPr>
                </a:pPr>
                <a:r>
                  <a:t>Promo Price/Unit ($)</a:t>
                </a:r>
              </a:p>
            </c:rich>
          </c:tx>
          <c:layout>
            <c:manualLayout>
              <c:xMode val="edge"/>
              <c:yMode val="edge"/>
              <c:x val="0.71314712116753354"/>
              <c:y val="0.90232150191390059"/>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1.3824901011878572"/>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sz="800" b="0" i="0" u="none" strike="noStrike" kern="1200" baseline="0">
                    <a:solidFill>
                      <a:schemeClr val="tx1"/>
                    </a:solidFill>
                    <a:latin typeface="Nexa Bold (Headings)"/>
                    <a:ea typeface="+mn-ea"/>
                    <a:cs typeface="+mn-c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60</c:f>
              <c:numCache>
                <c:formatCode>General</c:formatCode>
                <c:ptCount val="59"/>
                <c:pt idx="0">
                  <c:v>0.1</c:v>
                </c:pt>
                <c:pt idx="1">
                  <c:v>0.15</c:v>
                </c:pt>
                <c:pt idx="2">
                  <c:v>0.1</c:v>
                </c:pt>
                <c:pt idx="3">
                  <c:v>0.1</c:v>
                </c:pt>
                <c:pt idx="4">
                  <c:v>0.1</c:v>
                </c:pt>
                <c:pt idx="5">
                  <c:v>0.1</c:v>
                </c:pt>
                <c:pt idx="6">
                  <c:v>0.1</c:v>
                </c:pt>
                <c:pt idx="7">
                  <c:v>0.1</c:v>
                </c:pt>
                <c:pt idx="8">
                  <c:v>0.05</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05</c:v>
                </c:pt>
                <c:pt idx="30">
                  <c:v>0.1</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3</c:v>
                </c:pt>
                <c:pt idx="45">
                  <c:v>0.35</c:v>
                </c:pt>
                <c:pt idx="46">
                  <c:v>0.4</c:v>
                </c:pt>
                <c:pt idx="47">
                  <c:v>0</c:v>
                </c:pt>
                <c:pt idx="48">
                  <c:v>0</c:v>
                </c:pt>
                <c:pt idx="49">
                  <c:v>0</c:v>
                </c:pt>
                <c:pt idx="50">
                  <c:v>0</c:v>
                </c:pt>
                <c:pt idx="51">
                  <c:v>0</c:v>
                </c:pt>
                <c:pt idx="52">
                  <c:v>0</c:v>
                </c:pt>
                <c:pt idx="53">
                  <c:v>0</c:v>
                </c:pt>
                <c:pt idx="54">
                  <c:v>0</c:v>
                </c:pt>
                <c:pt idx="55">
                  <c:v>0</c:v>
                </c:pt>
                <c:pt idx="56">
                  <c:v>0</c:v>
                </c:pt>
                <c:pt idx="57">
                  <c:v>0</c:v>
                </c:pt>
                <c:pt idx="58">
                  <c:v>0.3</c:v>
                </c:pt>
              </c:numCache>
            </c:numRef>
          </c:xVal>
          <c:yVal>
            <c:numRef>
              <c:f>Sheet1!$B$2:$B$60</c:f>
              <c:numCache>
                <c:formatCode>General</c:formatCode>
                <c:ptCount val="59"/>
                <c:pt idx="0">
                  <c:v>0</c:v>
                </c:pt>
                <c:pt idx="1">
                  <c:v>0</c:v>
                </c:pt>
                <c:pt idx="2">
                  <c:v>0</c:v>
                </c:pt>
                <c:pt idx="3">
                  <c:v>0</c:v>
                </c:pt>
                <c:pt idx="4">
                  <c:v>4.4286341356353787E-2</c:v>
                </c:pt>
                <c:pt idx="5">
                  <c:v>9.5030221921740862E-2</c:v>
                </c:pt>
                <c:pt idx="6">
                  <c:v>0.15755358841173461</c:v>
                </c:pt>
                <c:pt idx="7">
                  <c:v>2.6271937311515919E-3</c:v>
                </c:pt>
                <c:pt idx="8">
                  <c:v>1.6573845058020519E-2</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1.268249520719658E-2</c:v>
                </c:pt>
                <c:pt idx="30">
                  <c:v>1.9414048711613129E-2</c:v>
                </c:pt>
                <c:pt idx="31">
                  <c:v>0</c:v>
                </c:pt>
                <c:pt idx="32">
                  <c:v>0</c:v>
                </c:pt>
                <c:pt idx="33">
                  <c:v>0</c:v>
                </c:pt>
                <c:pt idx="34">
                  <c:v>0</c:v>
                </c:pt>
                <c:pt idx="35">
                  <c:v>0</c:v>
                </c:pt>
                <c:pt idx="36">
                  <c:v>0</c:v>
                </c:pt>
                <c:pt idx="37">
                  <c:v>0</c:v>
                </c:pt>
                <c:pt idx="38">
                  <c:v>0</c:v>
                </c:pt>
                <c:pt idx="39">
                  <c:v>0</c:v>
                </c:pt>
                <c:pt idx="40">
                  <c:v>0</c:v>
                </c:pt>
                <c:pt idx="41">
                  <c:v>0</c:v>
                </c:pt>
                <c:pt idx="42">
                  <c:v>0</c:v>
                </c:pt>
                <c:pt idx="43">
                  <c:v>0</c:v>
                </c:pt>
                <c:pt idx="44">
                  <c:v>7.8143904852030284</c:v>
                </c:pt>
                <c:pt idx="45">
                  <c:v>8.6142322097378279E-2</c:v>
                </c:pt>
                <c:pt idx="46">
                  <c:v>0.15412395153774461</c:v>
                </c:pt>
                <c:pt idx="47">
                  <c:v>0</c:v>
                </c:pt>
                <c:pt idx="48">
                  <c:v>0</c:v>
                </c:pt>
                <c:pt idx="49">
                  <c:v>0</c:v>
                </c:pt>
                <c:pt idx="50">
                  <c:v>0</c:v>
                </c:pt>
                <c:pt idx="51">
                  <c:v>0</c:v>
                </c:pt>
                <c:pt idx="52">
                  <c:v>0</c:v>
                </c:pt>
                <c:pt idx="53">
                  <c:v>0</c:v>
                </c:pt>
                <c:pt idx="54">
                  <c:v>0</c:v>
                </c:pt>
                <c:pt idx="55">
                  <c:v>0</c:v>
                </c:pt>
                <c:pt idx="56">
                  <c:v>0</c:v>
                </c:pt>
                <c:pt idx="57">
                  <c:v>0</c:v>
                </c:pt>
                <c:pt idx="58">
                  <c:v>4.1945744624650008</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max val="0.48"/>
          <c:min val="0"/>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9.3772685822436337"/>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60</c:f>
              <c:numCache>
                <c:formatCode>General</c:formatCode>
                <c:ptCount val="59"/>
                <c:pt idx="0">
                  <c:v>8.5</c:v>
                </c:pt>
                <c:pt idx="1">
                  <c:v>8.5</c:v>
                </c:pt>
                <c:pt idx="2">
                  <c:v>9</c:v>
                </c:pt>
                <c:pt idx="3">
                  <c:v>24.5</c:v>
                </c:pt>
                <c:pt idx="4">
                  <c:v>24</c:v>
                </c:pt>
                <c:pt idx="5">
                  <c:v>24.5</c:v>
                </c:pt>
                <c:pt idx="6">
                  <c:v>24</c:v>
                </c:pt>
                <c:pt idx="7">
                  <c:v>24</c:v>
                </c:pt>
                <c:pt idx="8">
                  <c:v>24</c:v>
                </c:pt>
                <c:pt idx="9">
                  <c:v>25</c:v>
                </c:pt>
                <c:pt idx="10">
                  <c:v>15</c:v>
                </c:pt>
                <c:pt idx="11">
                  <c:v>15</c:v>
                </c:pt>
                <c:pt idx="12">
                  <c:v>15</c:v>
                </c:pt>
                <c:pt idx="13">
                  <c:v>15</c:v>
                </c:pt>
                <c:pt idx="14">
                  <c:v>15</c:v>
                </c:pt>
                <c:pt idx="15">
                  <c:v>15</c:v>
                </c:pt>
                <c:pt idx="16">
                  <c:v>15</c:v>
                </c:pt>
                <c:pt idx="17">
                  <c:v>15</c:v>
                </c:pt>
                <c:pt idx="18">
                  <c:v>15</c:v>
                </c:pt>
                <c:pt idx="19">
                  <c:v>15</c:v>
                </c:pt>
                <c:pt idx="20">
                  <c:v>15</c:v>
                </c:pt>
                <c:pt idx="21">
                  <c:v>15</c:v>
                </c:pt>
                <c:pt idx="22">
                  <c:v>15</c:v>
                </c:pt>
                <c:pt idx="23">
                  <c:v>15</c:v>
                </c:pt>
                <c:pt idx="24">
                  <c:v>15</c:v>
                </c:pt>
                <c:pt idx="25">
                  <c:v>15</c:v>
                </c:pt>
                <c:pt idx="26">
                  <c:v>15</c:v>
                </c:pt>
                <c:pt idx="27">
                  <c:v>15</c:v>
                </c:pt>
                <c:pt idx="28">
                  <c:v>15</c:v>
                </c:pt>
                <c:pt idx="29">
                  <c:v>14</c:v>
                </c:pt>
                <c:pt idx="30">
                  <c:v>13.5</c:v>
                </c:pt>
                <c:pt idx="31">
                  <c:v>14</c:v>
                </c:pt>
                <c:pt idx="32">
                  <c:v>15</c:v>
                </c:pt>
                <c:pt idx="33">
                  <c:v>10</c:v>
                </c:pt>
                <c:pt idx="34">
                  <c:v>10</c:v>
                </c:pt>
                <c:pt idx="35">
                  <c:v>10</c:v>
                </c:pt>
                <c:pt idx="36">
                  <c:v>10</c:v>
                </c:pt>
                <c:pt idx="37">
                  <c:v>10</c:v>
                </c:pt>
                <c:pt idx="38">
                  <c:v>10</c:v>
                </c:pt>
                <c:pt idx="39">
                  <c:v>10</c:v>
                </c:pt>
                <c:pt idx="40">
                  <c:v>10</c:v>
                </c:pt>
                <c:pt idx="41">
                  <c:v>10</c:v>
                </c:pt>
                <c:pt idx="42">
                  <c:v>10</c:v>
                </c:pt>
                <c:pt idx="43">
                  <c:v>10</c:v>
                </c:pt>
                <c:pt idx="44">
                  <c:v>7</c:v>
                </c:pt>
                <c:pt idx="45">
                  <c:v>6.5</c:v>
                </c:pt>
                <c:pt idx="46">
                  <c:v>6</c:v>
                </c:pt>
                <c:pt idx="47">
                  <c:v>10</c:v>
                </c:pt>
                <c:pt idx="48">
                  <c:v>10</c:v>
                </c:pt>
                <c:pt idx="49">
                  <c:v>10</c:v>
                </c:pt>
                <c:pt idx="50">
                  <c:v>10</c:v>
                </c:pt>
                <c:pt idx="51">
                  <c:v>10</c:v>
                </c:pt>
                <c:pt idx="52">
                  <c:v>10</c:v>
                </c:pt>
                <c:pt idx="53">
                  <c:v>10</c:v>
                </c:pt>
                <c:pt idx="54">
                  <c:v>10</c:v>
                </c:pt>
                <c:pt idx="55">
                  <c:v>10</c:v>
                </c:pt>
                <c:pt idx="56">
                  <c:v>10</c:v>
                </c:pt>
                <c:pt idx="57">
                  <c:v>10</c:v>
                </c:pt>
                <c:pt idx="58">
                  <c:v>7</c:v>
                </c:pt>
              </c:numCache>
            </c:numRef>
          </c:xVal>
          <c:yVal>
            <c:numRef>
              <c:f>Sheet1!$B$2:$B$60</c:f>
              <c:numCache>
                <c:formatCode>General</c:formatCode>
                <c:ptCount val="59"/>
                <c:pt idx="0">
                  <c:v>0</c:v>
                </c:pt>
                <c:pt idx="1">
                  <c:v>0</c:v>
                </c:pt>
                <c:pt idx="2">
                  <c:v>0</c:v>
                </c:pt>
                <c:pt idx="3">
                  <c:v>0</c:v>
                </c:pt>
                <c:pt idx="4">
                  <c:v>4.4286341356353787E-2</c:v>
                </c:pt>
                <c:pt idx="5">
                  <c:v>9.5030221921740862E-2</c:v>
                </c:pt>
                <c:pt idx="6">
                  <c:v>0.15755358841173461</c:v>
                </c:pt>
                <c:pt idx="7">
                  <c:v>2.6271937311515919E-3</c:v>
                </c:pt>
                <c:pt idx="8">
                  <c:v>1.6573845058020519E-2</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1.268249520719658E-2</c:v>
                </c:pt>
                <c:pt idx="30">
                  <c:v>1.9414048711613129E-2</c:v>
                </c:pt>
                <c:pt idx="31">
                  <c:v>0</c:v>
                </c:pt>
                <c:pt idx="32">
                  <c:v>0</c:v>
                </c:pt>
                <c:pt idx="33">
                  <c:v>0</c:v>
                </c:pt>
                <c:pt idx="34">
                  <c:v>0</c:v>
                </c:pt>
                <c:pt idx="35">
                  <c:v>0</c:v>
                </c:pt>
                <c:pt idx="36">
                  <c:v>0</c:v>
                </c:pt>
                <c:pt idx="37">
                  <c:v>0</c:v>
                </c:pt>
                <c:pt idx="38">
                  <c:v>0</c:v>
                </c:pt>
                <c:pt idx="39">
                  <c:v>0</c:v>
                </c:pt>
                <c:pt idx="40">
                  <c:v>0</c:v>
                </c:pt>
                <c:pt idx="41">
                  <c:v>0</c:v>
                </c:pt>
                <c:pt idx="42">
                  <c:v>0</c:v>
                </c:pt>
                <c:pt idx="43">
                  <c:v>0</c:v>
                </c:pt>
                <c:pt idx="44">
                  <c:v>7.8143904852030284</c:v>
                </c:pt>
                <c:pt idx="45">
                  <c:v>8.6142322097378279E-2</c:v>
                </c:pt>
                <c:pt idx="46">
                  <c:v>0.15412395153774461</c:v>
                </c:pt>
                <c:pt idx="47">
                  <c:v>0</c:v>
                </c:pt>
                <c:pt idx="48">
                  <c:v>0</c:v>
                </c:pt>
                <c:pt idx="49">
                  <c:v>0</c:v>
                </c:pt>
                <c:pt idx="50">
                  <c:v>0</c:v>
                </c:pt>
                <c:pt idx="51">
                  <c:v>0</c:v>
                </c:pt>
                <c:pt idx="52">
                  <c:v>0</c:v>
                </c:pt>
                <c:pt idx="53">
                  <c:v>0</c:v>
                </c:pt>
                <c:pt idx="54">
                  <c:v>0</c:v>
                </c:pt>
                <c:pt idx="55">
                  <c:v>0</c:v>
                </c:pt>
                <c:pt idx="56">
                  <c:v>0</c:v>
                </c:pt>
                <c:pt idx="57">
                  <c:v>0</c:v>
                </c:pt>
                <c:pt idx="58">
                  <c:v>4.1945744624650008</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max val="30"/>
          <c:min val="4.8000000000000007"/>
        </c:scaling>
        <c:delete val="0"/>
        <c:axPos val="b"/>
        <c:title>
          <c:tx>
            <c:rich>
              <a:bodyPr rot="0" spcFirstLastPara="1" vertOverflow="ellipsis" vert="horz" wrap="square" anchor="ctr" anchorCtr="1"/>
              <a:lstStyle/>
              <a:p>
                <a:pPr>
                  <a:defRPr sz="800">
                    <a:latin typeface="Nexa Bold"/>
                  </a:defRPr>
                </a:pPr>
                <a:r>
                  <a:t>Promo Price/Unit ($)</a:t>
                </a:r>
              </a:p>
            </c:rich>
          </c:tx>
          <c:layout>
            <c:manualLayout>
              <c:xMode val="edge"/>
              <c:yMode val="edge"/>
              <c:x val="0.71314712116753354"/>
              <c:y val="0.90232150191390059"/>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9.3772685822436337"/>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sz="800" b="0" i="0" u="none" strike="noStrike" kern="1200" baseline="0">
                    <a:solidFill>
                      <a:schemeClr val="tx1"/>
                    </a:solidFill>
                    <a:latin typeface="Nexa Bold (Headings)"/>
                    <a:ea typeface="+mn-ea"/>
                    <a:cs typeface="+mn-c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15</c:f>
              <c:numCache>
                <c:formatCode>General</c:formatCode>
                <c:ptCount val="14"/>
                <c:pt idx="0">
                  <c:v>0.05</c:v>
                </c:pt>
                <c:pt idx="1">
                  <c:v>0.2</c:v>
                </c:pt>
                <c:pt idx="2">
                  <c:v>0.25</c:v>
                </c:pt>
                <c:pt idx="3">
                  <c:v>0.3</c:v>
                </c:pt>
                <c:pt idx="4">
                  <c:v>0.05</c:v>
                </c:pt>
                <c:pt idx="5">
                  <c:v>0.1</c:v>
                </c:pt>
                <c:pt idx="6">
                  <c:v>0.1</c:v>
                </c:pt>
                <c:pt idx="7">
                  <c:v>0.1</c:v>
                </c:pt>
                <c:pt idx="8">
                  <c:v>0.1</c:v>
                </c:pt>
                <c:pt idx="9">
                  <c:v>0.1</c:v>
                </c:pt>
                <c:pt idx="10">
                  <c:v>0.1</c:v>
                </c:pt>
                <c:pt idx="11">
                  <c:v>0.1</c:v>
                </c:pt>
                <c:pt idx="12">
                  <c:v>0.1</c:v>
                </c:pt>
                <c:pt idx="13">
                  <c:v>0.1</c:v>
                </c:pt>
              </c:numCache>
            </c:numRef>
          </c:xVal>
          <c:yVal>
            <c:numRef>
              <c:f>Sheet1!$B$2:$B$15</c:f>
              <c:numCache>
                <c:formatCode>General</c:formatCode>
                <c:ptCount val="14"/>
                <c:pt idx="0">
                  <c:v>0</c:v>
                </c:pt>
                <c:pt idx="1">
                  <c:v>0.15648930688285059</c:v>
                </c:pt>
                <c:pt idx="2">
                  <c:v>0.27286427004034669</c:v>
                </c:pt>
                <c:pt idx="3">
                  <c:v>0.17408391397041401</c:v>
                </c:pt>
                <c:pt idx="4">
                  <c:v>2.6042073577058299E-2</c:v>
                </c:pt>
                <c:pt idx="5">
                  <c:v>0.13263436918561239</c:v>
                </c:pt>
                <c:pt idx="6">
                  <c:v>0.13587093257650229</c:v>
                </c:pt>
                <c:pt idx="7">
                  <c:v>0.1014771618985696</c:v>
                </c:pt>
                <c:pt idx="8">
                  <c:v>0.22680211279878809</c:v>
                </c:pt>
                <c:pt idx="9">
                  <c:v>0.18786299617503269</c:v>
                </c:pt>
                <c:pt idx="10">
                  <c:v>0.13604560749668199</c:v>
                </c:pt>
                <c:pt idx="11">
                  <c:v>0.20910067712132019</c:v>
                </c:pt>
                <c:pt idx="12">
                  <c:v>0.16867160794838021</c:v>
                </c:pt>
                <c:pt idx="13">
                  <c:v>9.6960278752240732E-3</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max val="0.36000000000000004"/>
          <c:min val="4.0000000000000008E-2"/>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0.32743712404841602"/>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15</c:f>
              <c:numCache>
                <c:formatCode>General</c:formatCode>
                <c:ptCount val="14"/>
                <c:pt idx="0">
                  <c:v>8</c:v>
                </c:pt>
                <c:pt idx="1">
                  <c:v>16</c:v>
                </c:pt>
                <c:pt idx="2">
                  <c:v>11.5</c:v>
                </c:pt>
                <c:pt idx="3">
                  <c:v>11</c:v>
                </c:pt>
                <c:pt idx="4">
                  <c:v>1</c:v>
                </c:pt>
                <c:pt idx="5">
                  <c:v>1</c:v>
                </c:pt>
                <c:pt idx="6">
                  <c:v>1</c:v>
                </c:pt>
                <c:pt idx="7">
                  <c:v>1</c:v>
                </c:pt>
                <c:pt idx="8">
                  <c:v>1</c:v>
                </c:pt>
                <c:pt idx="9">
                  <c:v>1</c:v>
                </c:pt>
                <c:pt idx="10">
                  <c:v>1</c:v>
                </c:pt>
                <c:pt idx="11">
                  <c:v>1</c:v>
                </c:pt>
                <c:pt idx="12">
                  <c:v>1</c:v>
                </c:pt>
                <c:pt idx="13">
                  <c:v>1</c:v>
                </c:pt>
              </c:numCache>
            </c:numRef>
          </c:xVal>
          <c:yVal>
            <c:numRef>
              <c:f>Sheet1!$B$2:$B$15</c:f>
              <c:numCache>
                <c:formatCode>General</c:formatCode>
                <c:ptCount val="14"/>
                <c:pt idx="0">
                  <c:v>0</c:v>
                </c:pt>
                <c:pt idx="1">
                  <c:v>0.15648930688285059</c:v>
                </c:pt>
                <c:pt idx="2">
                  <c:v>0.27286427004034669</c:v>
                </c:pt>
                <c:pt idx="3">
                  <c:v>0.17408391397041401</c:v>
                </c:pt>
                <c:pt idx="4">
                  <c:v>2.6042073577058299E-2</c:v>
                </c:pt>
                <c:pt idx="5">
                  <c:v>0.13263436918561239</c:v>
                </c:pt>
                <c:pt idx="6">
                  <c:v>0.13587093257650229</c:v>
                </c:pt>
                <c:pt idx="7">
                  <c:v>0.1014771618985696</c:v>
                </c:pt>
                <c:pt idx="8">
                  <c:v>0.22680211279878809</c:v>
                </c:pt>
                <c:pt idx="9">
                  <c:v>0.18786299617503269</c:v>
                </c:pt>
                <c:pt idx="10">
                  <c:v>0.13604560749668199</c:v>
                </c:pt>
                <c:pt idx="11">
                  <c:v>0.20910067712132019</c:v>
                </c:pt>
                <c:pt idx="12">
                  <c:v>0.16867160794838021</c:v>
                </c:pt>
                <c:pt idx="13">
                  <c:v>9.6960278752240732E-3</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max val="19.2"/>
          <c:min val="0.8"/>
        </c:scaling>
        <c:delete val="0"/>
        <c:axPos val="b"/>
        <c:title>
          <c:tx>
            <c:rich>
              <a:bodyPr rot="0" spcFirstLastPara="1" vertOverflow="ellipsis" vert="horz" wrap="square" anchor="ctr" anchorCtr="1"/>
              <a:lstStyle/>
              <a:p>
                <a:pPr>
                  <a:defRPr sz="800">
                    <a:latin typeface="Nexa Bold"/>
                  </a:defRPr>
                </a:pPr>
                <a:r>
                  <a:t>Promo Price/Unit ($)</a:t>
                </a:r>
              </a:p>
            </c:rich>
          </c:tx>
          <c:layout>
            <c:manualLayout>
              <c:xMode val="edge"/>
              <c:yMode val="edge"/>
              <c:x val="0.71314712116753354"/>
              <c:y val="0.90232150191390059"/>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0.32743712404841602"/>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sz="800" b="0" i="0" u="none" strike="noStrike" kern="1200" baseline="0">
                    <a:solidFill>
                      <a:schemeClr val="tx1"/>
                    </a:solidFill>
                    <a:latin typeface="Nexa Bold (Headings)"/>
                    <a:ea typeface="+mn-ea"/>
                    <a:cs typeface="+mn-c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64</c:f>
              <c:numCache>
                <c:formatCode>General</c:formatCode>
                <c:ptCount val="63"/>
                <c:pt idx="0">
                  <c:v>0.25</c:v>
                </c:pt>
                <c:pt idx="1">
                  <c:v>0.2</c:v>
                </c:pt>
                <c:pt idx="2">
                  <c:v>0.1</c:v>
                </c:pt>
                <c:pt idx="3">
                  <c:v>0.1</c:v>
                </c:pt>
                <c:pt idx="4">
                  <c:v>0.1</c:v>
                </c:pt>
                <c:pt idx="5">
                  <c:v>0.1</c:v>
                </c:pt>
                <c:pt idx="6">
                  <c:v>0.1</c:v>
                </c:pt>
                <c:pt idx="7">
                  <c:v>0.25</c:v>
                </c:pt>
                <c:pt idx="8">
                  <c:v>0.25</c:v>
                </c:pt>
                <c:pt idx="9">
                  <c:v>0.25</c:v>
                </c:pt>
                <c:pt idx="10">
                  <c:v>0.2</c:v>
                </c:pt>
                <c:pt idx="11">
                  <c:v>0.2</c:v>
                </c:pt>
                <c:pt idx="12">
                  <c:v>0.15</c:v>
                </c:pt>
                <c:pt idx="13">
                  <c:v>0.15</c:v>
                </c:pt>
                <c:pt idx="14">
                  <c:v>0.15</c:v>
                </c:pt>
                <c:pt idx="15">
                  <c:v>0.3</c:v>
                </c:pt>
                <c:pt idx="16">
                  <c:v>0.15</c:v>
                </c:pt>
                <c:pt idx="17">
                  <c:v>0.2</c:v>
                </c:pt>
                <c:pt idx="18">
                  <c:v>0.25</c:v>
                </c:pt>
                <c:pt idx="19">
                  <c:v>0.25</c:v>
                </c:pt>
                <c:pt idx="20">
                  <c:v>0.15</c:v>
                </c:pt>
                <c:pt idx="21">
                  <c:v>0.15</c:v>
                </c:pt>
                <c:pt idx="22">
                  <c:v>0.25</c:v>
                </c:pt>
                <c:pt idx="23">
                  <c:v>0.2</c:v>
                </c:pt>
                <c:pt idx="24">
                  <c:v>0.05</c:v>
                </c:pt>
                <c:pt idx="25">
                  <c:v>0.05</c:v>
                </c:pt>
                <c:pt idx="26">
                  <c:v>0.1</c:v>
                </c:pt>
                <c:pt idx="27">
                  <c:v>0.2</c:v>
                </c:pt>
                <c:pt idx="28">
                  <c:v>0.2</c:v>
                </c:pt>
                <c:pt idx="29">
                  <c:v>0.2</c:v>
                </c:pt>
                <c:pt idx="30">
                  <c:v>0.2</c:v>
                </c:pt>
                <c:pt idx="31">
                  <c:v>0.15</c:v>
                </c:pt>
                <c:pt idx="32">
                  <c:v>0.05</c:v>
                </c:pt>
                <c:pt idx="33">
                  <c:v>0.1</c:v>
                </c:pt>
                <c:pt idx="34">
                  <c:v>0.15</c:v>
                </c:pt>
                <c:pt idx="35">
                  <c:v>0.2</c:v>
                </c:pt>
                <c:pt idx="36">
                  <c:v>0.15</c:v>
                </c:pt>
                <c:pt idx="37">
                  <c:v>0</c:v>
                </c:pt>
                <c:pt idx="38">
                  <c:v>0</c:v>
                </c:pt>
                <c:pt idx="39">
                  <c:v>0</c:v>
                </c:pt>
                <c:pt idx="40">
                  <c:v>0</c:v>
                </c:pt>
                <c:pt idx="41">
                  <c:v>0</c:v>
                </c:pt>
                <c:pt idx="42">
                  <c:v>0.15</c:v>
                </c:pt>
                <c:pt idx="43">
                  <c:v>0.2</c:v>
                </c:pt>
                <c:pt idx="44">
                  <c:v>0.15</c:v>
                </c:pt>
                <c:pt idx="45">
                  <c:v>0.2</c:v>
                </c:pt>
                <c:pt idx="46">
                  <c:v>0.15</c:v>
                </c:pt>
                <c:pt idx="47">
                  <c:v>0.15</c:v>
                </c:pt>
                <c:pt idx="48">
                  <c:v>0.2</c:v>
                </c:pt>
                <c:pt idx="49">
                  <c:v>0.1</c:v>
                </c:pt>
                <c:pt idx="50">
                  <c:v>0.05</c:v>
                </c:pt>
                <c:pt idx="51">
                  <c:v>0.1</c:v>
                </c:pt>
                <c:pt idx="52">
                  <c:v>0.15</c:v>
                </c:pt>
                <c:pt idx="53">
                  <c:v>0.15</c:v>
                </c:pt>
                <c:pt idx="54">
                  <c:v>0.3</c:v>
                </c:pt>
                <c:pt idx="55">
                  <c:v>0.3</c:v>
                </c:pt>
                <c:pt idx="56">
                  <c:v>0.3</c:v>
                </c:pt>
                <c:pt idx="57">
                  <c:v>0.15</c:v>
                </c:pt>
                <c:pt idx="58">
                  <c:v>0.05</c:v>
                </c:pt>
                <c:pt idx="59">
                  <c:v>0.1</c:v>
                </c:pt>
                <c:pt idx="60">
                  <c:v>0.1</c:v>
                </c:pt>
                <c:pt idx="61">
                  <c:v>0.2</c:v>
                </c:pt>
                <c:pt idx="62">
                  <c:v>0.25</c:v>
                </c:pt>
              </c:numCache>
            </c:numRef>
          </c:xVal>
          <c:yVal>
            <c:numRef>
              <c:f>Sheet1!$B$2:$B$64</c:f>
              <c:numCache>
                <c:formatCode>General</c:formatCode>
                <c:ptCount val="63"/>
                <c:pt idx="0">
                  <c:v>0.27314601566098567</c:v>
                </c:pt>
                <c:pt idx="1">
                  <c:v>0.32185206098249569</c:v>
                </c:pt>
                <c:pt idx="2">
                  <c:v>4.8875855327468229E-2</c:v>
                </c:pt>
                <c:pt idx="3">
                  <c:v>0.35273712077412289</c:v>
                </c:pt>
                <c:pt idx="4">
                  <c:v>0.18371771767183259</c:v>
                </c:pt>
                <c:pt idx="5">
                  <c:v>0.1795941434969999</c:v>
                </c:pt>
                <c:pt idx="6">
                  <c:v>5.5055172517754901E-2</c:v>
                </c:pt>
                <c:pt idx="7">
                  <c:v>3.3745932069133351E-2</c:v>
                </c:pt>
                <c:pt idx="8">
                  <c:v>0.14052008566797869</c:v>
                </c:pt>
                <c:pt idx="9">
                  <c:v>0.44398376852505289</c:v>
                </c:pt>
                <c:pt idx="10">
                  <c:v>0.3253012048192771</c:v>
                </c:pt>
                <c:pt idx="11">
                  <c:v>1.1520750843232139</c:v>
                </c:pt>
                <c:pt idx="12">
                  <c:v>0.35492063492063503</c:v>
                </c:pt>
                <c:pt idx="13">
                  <c:v>0.63374754741661221</c:v>
                </c:pt>
                <c:pt idx="14">
                  <c:v>0.59254579911560323</c:v>
                </c:pt>
                <c:pt idx="15">
                  <c:v>0.27457381211461729</c:v>
                </c:pt>
                <c:pt idx="16">
                  <c:v>0.31026438569206838</c:v>
                </c:pt>
                <c:pt idx="17">
                  <c:v>4.8640915593705293E-2</c:v>
                </c:pt>
                <c:pt idx="18">
                  <c:v>0.3663883089770355</c:v>
                </c:pt>
                <c:pt idx="19">
                  <c:v>0.44154488517745311</c:v>
                </c:pt>
                <c:pt idx="20">
                  <c:v>0.67509986684420775</c:v>
                </c:pt>
                <c:pt idx="21">
                  <c:v>0.2550719054956343</c:v>
                </c:pt>
                <c:pt idx="22">
                  <c:v>0.66268788682581781</c:v>
                </c:pt>
                <c:pt idx="23">
                  <c:v>0.83854848714590946</c:v>
                </c:pt>
                <c:pt idx="24">
                  <c:v>0.55572390572390573</c:v>
                </c:pt>
                <c:pt idx="25">
                  <c:v>0.1123536695058576</c:v>
                </c:pt>
                <c:pt idx="26">
                  <c:v>0.1742412331025987</c:v>
                </c:pt>
                <c:pt idx="27">
                  <c:v>0.1886650111061452</c:v>
                </c:pt>
                <c:pt idx="28">
                  <c:v>0.20088787711547909</c:v>
                </c:pt>
                <c:pt idx="29">
                  <c:v>0.19359136434134461</c:v>
                </c:pt>
                <c:pt idx="30">
                  <c:v>0.3427320722363329</c:v>
                </c:pt>
                <c:pt idx="31">
                  <c:v>0.36691163255147519</c:v>
                </c:pt>
                <c:pt idx="32">
                  <c:v>0.32950482242091761</c:v>
                </c:pt>
                <c:pt idx="33">
                  <c:v>0.41400256755487358</c:v>
                </c:pt>
                <c:pt idx="34">
                  <c:v>0.55035191399637695</c:v>
                </c:pt>
                <c:pt idx="35">
                  <c:v>0.65620350234634317</c:v>
                </c:pt>
                <c:pt idx="36">
                  <c:v>0.39494845917210858</c:v>
                </c:pt>
                <c:pt idx="37">
                  <c:v>0</c:v>
                </c:pt>
                <c:pt idx="38">
                  <c:v>0</c:v>
                </c:pt>
                <c:pt idx="39">
                  <c:v>0</c:v>
                </c:pt>
                <c:pt idx="40">
                  <c:v>0</c:v>
                </c:pt>
                <c:pt idx="41">
                  <c:v>0</c:v>
                </c:pt>
                <c:pt idx="42">
                  <c:v>0.17107433618900661</c:v>
                </c:pt>
                <c:pt idx="43">
                  <c:v>0.36591744782225899</c:v>
                </c:pt>
                <c:pt idx="44">
                  <c:v>0.17790683211986111</c:v>
                </c:pt>
                <c:pt idx="45">
                  <c:v>0.35525963562306778</c:v>
                </c:pt>
                <c:pt idx="46">
                  <c:v>0.29153932514189479</c:v>
                </c:pt>
                <c:pt idx="47">
                  <c:v>0.1838700663297072</c:v>
                </c:pt>
                <c:pt idx="48">
                  <c:v>4.3700516837219809E-2</c:v>
                </c:pt>
                <c:pt idx="49">
                  <c:v>7.2424445838151427E-2</c:v>
                </c:pt>
                <c:pt idx="50">
                  <c:v>0.70112384631895253</c:v>
                </c:pt>
                <c:pt idx="51">
                  <c:v>0.72470242843922517</c:v>
                </c:pt>
                <c:pt idx="52">
                  <c:v>0.51456744423524903</c:v>
                </c:pt>
                <c:pt idx="53">
                  <c:v>8.2687865875512717E-2</c:v>
                </c:pt>
                <c:pt idx="54">
                  <c:v>0.39987455696706631</c:v>
                </c:pt>
                <c:pt idx="55">
                  <c:v>0.45573376495978019</c:v>
                </c:pt>
                <c:pt idx="56">
                  <c:v>0.42321448382614762</c:v>
                </c:pt>
                <c:pt idx="57">
                  <c:v>0.2072825113666989</c:v>
                </c:pt>
                <c:pt idx="58">
                  <c:v>0.242131233334164</c:v>
                </c:pt>
                <c:pt idx="59">
                  <c:v>0.42598297739021462</c:v>
                </c:pt>
                <c:pt idx="60">
                  <c:v>0.21319280532050219</c:v>
                </c:pt>
                <c:pt idx="61">
                  <c:v>0.1632352524709014</c:v>
                </c:pt>
                <c:pt idx="62">
                  <c:v>0.1051367892945049</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max val="0.36000000000000004"/>
          <c:min val="0"/>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1.3824901011878572"/>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64</c:f>
              <c:numCache>
                <c:formatCode>General</c:formatCode>
                <c:ptCount val="63"/>
                <c:pt idx="0">
                  <c:v>19</c:v>
                </c:pt>
                <c:pt idx="1">
                  <c:v>19.5</c:v>
                </c:pt>
                <c:pt idx="2">
                  <c:v>22.5</c:v>
                </c:pt>
                <c:pt idx="3">
                  <c:v>21</c:v>
                </c:pt>
                <c:pt idx="4">
                  <c:v>20</c:v>
                </c:pt>
                <c:pt idx="5">
                  <c:v>19.5</c:v>
                </c:pt>
                <c:pt idx="6">
                  <c:v>20</c:v>
                </c:pt>
                <c:pt idx="7">
                  <c:v>17.5</c:v>
                </c:pt>
                <c:pt idx="8">
                  <c:v>17.5</c:v>
                </c:pt>
                <c:pt idx="9">
                  <c:v>17</c:v>
                </c:pt>
                <c:pt idx="10">
                  <c:v>16</c:v>
                </c:pt>
                <c:pt idx="11">
                  <c:v>20</c:v>
                </c:pt>
                <c:pt idx="12">
                  <c:v>21</c:v>
                </c:pt>
                <c:pt idx="13">
                  <c:v>21.5</c:v>
                </c:pt>
                <c:pt idx="14">
                  <c:v>20.5</c:v>
                </c:pt>
                <c:pt idx="15">
                  <c:v>15</c:v>
                </c:pt>
                <c:pt idx="16">
                  <c:v>21.5</c:v>
                </c:pt>
                <c:pt idx="17">
                  <c:v>21</c:v>
                </c:pt>
                <c:pt idx="18">
                  <c:v>20</c:v>
                </c:pt>
                <c:pt idx="19">
                  <c:v>20</c:v>
                </c:pt>
                <c:pt idx="20">
                  <c:v>21.5</c:v>
                </c:pt>
                <c:pt idx="21">
                  <c:v>17</c:v>
                </c:pt>
                <c:pt idx="22">
                  <c:v>15</c:v>
                </c:pt>
                <c:pt idx="23">
                  <c:v>16.5</c:v>
                </c:pt>
                <c:pt idx="24">
                  <c:v>19.5</c:v>
                </c:pt>
                <c:pt idx="25">
                  <c:v>19</c:v>
                </c:pt>
                <c:pt idx="26">
                  <c:v>18</c:v>
                </c:pt>
                <c:pt idx="27">
                  <c:v>16.5</c:v>
                </c:pt>
                <c:pt idx="28">
                  <c:v>16.5</c:v>
                </c:pt>
                <c:pt idx="29">
                  <c:v>16.5</c:v>
                </c:pt>
                <c:pt idx="30">
                  <c:v>16.5</c:v>
                </c:pt>
                <c:pt idx="31">
                  <c:v>17.5</c:v>
                </c:pt>
                <c:pt idx="32">
                  <c:v>19.5</c:v>
                </c:pt>
                <c:pt idx="33">
                  <c:v>18.5</c:v>
                </c:pt>
                <c:pt idx="34">
                  <c:v>17</c:v>
                </c:pt>
                <c:pt idx="35">
                  <c:v>16</c:v>
                </c:pt>
                <c:pt idx="36">
                  <c:v>17.5</c:v>
                </c:pt>
                <c:pt idx="37">
                  <c:v>20</c:v>
                </c:pt>
                <c:pt idx="38">
                  <c:v>20</c:v>
                </c:pt>
                <c:pt idx="39">
                  <c:v>20</c:v>
                </c:pt>
                <c:pt idx="40">
                  <c:v>20</c:v>
                </c:pt>
                <c:pt idx="41">
                  <c:v>20.5</c:v>
                </c:pt>
                <c:pt idx="42">
                  <c:v>17.5</c:v>
                </c:pt>
                <c:pt idx="43">
                  <c:v>16</c:v>
                </c:pt>
                <c:pt idx="44">
                  <c:v>17.5</c:v>
                </c:pt>
                <c:pt idx="45">
                  <c:v>16.5</c:v>
                </c:pt>
                <c:pt idx="46">
                  <c:v>16.5</c:v>
                </c:pt>
                <c:pt idx="47">
                  <c:v>16.5</c:v>
                </c:pt>
                <c:pt idx="48">
                  <c:v>16.5</c:v>
                </c:pt>
                <c:pt idx="49">
                  <c:v>18.5</c:v>
                </c:pt>
                <c:pt idx="50">
                  <c:v>19.5</c:v>
                </c:pt>
                <c:pt idx="51">
                  <c:v>18</c:v>
                </c:pt>
                <c:pt idx="52">
                  <c:v>17</c:v>
                </c:pt>
                <c:pt idx="53">
                  <c:v>17.5</c:v>
                </c:pt>
                <c:pt idx="54">
                  <c:v>14</c:v>
                </c:pt>
                <c:pt idx="55">
                  <c:v>14</c:v>
                </c:pt>
                <c:pt idx="56">
                  <c:v>14</c:v>
                </c:pt>
                <c:pt idx="57">
                  <c:v>16.5</c:v>
                </c:pt>
                <c:pt idx="58">
                  <c:v>19</c:v>
                </c:pt>
                <c:pt idx="59">
                  <c:v>18.5</c:v>
                </c:pt>
                <c:pt idx="60">
                  <c:v>18</c:v>
                </c:pt>
                <c:pt idx="61">
                  <c:v>16</c:v>
                </c:pt>
                <c:pt idx="62">
                  <c:v>15.5</c:v>
                </c:pt>
              </c:numCache>
            </c:numRef>
          </c:xVal>
          <c:yVal>
            <c:numRef>
              <c:f>Sheet1!$B$2:$B$64</c:f>
              <c:numCache>
                <c:formatCode>General</c:formatCode>
                <c:ptCount val="63"/>
                <c:pt idx="0">
                  <c:v>0.27314601566098567</c:v>
                </c:pt>
                <c:pt idx="1">
                  <c:v>0.32185206098249569</c:v>
                </c:pt>
                <c:pt idx="2">
                  <c:v>4.8875855327468229E-2</c:v>
                </c:pt>
                <c:pt idx="3">
                  <c:v>0.35273712077412289</c:v>
                </c:pt>
                <c:pt idx="4">
                  <c:v>0.18371771767183259</c:v>
                </c:pt>
                <c:pt idx="5">
                  <c:v>0.1795941434969999</c:v>
                </c:pt>
                <c:pt idx="6">
                  <c:v>5.5055172517754901E-2</c:v>
                </c:pt>
                <c:pt idx="7">
                  <c:v>3.3745932069133351E-2</c:v>
                </c:pt>
                <c:pt idx="8">
                  <c:v>0.14052008566797869</c:v>
                </c:pt>
                <c:pt idx="9">
                  <c:v>0.44398376852505289</c:v>
                </c:pt>
                <c:pt idx="10">
                  <c:v>0.3253012048192771</c:v>
                </c:pt>
                <c:pt idx="11">
                  <c:v>1.1520750843232139</c:v>
                </c:pt>
                <c:pt idx="12">
                  <c:v>0.35492063492063503</c:v>
                </c:pt>
                <c:pt idx="13">
                  <c:v>0.63374754741661221</c:v>
                </c:pt>
                <c:pt idx="14">
                  <c:v>0.59254579911560323</c:v>
                </c:pt>
                <c:pt idx="15">
                  <c:v>0.27457381211461729</c:v>
                </c:pt>
                <c:pt idx="16">
                  <c:v>0.31026438569206838</c:v>
                </c:pt>
                <c:pt idx="17">
                  <c:v>4.8640915593705293E-2</c:v>
                </c:pt>
                <c:pt idx="18">
                  <c:v>0.3663883089770355</c:v>
                </c:pt>
                <c:pt idx="19">
                  <c:v>0.44154488517745311</c:v>
                </c:pt>
                <c:pt idx="20">
                  <c:v>0.67509986684420775</c:v>
                </c:pt>
                <c:pt idx="21">
                  <c:v>0.2550719054956343</c:v>
                </c:pt>
                <c:pt idx="22">
                  <c:v>0.66268788682581781</c:v>
                </c:pt>
                <c:pt idx="23">
                  <c:v>0.83854848714590946</c:v>
                </c:pt>
                <c:pt idx="24">
                  <c:v>0.55572390572390573</c:v>
                </c:pt>
                <c:pt idx="25">
                  <c:v>0.1123536695058576</c:v>
                </c:pt>
                <c:pt idx="26">
                  <c:v>0.1742412331025987</c:v>
                </c:pt>
                <c:pt idx="27">
                  <c:v>0.1886650111061452</c:v>
                </c:pt>
                <c:pt idx="28">
                  <c:v>0.20088787711547909</c:v>
                </c:pt>
                <c:pt idx="29">
                  <c:v>0.19359136434134461</c:v>
                </c:pt>
                <c:pt idx="30">
                  <c:v>0.3427320722363329</c:v>
                </c:pt>
                <c:pt idx="31">
                  <c:v>0.36691163255147519</c:v>
                </c:pt>
                <c:pt idx="32">
                  <c:v>0.32950482242091761</c:v>
                </c:pt>
                <c:pt idx="33">
                  <c:v>0.41400256755487358</c:v>
                </c:pt>
                <c:pt idx="34">
                  <c:v>0.55035191399637695</c:v>
                </c:pt>
                <c:pt idx="35">
                  <c:v>0.65620350234634317</c:v>
                </c:pt>
                <c:pt idx="36">
                  <c:v>0.39494845917210858</c:v>
                </c:pt>
                <c:pt idx="37">
                  <c:v>0</c:v>
                </c:pt>
                <c:pt idx="38">
                  <c:v>0</c:v>
                </c:pt>
                <c:pt idx="39">
                  <c:v>0</c:v>
                </c:pt>
                <c:pt idx="40">
                  <c:v>0</c:v>
                </c:pt>
                <c:pt idx="41">
                  <c:v>0</c:v>
                </c:pt>
                <c:pt idx="42">
                  <c:v>0.17107433618900661</c:v>
                </c:pt>
                <c:pt idx="43">
                  <c:v>0.36591744782225899</c:v>
                </c:pt>
                <c:pt idx="44">
                  <c:v>0.17790683211986111</c:v>
                </c:pt>
                <c:pt idx="45">
                  <c:v>0.35525963562306778</c:v>
                </c:pt>
                <c:pt idx="46">
                  <c:v>0.29153932514189479</c:v>
                </c:pt>
                <c:pt idx="47">
                  <c:v>0.1838700663297072</c:v>
                </c:pt>
                <c:pt idx="48">
                  <c:v>4.3700516837219809E-2</c:v>
                </c:pt>
                <c:pt idx="49">
                  <c:v>7.2424445838151427E-2</c:v>
                </c:pt>
                <c:pt idx="50">
                  <c:v>0.70112384631895253</c:v>
                </c:pt>
                <c:pt idx="51">
                  <c:v>0.72470242843922517</c:v>
                </c:pt>
                <c:pt idx="52">
                  <c:v>0.51456744423524903</c:v>
                </c:pt>
                <c:pt idx="53">
                  <c:v>8.2687865875512717E-2</c:v>
                </c:pt>
                <c:pt idx="54">
                  <c:v>0.39987455696706631</c:v>
                </c:pt>
                <c:pt idx="55">
                  <c:v>0.45573376495978019</c:v>
                </c:pt>
                <c:pt idx="56">
                  <c:v>0.42321448382614762</c:v>
                </c:pt>
                <c:pt idx="57">
                  <c:v>0.2072825113666989</c:v>
                </c:pt>
                <c:pt idx="58">
                  <c:v>0.242131233334164</c:v>
                </c:pt>
                <c:pt idx="59">
                  <c:v>0.42598297739021462</c:v>
                </c:pt>
                <c:pt idx="60">
                  <c:v>0.21319280532050219</c:v>
                </c:pt>
                <c:pt idx="61">
                  <c:v>0.1632352524709014</c:v>
                </c:pt>
                <c:pt idx="62">
                  <c:v>0.1051367892945049</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max val="27"/>
          <c:min val="11.200000000000001"/>
        </c:scaling>
        <c:delete val="0"/>
        <c:axPos val="b"/>
        <c:title>
          <c:tx>
            <c:rich>
              <a:bodyPr rot="0" spcFirstLastPara="1" vertOverflow="ellipsis" vert="horz" wrap="square" anchor="ctr" anchorCtr="1"/>
              <a:lstStyle/>
              <a:p>
                <a:pPr>
                  <a:defRPr sz="800">
                    <a:latin typeface="Nexa Bold"/>
                  </a:defRPr>
                </a:pPr>
                <a:r>
                  <a:t>Promo Price/Unit ($)</a:t>
                </a:r>
              </a:p>
            </c:rich>
          </c:tx>
          <c:layout>
            <c:manualLayout>
              <c:xMode val="edge"/>
              <c:yMode val="edge"/>
              <c:x val="0.71314712116753354"/>
              <c:y val="0.90232150191390059"/>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1.3824901011878572"/>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sz="800" b="0" i="0" u="none" strike="noStrike" kern="1200" baseline="0">
                    <a:solidFill>
                      <a:schemeClr val="tx1"/>
                    </a:solidFill>
                    <a:latin typeface="Nexa Bold (Headings)"/>
                    <a:ea typeface="+mn-ea"/>
                    <a:cs typeface="+mn-c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48</c:f>
              <c:numCache>
                <c:formatCode>General</c:formatCode>
                <c:ptCount val="47"/>
                <c:pt idx="0">
                  <c:v>0.1</c:v>
                </c:pt>
                <c:pt idx="1">
                  <c:v>0.15</c:v>
                </c:pt>
                <c:pt idx="2">
                  <c:v>0.1</c:v>
                </c:pt>
                <c:pt idx="3">
                  <c:v>0.1</c:v>
                </c:pt>
                <c:pt idx="4">
                  <c:v>0.1</c:v>
                </c:pt>
                <c:pt idx="5">
                  <c:v>0.1</c:v>
                </c:pt>
                <c:pt idx="6">
                  <c:v>0.1</c:v>
                </c:pt>
                <c:pt idx="7">
                  <c:v>0.1</c:v>
                </c:pt>
                <c:pt idx="8">
                  <c:v>0.05</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05</c:v>
                </c:pt>
                <c:pt idx="30">
                  <c:v>0.1</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3</c:v>
                </c:pt>
                <c:pt idx="45">
                  <c:v>0.35</c:v>
                </c:pt>
                <c:pt idx="46">
                  <c:v>0.4</c:v>
                </c:pt>
              </c:numCache>
            </c:numRef>
          </c:xVal>
          <c:yVal>
            <c:numRef>
              <c:f>Sheet1!$B$2:$B$48</c:f>
              <c:numCache>
                <c:formatCode>General</c:formatCode>
                <c:ptCount val="47"/>
                <c:pt idx="0">
                  <c:v>0</c:v>
                </c:pt>
                <c:pt idx="1">
                  <c:v>0</c:v>
                </c:pt>
                <c:pt idx="2">
                  <c:v>0</c:v>
                </c:pt>
                <c:pt idx="3">
                  <c:v>0</c:v>
                </c:pt>
                <c:pt idx="4">
                  <c:v>4.4286341356353787E-2</c:v>
                </c:pt>
                <c:pt idx="5">
                  <c:v>9.5030221921740862E-2</c:v>
                </c:pt>
                <c:pt idx="6">
                  <c:v>0.15755358841173461</c:v>
                </c:pt>
                <c:pt idx="7">
                  <c:v>2.6271937311515919E-3</c:v>
                </c:pt>
                <c:pt idx="8">
                  <c:v>1.6573845058020519E-2</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1.268249520719658E-2</c:v>
                </c:pt>
                <c:pt idx="30">
                  <c:v>1.9414048711613129E-2</c:v>
                </c:pt>
                <c:pt idx="31">
                  <c:v>0</c:v>
                </c:pt>
                <c:pt idx="32">
                  <c:v>0</c:v>
                </c:pt>
                <c:pt idx="33">
                  <c:v>0</c:v>
                </c:pt>
                <c:pt idx="34">
                  <c:v>0</c:v>
                </c:pt>
                <c:pt idx="35">
                  <c:v>0</c:v>
                </c:pt>
                <c:pt idx="36">
                  <c:v>0</c:v>
                </c:pt>
                <c:pt idx="37">
                  <c:v>0</c:v>
                </c:pt>
                <c:pt idx="38">
                  <c:v>0</c:v>
                </c:pt>
                <c:pt idx="39">
                  <c:v>0</c:v>
                </c:pt>
                <c:pt idx="40">
                  <c:v>0</c:v>
                </c:pt>
                <c:pt idx="41">
                  <c:v>0</c:v>
                </c:pt>
                <c:pt idx="42">
                  <c:v>0</c:v>
                </c:pt>
                <c:pt idx="43">
                  <c:v>0</c:v>
                </c:pt>
                <c:pt idx="44">
                  <c:v>7.8143904852030284</c:v>
                </c:pt>
                <c:pt idx="45">
                  <c:v>8.6142322097378279E-2</c:v>
                </c:pt>
                <c:pt idx="46">
                  <c:v>0.15412395153774461</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max val="0.48"/>
          <c:min val="0"/>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9.3772685822436337"/>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48</c:f>
              <c:numCache>
                <c:formatCode>General</c:formatCode>
                <c:ptCount val="47"/>
                <c:pt idx="0">
                  <c:v>8.5</c:v>
                </c:pt>
                <c:pt idx="1">
                  <c:v>8.5</c:v>
                </c:pt>
                <c:pt idx="2">
                  <c:v>9</c:v>
                </c:pt>
                <c:pt idx="3">
                  <c:v>24.5</c:v>
                </c:pt>
                <c:pt idx="4">
                  <c:v>24</c:v>
                </c:pt>
                <c:pt idx="5">
                  <c:v>24.5</c:v>
                </c:pt>
                <c:pt idx="6">
                  <c:v>24</c:v>
                </c:pt>
                <c:pt idx="7">
                  <c:v>24</c:v>
                </c:pt>
                <c:pt idx="8">
                  <c:v>24</c:v>
                </c:pt>
                <c:pt idx="9">
                  <c:v>25</c:v>
                </c:pt>
                <c:pt idx="10">
                  <c:v>15</c:v>
                </c:pt>
                <c:pt idx="11">
                  <c:v>15</c:v>
                </c:pt>
                <c:pt idx="12">
                  <c:v>15</c:v>
                </c:pt>
                <c:pt idx="13">
                  <c:v>15</c:v>
                </c:pt>
                <c:pt idx="14">
                  <c:v>15</c:v>
                </c:pt>
                <c:pt idx="15">
                  <c:v>15</c:v>
                </c:pt>
                <c:pt idx="16">
                  <c:v>15</c:v>
                </c:pt>
                <c:pt idx="17">
                  <c:v>15</c:v>
                </c:pt>
                <c:pt idx="18">
                  <c:v>15</c:v>
                </c:pt>
                <c:pt idx="19">
                  <c:v>15</c:v>
                </c:pt>
                <c:pt idx="20">
                  <c:v>15</c:v>
                </c:pt>
                <c:pt idx="21">
                  <c:v>15</c:v>
                </c:pt>
                <c:pt idx="22">
                  <c:v>15</c:v>
                </c:pt>
                <c:pt idx="23">
                  <c:v>15</c:v>
                </c:pt>
                <c:pt idx="24">
                  <c:v>15</c:v>
                </c:pt>
                <c:pt idx="25">
                  <c:v>15</c:v>
                </c:pt>
                <c:pt idx="26">
                  <c:v>15</c:v>
                </c:pt>
                <c:pt idx="27">
                  <c:v>15</c:v>
                </c:pt>
                <c:pt idx="28">
                  <c:v>15</c:v>
                </c:pt>
                <c:pt idx="29">
                  <c:v>14</c:v>
                </c:pt>
                <c:pt idx="30">
                  <c:v>13.5</c:v>
                </c:pt>
                <c:pt idx="31">
                  <c:v>14</c:v>
                </c:pt>
                <c:pt idx="32">
                  <c:v>15</c:v>
                </c:pt>
                <c:pt idx="33">
                  <c:v>10</c:v>
                </c:pt>
                <c:pt idx="34">
                  <c:v>10</c:v>
                </c:pt>
                <c:pt idx="35">
                  <c:v>10</c:v>
                </c:pt>
                <c:pt idx="36">
                  <c:v>10</c:v>
                </c:pt>
                <c:pt idx="37">
                  <c:v>10</c:v>
                </c:pt>
                <c:pt idx="38">
                  <c:v>10</c:v>
                </c:pt>
                <c:pt idx="39">
                  <c:v>10</c:v>
                </c:pt>
                <c:pt idx="40">
                  <c:v>10</c:v>
                </c:pt>
                <c:pt idx="41">
                  <c:v>10</c:v>
                </c:pt>
                <c:pt idx="42">
                  <c:v>10</c:v>
                </c:pt>
                <c:pt idx="43">
                  <c:v>10</c:v>
                </c:pt>
                <c:pt idx="44">
                  <c:v>7</c:v>
                </c:pt>
                <c:pt idx="45">
                  <c:v>6.5</c:v>
                </c:pt>
                <c:pt idx="46">
                  <c:v>6</c:v>
                </c:pt>
              </c:numCache>
            </c:numRef>
          </c:xVal>
          <c:yVal>
            <c:numRef>
              <c:f>Sheet1!$B$2:$B$48</c:f>
              <c:numCache>
                <c:formatCode>General</c:formatCode>
                <c:ptCount val="47"/>
                <c:pt idx="0">
                  <c:v>0</c:v>
                </c:pt>
                <c:pt idx="1">
                  <c:v>0</c:v>
                </c:pt>
                <c:pt idx="2">
                  <c:v>0</c:v>
                </c:pt>
                <c:pt idx="3">
                  <c:v>0</c:v>
                </c:pt>
                <c:pt idx="4">
                  <c:v>4.4286341356353787E-2</c:v>
                </c:pt>
                <c:pt idx="5">
                  <c:v>9.5030221921740862E-2</c:v>
                </c:pt>
                <c:pt idx="6">
                  <c:v>0.15755358841173461</c:v>
                </c:pt>
                <c:pt idx="7">
                  <c:v>2.6271937311515919E-3</c:v>
                </c:pt>
                <c:pt idx="8">
                  <c:v>1.6573845058020519E-2</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1.268249520719658E-2</c:v>
                </c:pt>
                <c:pt idx="30">
                  <c:v>1.9414048711613129E-2</c:v>
                </c:pt>
                <c:pt idx="31">
                  <c:v>0</c:v>
                </c:pt>
                <c:pt idx="32">
                  <c:v>0</c:v>
                </c:pt>
                <c:pt idx="33">
                  <c:v>0</c:v>
                </c:pt>
                <c:pt idx="34">
                  <c:v>0</c:v>
                </c:pt>
                <c:pt idx="35">
                  <c:v>0</c:v>
                </c:pt>
                <c:pt idx="36">
                  <c:v>0</c:v>
                </c:pt>
                <c:pt idx="37">
                  <c:v>0</c:v>
                </c:pt>
                <c:pt idx="38">
                  <c:v>0</c:v>
                </c:pt>
                <c:pt idx="39">
                  <c:v>0</c:v>
                </c:pt>
                <c:pt idx="40">
                  <c:v>0</c:v>
                </c:pt>
                <c:pt idx="41">
                  <c:v>0</c:v>
                </c:pt>
                <c:pt idx="42">
                  <c:v>0</c:v>
                </c:pt>
                <c:pt idx="43">
                  <c:v>0</c:v>
                </c:pt>
                <c:pt idx="44">
                  <c:v>7.8143904852030284</c:v>
                </c:pt>
                <c:pt idx="45">
                  <c:v>8.6142322097378279E-2</c:v>
                </c:pt>
                <c:pt idx="46">
                  <c:v>0.15412395153774461</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max val="30"/>
          <c:min val="4.8000000000000007"/>
        </c:scaling>
        <c:delete val="0"/>
        <c:axPos val="b"/>
        <c:title>
          <c:tx>
            <c:rich>
              <a:bodyPr rot="0" spcFirstLastPara="1" vertOverflow="ellipsis" vert="horz" wrap="square" anchor="ctr" anchorCtr="1"/>
              <a:lstStyle/>
              <a:p>
                <a:pPr>
                  <a:defRPr sz="800">
                    <a:latin typeface="Nexa Bold"/>
                  </a:defRPr>
                </a:pPr>
                <a:r>
                  <a:t>Promo Price/Unit ($)</a:t>
                </a:r>
              </a:p>
            </c:rich>
          </c:tx>
          <c:layout>
            <c:manualLayout>
              <c:xMode val="edge"/>
              <c:yMode val="edge"/>
              <c:x val="0.71314712116753354"/>
              <c:y val="0.90232150191390059"/>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9.3772685822436337"/>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sz="800" b="0" i="0" u="none" strike="noStrike" kern="1200" baseline="0">
                    <a:solidFill>
                      <a:schemeClr val="tx1"/>
                    </a:solidFill>
                    <a:latin typeface="Nexa Bold (Headings)"/>
                    <a:ea typeface="+mn-ea"/>
                    <a:cs typeface="+mn-c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13</c:f>
              <c:numCache>
                <c:formatCode>General</c:formatCode>
                <c:ptCount val="12"/>
                <c:pt idx="0">
                  <c:v>0</c:v>
                </c:pt>
                <c:pt idx="1">
                  <c:v>0</c:v>
                </c:pt>
                <c:pt idx="2">
                  <c:v>0</c:v>
                </c:pt>
                <c:pt idx="3">
                  <c:v>0</c:v>
                </c:pt>
                <c:pt idx="4">
                  <c:v>0</c:v>
                </c:pt>
                <c:pt idx="5">
                  <c:v>0</c:v>
                </c:pt>
                <c:pt idx="6">
                  <c:v>0</c:v>
                </c:pt>
                <c:pt idx="7">
                  <c:v>0</c:v>
                </c:pt>
                <c:pt idx="8">
                  <c:v>0</c:v>
                </c:pt>
                <c:pt idx="9">
                  <c:v>0</c:v>
                </c:pt>
                <c:pt idx="10">
                  <c:v>0</c:v>
                </c:pt>
                <c:pt idx="11">
                  <c:v>0.3</c:v>
                </c:pt>
              </c:numCache>
            </c:numRef>
          </c:xVal>
          <c:yVal>
            <c:numRef>
              <c:f>Sheet1!$B$2:$B$13</c:f>
              <c:numCache>
                <c:formatCode>General</c:formatCode>
                <c:ptCount val="12"/>
                <c:pt idx="0">
                  <c:v>0</c:v>
                </c:pt>
                <c:pt idx="1">
                  <c:v>0</c:v>
                </c:pt>
                <c:pt idx="2">
                  <c:v>0</c:v>
                </c:pt>
                <c:pt idx="3">
                  <c:v>0</c:v>
                </c:pt>
                <c:pt idx="4">
                  <c:v>0</c:v>
                </c:pt>
                <c:pt idx="5">
                  <c:v>0</c:v>
                </c:pt>
                <c:pt idx="6">
                  <c:v>0</c:v>
                </c:pt>
                <c:pt idx="7">
                  <c:v>0</c:v>
                </c:pt>
                <c:pt idx="8">
                  <c:v>0</c:v>
                </c:pt>
                <c:pt idx="9">
                  <c:v>0</c:v>
                </c:pt>
                <c:pt idx="10">
                  <c:v>0</c:v>
                </c:pt>
                <c:pt idx="11">
                  <c:v>4.1945744624650008</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max val="0.36000000000000004"/>
          <c:min val="0"/>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5.0334893549580011"/>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3-3C16-4125-B97A-D0EBA9D0B1CF}"/>
              </c:ext>
            </c:extLst>
          </c:dPt>
          <c:dPt>
            <c:idx val="1"/>
            <c:invertIfNegative val="0"/>
            <c:bubble3D val="0"/>
            <c:spPr>
              <a:solidFill>
                <a:srgbClr val="E1BFBF"/>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c:f>
              <c:strCache>
                <c:ptCount val="1"/>
                <c:pt idx="0">
                  <c:v>Gillette</c:v>
                </c:pt>
              </c:strCache>
            </c:strRef>
          </c:cat>
          <c:val>
            <c:numRef>
              <c:f>Sheet1!$B$2:$B$2</c:f>
              <c:numCache>
                <c:formatCode>General</c:formatCode>
                <c:ptCount val="1"/>
                <c:pt idx="0">
                  <c:v>-0.11099999999999999</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13</c:f>
              <c:numCache>
                <c:formatCode>General</c:formatCode>
                <c:ptCount val="12"/>
                <c:pt idx="0">
                  <c:v>10</c:v>
                </c:pt>
                <c:pt idx="1">
                  <c:v>10</c:v>
                </c:pt>
                <c:pt idx="2">
                  <c:v>10</c:v>
                </c:pt>
                <c:pt idx="3">
                  <c:v>10</c:v>
                </c:pt>
                <c:pt idx="4">
                  <c:v>10</c:v>
                </c:pt>
                <c:pt idx="5">
                  <c:v>10</c:v>
                </c:pt>
                <c:pt idx="6">
                  <c:v>10</c:v>
                </c:pt>
                <c:pt idx="7">
                  <c:v>10</c:v>
                </c:pt>
                <c:pt idx="8">
                  <c:v>10</c:v>
                </c:pt>
                <c:pt idx="9">
                  <c:v>10</c:v>
                </c:pt>
                <c:pt idx="10">
                  <c:v>10</c:v>
                </c:pt>
                <c:pt idx="11">
                  <c:v>7</c:v>
                </c:pt>
              </c:numCache>
            </c:numRef>
          </c:xVal>
          <c:yVal>
            <c:numRef>
              <c:f>Sheet1!$B$2:$B$13</c:f>
              <c:numCache>
                <c:formatCode>General</c:formatCode>
                <c:ptCount val="12"/>
                <c:pt idx="0">
                  <c:v>0</c:v>
                </c:pt>
                <c:pt idx="1">
                  <c:v>0</c:v>
                </c:pt>
                <c:pt idx="2">
                  <c:v>0</c:v>
                </c:pt>
                <c:pt idx="3">
                  <c:v>0</c:v>
                </c:pt>
                <c:pt idx="4">
                  <c:v>0</c:v>
                </c:pt>
                <c:pt idx="5">
                  <c:v>0</c:v>
                </c:pt>
                <c:pt idx="6">
                  <c:v>0</c:v>
                </c:pt>
                <c:pt idx="7">
                  <c:v>0</c:v>
                </c:pt>
                <c:pt idx="8">
                  <c:v>0</c:v>
                </c:pt>
                <c:pt idx="9">
                  <c:v>0</c:v>
                </c:pt>
                <c:pt idx="10">
                  <c:v>0</c:v>
                </c:pt>
                <c:pt idx="11">
                  <c:v>4.1945744624650008</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max val="12"/>
          <c:min val="5.6000000000000005"/>
        </c:scaling>
        <c:delete val="0"/>
        <c:axPos val="b"/>
        <c:title>
          <c:tx>
            <c:rich>
              <a:bodyPr rot="0" spcFirstLastPara="1" vertOverflow="ellipsis" vert="horz" wrap="square" anchor="ctr" anchorCtr="1"/>
              <a:lstStyle/>
              <a:p>
                <a:pPr>
                  <a:defRPr sz="800">
                    <a:latin typeface="Nexa Bold"/>
                  </a:defRPr>
                </a:pPr>
                <a:r>
                  <a:t>Promo Price/Unit ($)</a:t>
                </a:r>
              </a:p>
            </c:rich>
          </c:tx>
          <c:layout>
            <c:manualLayout>
              <c:xMode val="edge"/>
              <c:yMode val="edge"/>
              <c:x val="0.71314712116753354"/>
              <c:y val="0.90232150191390059"/>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5.0334893549580011"/>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sz="800" b="0" i="0" u="none" strike="noStrike" kern="1200" baseline="0">
                    <a:solidFill>
                      <a:schemeClr val="tx1"/>
                    </a:solidFill>
                    <a:latin typeface="Nexa Bold (Headings)"/>
                    <a:ea typeface="+mn-ea"/>
                    <a:cs typeface="+mn-c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5</c:f>
              <c:numCache>
                <c:formatCode>General</c:formatCode>
                <c:ptCount val="4"/>
                <c:pt idx="0">
                  <c:v>0.05</c:v>
                </c:pt>
                <c:pt idx="1">
                  <c:v>0.2</c:v>
                </c:pt>
                <c:pt idx="2">
                  <c:v>0.25</c:v>
                </c:pt>
                <c:pt idx="3">
                  <c:v>0.3</c:v>
                </c:pt>
              </c:numCache>
            </c:numRef>
          </c:xVal>
          <c:yVal>
            <c:numRef>
              <c:f>Sheet1!$B$2:$B$5</c:f>
              <c:numCache>
                <c:formatCode>General</c:formatCode>
                <c:ptCount val="4"/>
                <c:pt idx="0">
                  <c:v>0</c:v>
                </c:pt>
                <c:pt idx="1">
                  <c:v>0.15648930688285059</c:v>
                </c:pt>
                <c:pt idx="2">
                  <c:v>0.27286427004034669</c:v>
                </c:pt>
                <c:pt idx="3">
                  <c:v>0.17408391397041401</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max val="0.36000000000000004"/>
          <c:min val="4.0000000000000008E-2"/>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0.32743712404841602"/>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5</c:f>
              <c:numCache>
                <c:formatCode>General</c:formatCode>
                <c:ptCount val="4"/>
                <c:pt idx="0">
                  <c:v>8</c:v>
                </c:pt>
                <c:pt idx="1">
                  <c:v>16</c:v>
                </c:pt>
                <c:pt idx="2">
                  <c:v>11.5</c:v>
                </c:pt>
                <c:pt idx="3">
                  <c:v>11</c:v>
                </c:pt>
              </c:numCache>
            </c:numRef>
          </c:xVal>
          <c:yVal>
            <c:numRef>
              <c:f>Sheet1!$B$2:$B$5</c:f>
              <c:numCache>
                <c:formatCode>General</c:formatCode>
                <c:ptCount val="4"/>
                <c:pt idx="0">
                  <c:v>0</c:v>
                </c:pt>
                <c:pt idx="1">
                  <c:v>0.15648930688285059</c:v>
                </c:pt>
                <c:pt idx="2">
                  <c:v>0.27286427004034669</c:v>
                </c:pt>
                <c:pt idx="3">
                  <c:v>0.17408391397041401</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max val="19.2"/>
          <c:min val="6.4"/>
        </c:scaling>
        <c:delete val="0"/>
        <c:axPos val="b"/>
        <c:title>
          <c:tx>
            <c:rich>
              <a:bodyPr rot="0" spcFirstLastPara="1" vertOverflow="ellipsis" vert="horz" wrap="square" anchor="ctr" anchorCtr="1"/>
              <a:lstStyle/>
              <a:p>
                <a:pPr>
                  <a:defRPr sz="800">
                    <a:latin typeface="Nexa Bold"/>
                  </a:defRPr>
                </a:pPr>
                <a:r>
                  <a:t>Promo Price/Unit ($)</a:t>
                </a:r>
              </a:p>
            </c:rich>
          </c:tx>
          <c:layout>
            <c:manualLayout>
              <c:xMode val="edge"/>
              <c:yMode val="edge"/>
              <c:x val="0.71314712116753354"/>
              <c:y val="0.90232150191390059"/>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0.32743712404841602"/>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sz="800" b="0" i="0" u="none" strike="noStrike" kern="1200" baseline="0">
                    <a:solidFill>
                      <a:schemeClr val="tx1"/>
                    </a:solidFill>
                    <a:latin typeface="Nexa Bold (Headings)"/>
                    <a:ea typeface="+mn-ea"/>
                    <a:cs typeface="+mn-c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11</c:f>
              <c:numCache>
                <c:formatCode>General</c:formatCode>
                <c:ptCount val="10"/>
                <c:pt idx="0">
                  <c:v>0.05</c:v>
                </c:pt>
                <c:pt idx="1">
                  <c:v>0.1</c:v>
                </c:pt>
                <c:pt idx="2">
                  <c:v>0.1</c:v>
                </c:pt>
                <c:pt idx="3">
                  <c:v>0.1</c:v>
                </c:pt>
                <c:pt idx="4">
                  <c:v>0.1</c:v>
                </c:pt>
                <c:pt idx="5">
                  <c:v>0.1</c:v>
                </c:pt>
                <c:pt idx="6">
                  <c:v>0.1</c:v>
                </c:pt>
                <c:pt idx="7">
                  <c:v>0.1</c:v>
                </c:pt>
                <c:pt idx="8">
                  <c:v>0.1</c:v>
                </c:pt>
                <c:pt idx="9">
                  <c:v>0.1</c:v>
                </c:pt>
              </c:numCache>
            </c:numRef>
          </c:xVal>
          <c:yVal>
            <c:numRef>
              <c:f>Sheet1!$B$2:$B$11</c:f>
              <c:numCache>
                <c:formatCode>General</c:formatCode>
                <c:ptCount val="10"/>
                <c:pt idx="0">
                  <c:v>2.6042073577058299E-2</c:v>
                </c:pt>
                <c:pt idx="1">
                  <c:v>0.13263436918561239</c:v>
                </c:pt>
                <c:pt idx="2">
                  <c:v>0.13587093257650229</c:v>
                </c:pt>
                <c:pt idx="3">
                  <c:v>0.1014771618985696</c:v>
                </c:pt>
                <c:pt idx="4">
                  <c:v>0.22680211279878809</c:v>
                </c:pt>
                <c:pt idx="5">
                  <c:v>0.18786299617503269</c:v>
                </c:pt>
                <c:pt idx="6">
                  <c:v>0.13604560749668199</c:v>
                </c:pt>
                <c:pt idx="7">
                  <c:v>0.20910067712132019</c:v>
                </c:pt>
                <c:pt idx="8">
                  <c:v>0.16867160794838021</c:v>
                </c:pt>
                <c:pt idx="9">
                  <c:v>9.6960278752240732E-3</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max val="0.12"/>
          <c:min val="4.0000000000000008E-2"/>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0.27216253535854568"/>
          <c:min val="7.7568223001792591E-3"/>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11</c:f>
              <c:numCache>
                <c:formatCode>General</c:formatCode>
                <c:ptCount val="10"/>
                <c:pt idx="0">
                  <c:v>1</c:v>
                </c:pt>
                <c:pt idx="1">
                  <c:v>1</c:v>
                </c:pt>
                <c:pt idx="2">
                  <c:v>1</c:v>
                </c:pt>
                <c:pt idx="3">
                  <c:v>1</c:v>
                </c:pt>
                <c:pt idx="4">
                  <c:v>1</c:v>
                </c:pt>
                <c:pt idx="5">
                  <c:v>1</c:v>
                </c:pt>
                <c:pt idx="6">
                  <c:v>1</c:v>
                </c:pt>
                <c:pt idx="7">
                  <c:v>1</c:v>
                </c:pt>
                <c:pt idx="8">
                  <c:v>1</c:v>
                </c:pt>
                <c:pt idx="9">
                  <c:v>1</c:v>
                </c:pt>
              </c:numCache>
            </c:numRef>
          </c:xVal>
          <c:yVal>
            <c:numRef>
              <c:f>Sheet1!$B$2:$B$11</c:f>
              <c:numCache>
                <c:formatCode>General</c:formatCode>
                <c:ptCount val="10"/>
                <c:pt idx="0">
                  <c:v>2.6042073577058299E-2</c:v>
                </c:pt>
                <c:pt idx="1">
                  <c:v>0.13263436918561239</c:v>
                </c:pt>
                <c:pt idx="2">
                  <c:v>0.13587093257650229</c:v>
                </c:pt>
                <c:pt idx="3">
                  <c:v>0.1014771618985696</c:v>
                </c:pt>
                <c:pt idx="4">
                  <c:v>0.22680211279878809</c:v>
                </c:pt>
                <c:pt idx="5">
                  <c:v>0.18786299617503269</c:v>
                </c:pt>
                <c:pt idx="6">
                  <c:v>0.13604560749668199</c:v>
                </c:pt>
                <c:pt idx="7">
                  <c:v>0.20910067712132019</c:v>
                </c:pt>
                <c:pt idx="8">
                  <c:v>0.16867160794838021</c:v>
                </c:pt>
                <c:pt idx="9">
                  <c:v>9.6960278752240732E-3</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max val="1.2"/>
          <c:min val="0.8"/>
        </c:scaling>
        <c:delete val="0"/>
        <c:axPos val="b"/>
        <c:title>
          <c:tx>
            <c:rich>
              <a:bodyPr rot="0" spcFirstLastPara="1" vertOverflow="ellipsis" vert="horz" wrap="square" anchor="ctr" anchorCtr="1"/>
              <a:lstStyle/>
              <a:p>
                <a:pPr>
                  <a:defRPr sz="800">
                    <a:latin typeface="Nexa Bold"/>
                  </a:defRPr>
                </a:pPr>
                <a:r>
                  <a:t>Promo Price/Unit ($)</a:t>
                </a:r>
              </a:p>
            </c:rich>
          </c:tx>
          <c:layout>
            <c:manualLayout>
              <c:xMode val="edge"/>
              <c:yMode val="edge"/>
              <c:x val="0.71314712116753354"/>
              <c:y val="0.90232150191390059"/>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0.27216253535854568"/>
          <c:min val="7.7568223001792591E-3"/>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sz="800" b="0" i="0" u="none" strike="noStrike" kern="1200" baseline="0">
                    <a:solidFill>
                      <a:schemeClr val="tx1"/>
                    </a:solidFill>
                    <a:latin typeface="Nexa Bold (Headings)"/>
                    <a:ea typeface="+mn-ea"/>
                    <a:cs typeface="+mn-c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64</c:f>
              <c:numCache>
                <c:formatCode>General</c:formatCode>
                <c:ptCount val="63"/>
                <c:pt idx="0">
                  <c:v>0.25</c:v>
                </c:pt>
                <c:pt idx="1">
                  <c:v>0.2</c:v>
                </c:pt>
                <c:pt idx="2">
                  <c:v>0.1</c:v>
                </c:pt>
                <c:pt idx="3">
                  <c:v>0.1</c:v>
                </c:pt>
                <c:pt idx="4">
                  <c:v>0.1</c:v>
                </c:pt>
                <c:pt idx="5">
                  <c:v>0.1</c:v>
                </c:pt>
                <c:pt idx="6">
                  <c:v>0.1</c:v>
                </c:pt>
                <c:pt idx="7">
                  <c:v>0.25</c:v>
                </c:pt>
                <c:pt idx="8">
                  <c:v>0.25</c:v>
                </c:pt>
                <c:pt idx="9">
                  <c:v>0.25</c:v>
                </c:pt>
                <c:pt idx="10">
                  <c:v>0.2</c:v>
                </c:pt>
                <c:pt idx="11">
                  <c:v>0.2</c:v>
                </c:pt>
                <c:pt idx="12">
                  <c:v>0.15</c:v>
                </c:pt>
                <c:pt idx="13">
                  <c:v>0.15</c:v>
                </c:pt>
                <c:pt idx="14">
                  <c:v>0.15</c:v>
                </c:pt>
                <c:pt idx="15">
                  <c:v>0.3</c:v>
                </c:pt>
                <c:pt idx="16">
                  <c:v>0.15</c:v>
                </c:pt>
                <c:pt idx="17">
                  <c:v>0.2</c:v>
                </c:pt>
                <c:pt idx="18">
                  <c:v>0.25</c:v>
                </c:pt>
                <c:pt idx="19">
                  <c:v>0.25</c:v>
                </c:pt>
                <c:pt idx="20">
                  <c:v>0.15</c:v>
                </c:pt>
                <c:pt idx="21">
                  <c:v>0.15</c:v>
                </c:pt>
                <c:pt idx="22">
                  <c:v>0.25</c:v>
                </c:pt>
                <c:pt idx="23">
                  <c:v>0.2</c:v>
                </c:pt>
                <c:pt idx="24">
                  <c:v>0.05</c:v>
                </c:pt>
                <c:pt idx="25">
                  <c:v>0.05</c:v>
                </c:pt>
                <c:pt idx="26">
                  <c:v>0.1</c:v>
                </c:pt>
                <c:pt idx="27">
                  <c:v>0.2</c:v>
                </c:pt>
                <c:pt idx="28">
                  <c:v>0.2</c:v>
                </c:pt>
                <c:pt idx="29">
                  <c:v>0.2</c:v>
                </c:pt>
                <c:pt idx="30">
                  <c:v>0.2</c:v>
                </c:pt>
                <c:pt idx="31">
                  <c:v>0.15</c:v>
                </c:pt>
                <c:pt idx="32">
                  <c:v>0.05</c:v>
                </c:pt>
                <c:pt idx="33">
                  <c:v>0.1</c:v>
                </c:pt>
                <c:pt idx="34">
                  <c:v>0.15</c:v>
                </c:pt>
                <c:pt idx="35">
                  <c:v>0.2</c:v>
                </c:pt>
                <c:pt idx="36">
                  <c:v>0.15</c:v>
                </c:pt>
                <c:pt idx="37">
                  <c:v>0</c:v>
                </c:pt>
                <c:pt idx="38">
                  <c:v>0</c:v>
                </c:pt>
                <c:pt idx="39">
                  <c:v>0</c:v>
                </c:pt>
                <c:pt idx="40">
                  <c:v>0</c:v>
                </c:pt>
                <c:pt idx="41">
                  <c:v>0</c:v>
                </c:pt>
                <c:pt idx="42">
                  <c:v>0.15</c:v>
                </c:pt>
                <c:pt idx="43">
                  <c:v>0.2</c:v>
                </c:pt>
                <c:pt idx="44">
                  <c:v>0.15</c:v>
                </c:pt>
                <c:pt idx="45">
                  <c:v>0.2</c:v>
                </c:pt>
                <c:pt idx="46">
                  <c:v>0.15</c:v>
                </c:pt>
                <c:pt idx="47">
                  <c:v>0.15</c:v>
                </c:pt>
                <c:pt idx="48">
                  <c:v>0.2</c:v>
                </c:pt>
                <c:pt idx="49">
                  <c:v>0.1</c:v>
                </c:pt>
                <c:pt idx="50">
                  <c:v>0.05</c:v>
                </c:pt>
                <c:pt idx="51">
                  <c:v>0.1</c:v>
                </c:pt>
                <c:pt idx="52">
                  <c:v>0.15</c:v>
                </c:pt>
                <c:pt idx="53">
                  <c:v>0.15</c:v>
                </c:pt>
                <c:pt idx="54">
                  <c:v>0.3</c:v>
                </c:pt>
                <c:pt idx="55">
                  <c:v>0.3</c:v>
                </c:pt>
                <c:pt idx="56">
                  <c:v>0.3</c:v>
                </c:pt>
                <c:pt idx="57">
                  <c:v>0.15</c:v>
                </c:pt>
                <c:pt idx="58">
                  <c:v>0.05</c:v>
                </c:pt>
                <c:pt idx="59">
                  <c:v>0.1</c:v>
                </c:pt>
                <c:pt idx="60">
                  <c:v>0.1</c:v>
                </c:pt>
                <c:pt idx="61">
                  <c:v>0.2</c:v>
                </c:pt>
                <c:pt idx="62">
                  <c:v>0.25</c:v>
                </c:pt>
              </c:numCache>
            </c:numRef>
          </c:xVal>
          <c:yVal>
            <c:numRef>
              <c:f>Sheet1!$B$2:$B$64</c:f>
              <c:numCache>
                <c:formatCode>General</c:formatCode>
                <c:ptCount val="63"/>
                <c:pt idx="0">
                  <c:v>0.27314601566098567</c:v>
                </c:pt>
                <c:pt idx="1">
                  <c:v>0.32185206098249569</c:v>
                </c:pt>
                <c:pt idx="2">
                  <c:v>4.8875855327468229E-2</c:v>
                </c:pt>
                <c:pt idx="3">
                  <c:v>0.35273712077412289</c:v>
                </c:pt>
                <c:pt idx="4">
                  <c:v>0.18371771767183259</c:v>
                </c:pt>
                <c:pt idx="5">
                  <c:v>0.1795941434969999</c:v>
                </c:pt>
                <c:pt idx="6">
                  <c:v>5.5055172517754901E-2</c:v>
                </c:pt>
                <c:pt idx="7">
                  <c:v>3.3745932069133351E-2</c:v>
                </c:pt>
                <c:pt idx="8">
                  <c:v>0.14052008566797869</c:v>
                </c:pt>
                <c:pt idx="9">
                  <c:v>0.44398376852505289</c:v>
                </c:pt>
                <c:pt idx="10">
                  <c:v>0.3253012048192771</c:v>
                </c:pt>
                <c:pt idx="11">
                  <c:v>1.1520750843232139</c:v>
                </c:pt>
                <c:pt idx="12">
                  <c:v>0.35492063492063503</c:v>
                </c:pt>
                <c:pt idx="13">
                  <c:v>0.63374754741661221</c:v>
                </c:pt>
                <c:pt idx="14">
                  <c:v>0.59254579911560323</c:v>
                </c:pt>
                <c:pt idx="15">
                  <c:v>0.27457381211461729</c:v>
                </c:pt>
                <c:pt idx="16">
                  <c:v>0.31026438569206838</c:v>
                </c:pt>
                <c:pt idx="17">
                  <c:v>4.8640915593705293E-2</c:v>
                </c:pt>
                <c:pt idx="18">
                  <c:v>0.3663883089770355</c:v>
                </c:pt>
                <c:pt idx="19">
                  <c:v>0.44154488517745311</c:v>
                </c:pt>
                <c:pt idx="20">
                  <c:v>0.67509986684420775</c:v>
                </c:pt>
                <c:pt idx="21">
                  <c:v>0.2550719054956343</c:v>
                </c:pt>
                <c:pt idx="22">
                  <c:v>0.66268788682581781</c:v>
                </c:pt>
                <c:pt idx="23">
                  <c:v>0.83854848714590946</c:v>
                </c:pt>
                <c:pt idx="24">
                  <c:v>0.55572390572390573</c:v>
                </c:pt>
                <c:pt idx="25">
                  <c:v>0.1123536695058576</c:v>
                </c:pt>
                <c:pt idx="26">
                  <c:v>0.1742412331025987</c:v>
                </c:pt>
                <c:pt idx="27">
                  <c:v>0.1886650111061452</c:v>
                </c:pt>
                <c:pt idx="28">
                  <c:v>0.20088787711547909</c:v>
                </c:pt>
                <c:pt idx="29">
                  <c:v>0.19359136434134461</c:v>
                </c:pt>
                <c:pt idx="30">
                  <c:v>0.3427320722363329</c:v>
                </c:pt>
                <c:pt idx="31">
                  <c:v>0.36691163255147519</c:v>
                </c:pt>
                <c:pt idx="32">
                  <c:v>0.32950482242091761</c:v>
                </c:pt>
                <c:pt idx="33">
                  <c:v>0.41400256755487358</c:v>
                </c:pt>
                <c:pt idx="34">
                  <c:v>0.55035191399637695</c:v>
                </c:pt>
                <c:pt idx="35">
                  <c:v>0.65620350234634317</c:v>
                </c:pt>
                <c:pt idx="36">
                  <c:v>0.39494845917210858</c:v>
                </c:pt>
                <c:pt idx="37">
                  <c:v>0</c:v>
                </c:pt>
                <c:pt idx="38">
                  <c:v>0</c:v>
                </c:pt>
                <c:pt idx="39">
                  <c:v>0</c:v>
                </c:pt>
                <c:pt idx="40">
                  <c:v>0</c:v>
                </c:pt>
                <c:pt idx="41">
                  <c:v>0</c:v>
                </c:pt>
                <c:pt idx="42">
                  <c:v>0.17107433618900661</c:v>
                </c:pt>
                <c:pt idx="43">
                  <c:v>0.36591744782225899</c:v>
                </c:pt>
                <c:pt idx="44">
                  <c:v>0.17790683211986111</c:v>
                </c:pt>
                <c:pt idx="45">
                  <c:v>0.35525963562306778</c:v>
                </c:pt>
                <c:pt idx="46">
                  <c:v>0.29153932514189479</c:v>
                </c:pt>
                <c:pt idx="47">
                  <c:v>0.1838700663297072</c:v>
                </c:pt>
                <c:pt idx="48">
                  <c:v>4.3700516837219809E-2</c:v>
                </c:pt>
                <c:pt idx="49">
                  <c:v>7.2424445838151427E-2</c:v>
                </c:pt>
                <c:pt idx="50">
                  <c:v>0.70112384631895253</c:v>
                </c:pt>
                <c:pt idx="51">
                  <c:v>0.72470242843922517</c:v>
                </c:pt>
                <c:pt idx="52">
                  <c:v>0.51456744423524903</c:v>
                </c:pt>
                <c:pt idx="53">
                  <c:v>8.2687865875512717E-2</c:v>
                </c:pt>
                <c:pt idx="54">
                  <c:v>0.39987455696706631</c:v>
                </c:pt>
                <c:pt idx="55">
                  <c:v>0.45573376495978019</c:v>
                </c:pt>
                <c:pt idx="56">
                  <c:v>0.42321448382614762</c:v>
                </c:pt>
                <c:pt idx="57">
                  <c:v>0.2072825113666989</c:v>
                </c:pt>
                <c:pt idx="58">
                  <c:v>0.242131233334164</c:v>
                </c:pt>
                <c:pt idx="59">
                  <c:v>0.42598297739021462</c:v>
                </c:pt>
                <c:pt idx="60">
                  <c:v>0.21319280532050219</c:v>
                </c:pt>
                <c:pt idx="61">
                  <c:v>0.1632352524709014</c:v>
                </c:pt>
                <c:pt idx="62">
                  <c:v>0.1051367892945049</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max val="0.36000000000000004"/>
          <c:min val="0"/>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1.3824901011878572"/>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64</c:f>
              <c:numCache>
                <c:formatCode>General</c:formatCode>
                <c:ptCount val="63"/>
                <c:pt idx="0">
                  <c:v>19</c:v>
                </c:pt>
                <c:pt idx="1">
                  <c:v>19.5</c:v>
                </c:pt>
                <c:pt idx="2">
                  <c:v>22.5</c:v>
                </c:pt>
                <c:pt idx="3">
                  <c:v>21</c:v>
                </c:pt>
                <c:pt idx="4">
                  <c:v>20</c:v>
                </c:pt>
                <c:pt idx="5">
                  <c:v>19.5</c:v>
                </c:pt>
                <c:pt idx="6">
                  <c:v>20</c:v>
                </c:pt>
                <c:pt idx="7">
                  <c:v>17.5</c:v>
                </c:pt>
                <c:pt idx="8">
                  <c:v>17.5</c:v>
                </c:pt>
                <c:pt idx="9">
                  <c:v>17</c:v>
                </c:pt>
                <c:pt idx="10">
                  <c:v>16</c:v>
                </c:pt>
                <c:pt idx="11">
                  <c:v>20</c:v>
                </c:pt>
                <c:pt idx="12">
                  <c:v>21</c:v>
                </c:pt>
                <c:pt idx="13">
                  <c:v>21.5</c:v>
                </c:pt>
                <c:pt idx="14">
                  <c:v>20.5</c:v>
                </c:pt>
                <c:pt idx="15">
                  <c:v>15</c:v>
                </c:pt>
                <c:pt idx="16">
                  <c:v>21.5</c:v>
                </c:pt>
                <c:pt idx="17">
                  <c:v>21</c:v>
                </c:pt>
                <c:pt idx="18">
                  <c:v>20</c:v>
                </c:pt>
                <c:pt idx="19">
                  <c:v>20</c:v>
                </c:pt>
                <c:pt idx="20">
                  <c:v>21.5</c:v>
                </c:pt>
                <c:pt idx="21">
                  <c:v>17</c:v>
                </c:pt>
                <c:pt idx="22">
                  <c:v>15</c:v>
                </c:pt>
                <c:pt idx="23">
                  <c:v>16.5</c:v>
                </c:pt>
                <c:pt idx="24">
                  <c:v>19.5</c:v>
                </c:pt>
                <c:pt idx="25">
                  <c:v>19</c:v>
                </c:pt>
                <c:pt idx="26">
                  <c:v>18</c:v>
                </c:pt>
                <c:pt idx="27">
                  <c:v>16.5</c:v>
                </c:pt>
                <c:pt idx="28">
                  <c:v>16.5</c:v>
                </c:pt>
                <c:pt idx="29">
                  <c:v>16.5</c:v>
                </c:pt>
                <c:pt idx="30">
                  <c:v>16.5</c:v>
                </c:pt>
                <c:pt idx="31">
                  <c:v>17.5</c:v>
                </c:pt>
                <c:pt idx="32">
                  <c:v>19.5</c:v>
                </c:pt>
                <c:pt idx="33">
                  <c:v>18.5</c:v>
                </c:pt>
                <c:pt idx="34">
                  <c:v>17</c:v>
                </c:pt>
                <c:pt idx="35">
                  <c:v>16</c:v>
                </c:pt>
                <c:pt idx="36">
                  <c:v>17.5</c:v>
                </c:pt>
                <c:pt idx="37">
                  <c:v>20</c:v>
                </c:pt>
                <c:pt idx="38">
                  <c:v>20</c:v>
                </c:pt>
                <c:pt idx="39">
                  <c:v>20</c:v>
                </c:pt>
                <c:pt idx="40">
                  <c:v>20</c:v>
                </c:pt>
                <c:pt idx="41">
                  <c:v>20.5</c:v>
                </c:pt>
                <c:pt idx="42">
                  <c:v>17.5</c:v>
                </c:pt>
                <c:pt idx="43">
                  <c:v>16</c:v>
                </c:pt>
                <c:pt idx="44">
                  <c:v>17.5</c:v>
                </c:pt>
                <c:pt idx="45">
                  <c:v>16.5</c:v>
                </c:pt>
                <c:pt idx="46">
                  <c:v>16.5</c:v>
                </c:pt>
                <c:pt idx="47">
                  <c:v>16.5</c:v>
                </c:pt>
                <c:pt idx="48">
                  <c:v>16.5</c:v>
                </c:pt>
                <c:pt idx="49">
                  <c:v>18.5</c:v>
                </c:pt>
                <c:pt idx="50">
                  <c:v>19.5</c:v>
                </c:pt>
                <c:pt idx="51">
                  <c:v>18</c:v>
                </c:pt>
                <c:pt idx="52">
                  <c:v>17</c:v>
                </c:pt>
                <c:pt idx="53">
                  <c:v>17.5</c:v>
                </c:pt>
                <c:pt idx="54">
                  <c:v>14</c:v>
                </c:pt>
                <c:pt idx="55">
                  <c:v>14</c:v>
                </c:pt>
                <c:pt idx="56">
                  <c:v>14</c:v>
                </c:pt>
                <c:pt idx="57">
                  <c:v>16.5</c:v>
                </c:pt>
                <c:pt idx="58">
                  <c:v>19</c:v>
                </c:pt>
                <c:pt idx="59">
                  <c:v>18.5</c:v>
                </c:pt>
                <c:pt idx="60">
                  <c:v>18</c:v>
                </c:pt>
                <c:pt idx="61">
                  <c:v>16</c:v>
                </c:pt>
                <c:pt idx="62">
                  <c:v>15.5</c:v>
                </c:pt>
              </c:numCache>
            </c:numRef>
          </c:xVal>
          <c:yVal>
            <c:numRef>
              <c:f>Sheet1!$B$2:$B$64</c:f>
              <c:numCache>
                <c:formatCode>General</c:formatCode>
                <c:ptCount val="63"/>
                <c:pt idx="0">
                  <c:v>0.27314601566098567</c:v>
                </c:pt>
                <c:pt idx="1">
                  <c:v>0.32185206098249569</c:v>
                </c:pt>
                <c:pt idx="2">
                  <c:v>4.8875855327468229E-2</c:v>
                </c:pt>
                <c:pt idx="3">
                  <c:v>0.35273712077412289</c:v>
                </c:pt>
                <c:pt idx="4">
                  <c:v>0.18371771767183259</c:v>
                </c:pt>
                <c:pt idx="5">
                  <c:v>0.1795941434969999</c:v>
                </c:pt>
                <c:pt idx="6">
                  <c:v>5.5055172517754901E-2</c:v>
                </c:pt>
                <c:pt idx="7">
                  <c:v>3.3745932069133351E-2</c:v>
                </c:pt>
                <c:pt idx="8">
                  <c:v>0.14052008566797869</c:v>
                </c:pt>
                <c:pt idx="9">
                  <c:v>0.44398376852505289</c:v>
                </c:pt>
                <c:pt idx="10">
                  <c:v>0.3253012048192771</c:v>
                </c:pt>
                <c:pt idx="11">
                  <c:v>1.1520750843232139</c:v>
                </c:pt>
                <c:pt idx="12">
                  <c:v>0.35492063492063503</c:v>
                </c:pt>
                <c:pt idx="13">
                  <c:v>0.63374754741661221</c:v>
                </c:pt>
                <c:pt idx="14">
                  <c:v>0.59254579911560323</c:v>
                </c:pt>
                <c:pt idx="15">
                  <c:v>0.27457381211461729</c:v>
                </c:pt>
                <c:pt idx="16">
                  <c:v>0.31026438569206838</c:v>
                </c:pt>
                <c:pt idx="17">
                  <c:v>4.8640915593705293E-2</c:v>
                </c:pt>
                <c:pt idx="18">
                  <c:v>0.3663883089770355</c:v>
                </c:pt>
                <c:pt idx="19">
                  <c:v>0.44154488517745311</c:v>
                </c:pt>
                <c:pt idx="20">
                  <c:v>0.67509986684420775</c:v>
                </c:pt>
                <c:pt idx="21">
                  <c:v>0.2550719054956343</c:v>
                </c:pt>
                <c:pt idx="22">
                  <c:v>0.66268788682581781</c:v>
                </c:pt>
                <c:pt idx="23">
                  <c:v>0.83854848714590946</c:v>
                </c:pt>
                <c:pt idx="24">
                  <c:v>0.55572390572390573</c:v>
                </c:pt>
                <c:pt idx="25">
                  <c:v>0.1123536695058576</c:v>
                </c:pt>
                <c:pt idx="26">
                  <c:v>0.1742412331025987</c:v>
                </c:pt>
                <c:pt idx="27">
                  <c:v>0.1886650111061452</c:v>
                </c:pt>
                <c:pt idx="28">
                  <c:v>0.20088787711547909</c:v>
                </c:pt>
                <c:pt idx="29">
                  <c:v>0.19359136434134461</c:v>
                </c:pt>
                <c:pt idx="30">
                  <c:v>0.3427320722363329</c:v>
                </c:pt>
                <c:pt idx="31">
                  <c:v>0.36691163255147519</c:v>
                </c:pt>
                <c:pt idx="32">
                  <c:v>0.32950482242091761</c:v>
                </c:pt>
                <c:pt idx="33">
                  <c:v>0.41400256755487358</c:v>
                </c:pt>
                <c:pt idx="34">
                  <c:v>0.55035191399637695</c:v>
                </c:pt>
                <c:pt idx="35">
                  <c:v>0.65620350234634317</c:v>
                </c:pt>
                <c:pt idx="36">
                  <c:v>0.39494845917210858</c:v>
                </c:pt>
                <c:pt idx="37">
                  <c:v>0</c:v>
                </c:pt>
                <c:pt idx="38">
                  <c:v>0</c:v>
                </c:pt>
                <c:pt idx="39">
                  <c:v>0</c:v>
                </c:pt>
                <c:pt idx="40">
                  <c:v>0</c:v>
                </c:pt>
                <c:pt idx="41">
                  <c:v>0</c:v>
                </c:pt>
                <c:pt idx="42">
                  <c:v>0.17107433618900661</c:v>
                </c:pt>
                <c:pt idx="43">
                  <c:v>0.36591744782225899</c:v>
                </c:pt>
                <c:pt idx="44">
                  <c:v>0.17790683211986111</c:v>
                </c:pt>
                <c:pt idx="45">
                  <c:v>0.35525963562306778</c:v>
                </c:pt>
                <c:pt idx="46">
                  <c:v>0.29153932514189479</c:v>
                </c:pt>
                <c:pt idx="47">
                  <c:v>0.1838700663297072</c:v>
                </c:pt>
                <c:pt idx="48">
                  <c:v>4.3700516837219809E-2</c:v>
                </c:pt>
                <c:pt idx="49">
                  <c:v>7.2424445838151427E-2</c:v>
                </c:pt>
                <c:pt idx="50">
                  <c:v>0.70112384631895253</c:v>
                </c:pt>
                <c:pt idx="51">
                  <c:v>0.72470242843922517</c:v>
                </c:pt>
                <c:pt idx="52">
                  <c:v>0.51456744423524903</c:v>
                </c:pt>
                <c:pt idx="53">
                  <c:v>8.2687865875512717E-2</c:v>
                </c:pt>
                <c:pt idx="54">
                  <c:v>0.39987455696706631</c:v>
                </c:pt>
                <c:pt idx="55">
                  <c:v>0.45573376495978019</c:v>
                </c:pt>
                <c:pt idx="56">
                  <c:v>0.42321448382614762</c:v>
                </c:pt>
                <c:pt idx="57">
                  <c:v>0.2072825113666989</c:v>
                </c:pt>
                <c:pt idx="58">
                  <c:v>0.242131233334164</c:v>
                </c:pt>
                <c:pt idx="59">
                  <c:v>0.42598297739021462</c:v>
                </c:pt>
                <c:pt idx="60">
                  <c:v>0.21319280532050219</c:v>
                </c:pt>
                <c:pt idx="61">
                  <c:v>0.1632352524709014</c:v>
                </c:pt>
                <c:pt idx="62">
                  <c:v>0.1051367892945049</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max val="27"/>
          <c:min val="11.200000000000001"/>
        </c:scaling>
        <c:delete val="0"/>
        <c:axPos val="b"/>
        <c:title>
          <c:tx>
            <c:rich>
              <a:bodyPr rot="0" spcFirstLastPara="1" vertOverflow="ellipsis" vert="horz" wrap="square" anchor="ctr" anchorCtr="1"/>
              <a:lstStyle/>
              <a:p>
                <a:pPr>
                  <a:defRPr sz="800">
                    <a:latin typeface="Nexa Bold"/>
                  </a:defRPr>
                </a:pPr>
                <a:r>
                  <a:t>Promo Price/Unit ($)</a:t>
                </a:r>
              </a:p>
            </c:rich>
          </c:tx>
          <c:layout>
            <c:manualLayout>
              <c:xMode val="edge"/>
              <c:yMode val="edge"/>
              <c:x val="0.71314712116753354"/>
              <c:y val="0.90232150191390059"/>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1.3824901011878572"/>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sz="800" b="0" i="0" u="none" strike="noStrike" kern="1200" baseline="0">
                    <a:solidFill>
                      <a:schemeClr val="tx1"/>
                    </a:solidFill>
                    <a:latin typeface="Nexa Bold (Headings)"/>
                    <a:ea typeface="+mn-ea"/>
                    <a:cs typeface="+mn-c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13</c:f>
              <c:numCache>
                <c:formatCode>General</c:formatCode>
                <c:ptCount val="12"/>
                <c:pt idx="0">
                  <c:v>0</c:v>
                </c:pt>
                <c:pt idx="1">
                  <c:v>0</c:v>
                </c:pt>
                <c:pt idx="2">
                  <c:v>0</c:v>
                </c:pt>
                <c:pt idx="3">
                  <c:v>0</c:v>
                </c:pt>
                <c:pt idx="4">
                  <c:v>0</c:v>
                </c:pt>
                <c:pt idx="5">
                  <c:v>0</c:v>
                </c:pt>
                <c:pt idx="6">
                  <c:v>0</c:v>
                </c:pt>
                <c:pt idx="7">
                  <c:v>0</c:v>
                </c:pt>
                <c:pt idx="8">
                  <c:v>0</c:v>
                </c:pt>
                <c:pt idx="9">
                  <c:v>0</c:v>
                </c:pt>
                <c:pt idx="10">
                  <c:v>0</c:v>
                </c:pt>
                <c:pt idx="11">
                  <c:v>0.3</c:v>
                </c:pt>
              </c:numCache>
            </c:numRef>
          </c:xVal>
          <c:yVal>
            <c:numRef>
              <c:f>Sheet1!$B$2:$B$13</c:f>
              <c:numCache>
                <c:formatCode>General</c:formatCode>
                <c:ptCount val="12"/>
                <c:pt idx="0">
                  <c:v>0</c:v>
                </c:pt>
                <c:pt idx="1">
                  <c:v>0</c:v>
                </c:pt>
                <c:pt idx="2">
                  <c:v>0</c:v>
                </c:pt>
                <c:pt idx="3">
                  <c:v>0</c:v>
                </c:pt>
                <c:pt idx="4">
                  <c:v>0</c:v>
                </c:pt>
                <c:pt idx="5">
                  <c:v>0</c:v>
                </c:pt>
                <c:pt idx="6">
                  <c:v>0</c:v>
                </c:pt>
                <c:pt idx="7">
                  <c:v>0</c:v>
                </c:pt>
                <c:pt idx="8">
                  <c:v>0</c:v>
                </c:pt>
                <c:pt idx="9">
                  <c:v>0</c:v>
                </c:pt>
                <c:pt idx="10">
                  <c:v>0</c:v>
                </c:pt>
                <c:pt idx="11">
                  <c:v>4.1945744624650008</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max val="0.36000000000000004"/>
          <c:min val="0"/>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5.0334893549580011"/>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13</c:f>
              <c:numCache>
                <c:formatCode>General</c:formatCode>
                <c:ptCount val="12"/>
                <c:pt idx="0">
                  <c:v>10</c:v>
                </c:pt>
                <c:pt idx="1">
                  <c:v>10</c:v>
                </c:pt>
                <c:pt idx="2">
                  <c:v>10</c:v>
                </c:pt>
                <c:pt idx="3">
                  <c:v>10</c:v>
                </c:pt>
                <c:pt idx="4">
                  <c:v>10</c:v>
                </c:pt>
                <c:pt idx="5">
                  <c:v>10</c:v>
                </c:pt>
                <c:pt idx="6">
                  <c:v>10</c:v>
                </c:pt>
                <c:pt idx="7">
                  <c:v>10</c:v>
                </c:pt>
                <c:pt idx="8">
                  <c:v>10</c:v>
                </c:pt>
                <c:pt idx="9">
                  <c:v>10</c:v>
                </c:pt>
                <c:pt idx="10">
                  <c:v>10</c:v>
                </c:pt>
                <c:pt idx="11">
                  <c:v>7</c:v>
                </c:pt>
              </c:numCache>
            </c:numRef>
          </c:xVal>
          <c:yVal>
            <c:numRef>
              <c:f>Sheet1!$B$2:$B$13</c:f>
              <c:numCache>
                <c:formatCode>General</c:formatCode>
                <c:ptCount val="12"/>
                <c:pt idx="0">
                  <c:v>0</c:v>
                </c:pt>
                <c:pt idx="1">
                  <c:v>0</c:v>
                </c:pt>
                <c:pt idx="2">
                  <c:v>0</c:v>
                </c:pt>
                <c:pt idx="3">
                  <c:v>0</c:v>
                </c:pt>
                <c:pt idx="4">
                  <c:v>0</c:v>
                </c:pt>
                <c:pt idx="5">
                  <c:v>0</c:v>
                </c:pt>
                <c:pt idx="6">
                  <c:v>0</c:v>
                </c:pt>
                <c:pt idx="7">
                  <c:v>0</c:v>
                </c:pt>
                <c:pt idx="8">
                  <c:v>0</c:v>
                </c:pt>
                <c:pt idx="9">
                  <c:v>0</c:v>
                </c:pt>
                <c:pt idx="10">
                  <c:v>0</c:v>
                </c:pt>
                <c:pt idx="11">
                  <c:v>4.1945744624650008</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max val="12"/>
          <c:min val="5.6000000000000005"/>
        </c:scaling>
        <c:delete val="0"/>
        <c:axPos val="b"/>
        <c:title>
          <c:tx>
            <c:rich>
              <a:bodyPr rot="0" spcFirstLastPara="1" vertOverflow="ellipsis" vert="horz" wrap="square" anchor="ctr" anchorCtr="1"/>
              <a:lstStyle/>
              <a:p>
                <a:pPr>
                  <a:defRPr sz="800">
                    <a:latin typeface="Nexa Bold"/>
                  </a:defRPr>
                </a:pPr>
                <a:r>
                  <a:t>Promo Price/Unit ($)</a:t>
                </a:r>
              </a:p>
            </c:rich>
          </c:tx>
          <c:layout>
            <c:manualLayout>
              <c:xMode val="edge"/>
              <c:yMode val="edge"/>
              <c:x val="0.71314712116753354"/>
              <c:y val="0.90232150191390059"/>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5.0334893549580011"/>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sz="800" b="0" i="0" u="none" strike="noStrike" kern="1200" baseline="0">
                    <a:solidFill>
                      <a:schemeClr val="tx1"/>
                    </a:solidFill>
                    <a:latin typeface="Nexa Bold (Headings)"/>
                    <a:ea typeface="+mn-ea"/>
                    <a:cs typeface="+mn-c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16</c:f>
              <c:numCache>
                <c:formatCode>General</c:formatCode>
                <c:ptCount val="15"/>
                <c:pt idx="0">
                  <c:v>0.1</c:v>
                </c:pt>
                <c:pt idx="1">
                  <c:v>0.15</c:v>
                </c:pt>
                <c:pt idx="2">
                  <c:v>0.1</c:v>
                </c:pt>
                <c:pt idx="3">
                  <c:v>0</c:v>
                </c:pt>
                <c:pt idx="4">
                  <c:v>0</c:v>
                </c:pt>
                <c:pt idx="5">
                  <c:v>0</c:v>
                </c:pt>
                <c:pt idx="6">
                  <c:v>0</c:v>
                </c:pt>
                <c:pt idx="7">
                  <c:v>0</c:v>
                </c:pt>
                <c:pt idx="8">
                  <c:v>0</c:v>
                </c:pt>
                <c:pt idx="9">
                  <c:v>0</c:v>
                </c:pt>
                <c:pt idx="10">
                  <c:v>0</c:v>
                </c:pt>
                <c:pt idx="11">
                  <c:v>0</c:v>
                </c:pt>
                <c:pt idx="12">
                  <c:v>0</c:v>
                </c:pt>
                <c:pt idx="13">
                  <c:v>0</c:v>
                </c:pt>
                <c:pt idx="14">
                  <c:v>0.3</c:v>
                </c:pt>
              </c:numCache>
            </c:numRef>
          </c:xVal>
          <c:yVal>
            <c:numRef>
              <c:f>Sheet1!$B$2:$B$16</c:f>
              <c:numCache>
                <c:formatCode>General</c:formatCode>
                <c:ptCount val="15"/>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7.8143904852030284</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max val="0.36000000000000004"/>
          <c:min val="0"/>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9.3772685822436337"/>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spPr>
              <a:solidFill>
                <a:srgbClr val="FF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c:v>
                </c:pt>
                <c:pt idx="1">
                  <c:v>Schick</c:v>
                </c:pt>
                <c:pt idx="2">
                  <c:v>Harry's</c:v>
                </c:pt>
              </c:strCache>
            </c:strRef>
          </c:cat>
          <c:val>
            <c:numRef>
              <c:f>Sheet1!$B$2:$B$4</c:f>
              <c:numCache>
                <c:formatCode>General</c:formatCode>
                <c:ptCount val="3"/>
                <c:pt idx="0">
                  <c:v>7.2813806754910226E-2</c:v>
                </c:pt>
                <c:pt idx="1">
                  <c:v>-4.9221830676291156E-2</c:v>
                </c:pt>
                <c:pt idx="2">
                  <c:v>-4.22224791875216</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2-B1F3-4B1C-B6BD-D7555A955EE3}"/>
              </c:ext>
            </c:extLst>
          </c:dPt>
          <c:dPt>
            <c:idx val="1"/>
            <c:invertIfNegative val="0"/>
            <c:bubble3D val="0"/>
            <c:spPr>
              <a:solidFill>
                <a:srgbClr val="E1BFBF"/>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c:f>
              <c:strCache>
                <c:ptCount val="1"/>
                <c:pt idx="0">
                  <c:v>Gillette</c:v>
                </c:pt>
              </c:strCache>
            </c:strRef>
          </c:cat>
          <c:val>
            <c:numRef>
              <c:f>Sheet1!$B$2:$B$2</c:f>
              <c:numCache>
                <c:formatCode>General</c:formatCode>
                <c:ptCount val="1"/>
                <c:pt idx="0">
                  <c:v>0.16257498570199691</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16</c:f>
              <c:numCache>
                <c:formatCode>General</c:formatCode>
                <c:ptCount val="15"/>
                <c:pt idx="0">
                  <c:v>8.5</c:v>
                </c:pt>
                <c:pt idx="1">
                  <c:v>8.5</c:v>
                </c:pt>
                <c:pt idx="2">
                  <c:v>9</c:v>
                </c:pt>
                <c:pt idx="3">
                  <c:v>10</c:v>
                </c:pt>
                <c:pt idx="4">
                  <c:v>10</c:v>
                </c:pt>
                <c:pt idx="5">
                  <c:v>10</c:v>
                </c:pt>
                <c:pt idx="6">
                  <c:v>10</c:v>
                </c:pt>
                <c:pt idx="7">
                  <c:v>10</c:v>
                </c:pt>
                <c:pt idx="8">
                  <c:v>10</c:v>
                </c:pt>
                <c:pt idx="9">
                  <c:v>10</c:v>
                </c:pt>
                <c:pt idx="10">
                  <c:v>10</c:v>
                </c:pt>
                <c:pt idx="11">
                  <c:v>10</c:v>
                </c:pt>
                <c:pt idx="12">
                  <c:v>10</c:v>
                </c:pt>
                <c:pt idx="13">
                  <c:v>10</c:v>
                </c:pt>
                <c:pt idx="14">
                  <c:v>7</c:v>
                </c:pt>
              </c:numCache>
            </c:numRef>
          </c:xVal>
          <c:yVal>
            <c:numRef>
              <c:f>Sheet1!$B$2:$B$16</c:f>
              <c:numCache>
                <c:formatCode>General</c:formatCode>
                <c:ptCount val="15"/>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7.8143904852030284</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max val="12"/>
          <c:min val="5.6000000000000005"/>
        </c:scaling>
        <c:delete val="0"/>
        <c:axPos val="b"/>
        <c:title>
          <c:tx>
            <c:rich>
              <a:bodyPr rot="0" spcFirstLastPara="1" vertOverflow="ellipsis" vert="horz" wrap="square" anchor="ctr" anchorCtr="1"/>
              <a:lstStyle/>
              <a:p>
                <a:pPr>
                  <a:defRPr sz="800">
                    <a:latin typeface="Nexa Bold"/>
                  </a:defRPr>
                </a:pPr>
                <a:r>
                  <a:t>Promo Price/Unit ($)</a:t>
                </a:r>
              </a:p>
            </c:rich>
          </c:tx>
          <c:layout>
            <c:manualLayout>
              <c:xMode val="edge"/>
              <c:yMode val="edge"/>
              <c:x val="0.71314712116753354"/>
              <c:y val="0.90232150191390059"/>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9.3772685822436337"/>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sz="800" b="0" i="0" u="none" strike="noStrike" kern="1200" baseline="0">
                    <a:solidFill>
                      <a:schemeClr val="tx1"/>
                    </a:solidFill>
                    <a:latin typeface="Nexa Bold (Headings)"/>
                    <a:ea typeface="+mn-ea"/>
                    <a:cs typeface="+mn-c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33</c:f>
              <c:numCache>
                <c:formatCode>General</c:formatCode>
                <c:ptCount val="32"/>
                <c:pt idx="0">
                  <c:v>0.1</c:v>
                </c:pt>
                <c:pt idx="1">
                  <c:v>0.1</c:v>
                </c:pt>
                <c:pt idx="2">
                  <c:v>0.1</c:v>
                </c:pt>
                <c:pt idx="3">
                  <c:v>0.1</c:v>
                </c:pt>
                <c:pt idx="4">
                  <c:v>0.1</c:v>
                </c:pt>
                <c:pt idx="5">
                  <c:v>0.05</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05</c:v>
                </c:pt>
                <c:pt idx="27">
                  <c:v>0.1</c:v>
                </c:pt>
                <c:pt idx="28">
                  <c:v>0</c:v>
                </c:pt>
                <c:pt idx="29">
                  <c:v>0</c:v>
                </c:pt>
                <c:pt idx="30">
                  <c:v>0.35</c:v>
                </c:pt>
                <c:pt idx="31">
                  <c:v>0.4</c:v>
                </c:pt>
              </c:numCache>
            </c:numRef>
          </c:xVal>
          <c:yVal>
            <c:numRef>
              <c:f>Sheet1!$B$2:$B$33</c:f>
              <c:numCache>
                <c:formatCode>General</c:formatCode>
                <c:ptCount val="32"/>
                <c:pt idx="0">
                  <c:v>0</c:v>
                </c:pt>
                <c:pt idx="1">
                  <c:v>4.4286341356353787E-2</c:v>
                </c:pt>
                <c:pt idx="2">
                  <c:v>9.5030221921740862E-2</c:v>
                </c:pt>
                <c:pt idx="3">
                  <c:v>0.15755358841173461</c:v>
                </c:pt>
                <c:pt idx="4">
                  <c:v>2.6271937311515919E-3</c:v>
                </c:pt>
                <c:pt idx="5">
                  <c:v>1.6573845058020519E-2</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1.268249520719658E-2</c:v>
                </c:pt>
                <c:pt idx="27">
                  <c:v>1.9414048711613129E-2</c:v>
                </c:pt>
                <c:pt idx="28">
                  <c:v>0</c:v>
                </c:pt>
                <c:pt idx="29">
                  <c:v>0</c:v>
                </c:pt>
                <c:pt idx="30">
                  <c:v>8.6142322097378279E-2</c:v>
                </c:pt>
                <c:pt idx="31">
                  <c:v>0.15412395153774461</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max val="0.48"/>
          <c:min val="0"/>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0.18906430609408151"/>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33</c:f>
              <c:numCache>
                <c:formatCode>General</c:formatCode>
                <c:ptCount val="32"/>
                <c:pt idx="0">
                  <c:v>24.5</c:v>
                </c:pt>
                <c:pt idx="1">
                  <c:v>24</c:v>
                </c:pt>
                <c:pt idx="2">
                  <c:v>24.5</c:v>
                </c:pt>
                <c:pt idx="3">
                  <c:v>24</c:v>
                </c:pt>
                <c:pt idx="4">
                  <c:v>24</c:v>
                </c:pt>
                <c:pt idx="5">
                  <c:v>24</c:v>
                </c:pt>
                <c:pt idx="6">
                  <c:v>25</c:v>
                </c:pt>
                <c:pt idx="7">
                  <c:v>15</c:v>
                </c:pt>
                <c:pt idx="8">
                  <c:v>15</c:v>
                </c:pt>
                <c:pt idx="9">
                  <c:v>15</c:v>
                </c:pt>
                <c:pt idx="10">
                  <c:v>15</c:v>
                </c:pt>
                <c:pt idx="11">
                  <c:v>15</c:v>
                </c:pt>
                <c:pt idx="12">
                  <c:v>15</c:v>
                </c:pt>
                <c:pt idx="13">
                  <c:v>15</c:v>
                </c:pt>
                <c:pt idx="14">
                  <c:v>15</c:v>
                </c:pt>
                <c:pt idx="15">
                  <c:v>15</c:v>
                </c:pt>
                <c:pt idx="16">
                  <c:v>15</c:v>
                </c:pt>
                <c:pt idx="17">
                  <c:v>15</c:v>
                </c:pt>
                <c:pt idx="18">
                  <c:v>15</c:v>
                </c:pt>
                <c:pt idx="19">
                  <c:v>15</c:v>
                </c:pt>
                <c:pt idx="20">
                  <c:v>15</c:v>
                </c:pt>
                <c:pt idx="21">
                  <c:v>15</c:v>
                </c:pt>
                <c:pt idx="22">
                  <c:v>15</c:v>
                </c:pt>
                <c:pt idx="23">
                  <c:v>15</c:v>
                </c:pt>
                <c:pt idx="24">
                  <c:v>15</c:v>
                </c:pt>
                <c:pt idx="25">
                  <c:v>15</c:v>
                </c:pt>
                <c:pt idx="26">
                  <c:v>14</c:v>
                </c:pt>
                <c:pt idx="27">
                  <c:v>13.5</c:v>
                </c:pt>
                <c:pt idx="28">
                  <c:v>14</c:v>
                </c:pt>
                <c:pt idx="29">
                  <c:v>15</c:v>
                </c:pt>
                <c:pt idx="30">
                  <c:v>6.5</c:v>
                </c:pt>
                <c:pt idx="31">
                  <c:v>6</c:v>
                </c:pt>
              </c:numCache>
            </c:numRef>
          </c:xVal>
          <c:yVal>
            <c:numRef>
              <c:f>Sheet1!$B$2:$B$33</c:f>
              <c:numCache>
                <c:formatCode>General</c:formatCode>
                <c:ptCount val="32"/>
                <c:pt idx="0">
                  <c:v>0</c:v>
                </c:pt>
                <c:pt idx="1">
                  <c:v>4.4286341356353787E-2</c:v>
                </c:pt>
                <c:pt idx="2">
                  <c:v>9.5030221921740862E-2</c:v>
                </c:pt>
                <c:pt idx="3">
                  <c:v>0.15755358841173461</c:v>
                </c:pt>
                <c:pt idx="4">
                  <c:v>2.6271937311515919E-3</c:v>
                </c:pt>
                <c:pt idx="5">
                  <c:v>1.6573845058020519E-2</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1.268249520719658E-2</c:v>
                </c:pt>
                <c:pt idx="27">
                  <c:v>1.9414048711613129E-2</c:v>
                </c:pt>
                <c:pt idx="28">
                  <c:v>0</c:v>
                </c:pt>
                <c:pt idx="29">
                  <c:v>0</c:v>
                </c:pt>
                <c:pt idx="30">
                  <c:v>8.6142322097378279E-2</c:v>
                </c:pt>
                <c:pt idx="31">
                  <c:v>0.15412395153774461</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max val="30"/>
          <c:min val="4.8000000000000007"/>
        </c:scaling>
        <c:delete val="0"/>
        <c:axPos val="b"/>
        <c:title>
          <c:tx>
            <c:rich>
              <a:bodyPr rot="0" spcFirstLastPara="1" vertOverflow="ellipsis" vert="horz" wrap="square" anchor="ctr" anchorCtr="1"/>
              <a:lstStyle/>
              <a:p>
                <a:pPr>
                  <a:defRPr sz="800">
                    <a:latin typeface="Nexa Bold"/>
                  </a:defRPr>
                </a:pPr>
                <a:r>
                  <a:t>Promo Price/Unit ($)</a:t>
                </a:r>
              </a:p>
            </c:rich>
          </c:tx>
          <c:layout>
            <c:manualLayout>
              <c:xMode val="edge"/>
              <c:yMode val="edge"/>
              <c:x val="0.71314712116753354"/>
              <c:y val="0.90232150191390059"/>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0.18906430609408151"/>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sz="800" b="0" i="0" u="none" strike="noStrike" kern="1200" baseline="0">
                    <a:solidFill>
                      <a:schemeClr val="tx1"/>
                    </a:solidFill>
                    <a:latin typeface="Nexa Bold (Headings)"/>
                    <a:ea typeface="+mn-ea"/>
                    <a:cs typeface="+mn-c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11</c:f>
              <c:numCache>
                <c:formatCode>General</c:formatCode>
                <c:ptCount val="10"/>
                <c:pt idx="0">
                  <c:v>0.05</c:v>
                </c:pt>
                <c:pt idx="1">
                  <c:v>0.1</c:v>
                </c:pt>
                <c:pt idx="2">
                  <c:v>0.1</c:v>
                </c:pt>
                <c:pt idx="3">
                  <c:v>0.1</c:v>
                </c:pt>
                <c:pt idx="4">
                  <c:v>0.1</c:v>
                </c:pt>
                <c:pt idx="5">
                  <c:v>0.1</c:v>
                </c:pt>
                <c:pt idx="6">
                  <c:v>0.1</c:v>
                </c:pt>
                <c:pt idx="7">
                  <c:v>0.1</c:v>
                </c:pt>
                <c:pt idx="8">
                  <c:v>0.1</c:v>
                </c:pt>
                <c:pt idx="9">
                  <c:v>0.1</c:v>
                </c:pt>
              </c:numCache>
            </c:numRef>
          </c:xVal>
          <c:yVal>
            <c:numRef>
              <c:f>Sheet1!$B$2:$B$11</c:f>
              <c:numCache>
                <c:formatCode>General</c:formatCode>
                <c:ptCount val="10"/>
                <c:pt idx="0">
                  <c:v>2.6042073577058299E-2</c:v>
                </c:pt>
                <c:pt idx="1">
                  <c:v>0.13263436918561239</c:v>
                </c:pt>
                <c:pt idx="2">
                  <c:v>0.13587093257650229</c:v>
                </c:pt>
                <c:pt idx="3">
                  <c:v>0.1014771618985696</c:v>
                </c:pt>
                <c:pt idx="4">
                  <c:v>0.22680211279878809</c:v>
                </c:pt>
                <c:pt idx="5">
                  <c:v>0.18786299617503269</c:v>
                </c:pt>
                <c:pt idx="6">
                  <c:v>0.13604560749668199</c:v>
                </c:pt>
                <c:pt idx="7">
                  <c:v>0.20910067712132019</c:v>
                </c:pt>
                <c:pt idx="8">
                  <c:v>0.16867160794838021</c:v>
                </c:pt>
                <c:pt idx="9">
                  <c:v>9.6960278752240732E-3</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max val="0.12"/>
          <c:min val="4.0000000000000008E-2"/>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0.27216253535854568"/>
          <c:min val="7.7568223001792591E-3"/>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11</c:f>
              <c:numCache>
                <c:formatCode>General</c:formatCode>
                <c:ptCount val="10"/>
                <c:pt idx="0">
                  <c:v>1</c:v>
                </c:pt>
                <c:pt idx="1">
                  <c:v>1</c:v>
                </c:pt>
                <c:pt idx="2">
                  <c:v>1</c:v>
                </c:pt>
                <c:pt idx="3">
                  <c:v>1</c:v>
                </c:pt>
                <c:pt idx="4">
                  <c:v>1</c:v>
                </c:pt>
                <c:pt idx="5">
                  <c:v>1</c:v>
                </c:pt>
                <c:pt idx="6">
                  <c:v>1</c:v>
                </c:pt>
                <c:pt idx="7">
                  <c:v>1</c:v>
                </c:pt>
                <c:pt idx="8">
                  <c:v>1</c:v>
                </c:pt>
                <c:pt idx="9">
                  <c:v>1</c:v>
                </c:pt>
              </c:numCache>
            </c:numRef>
          </c:xVal>
          <c:yVal>
            <c:numRef>
              <c:f>Sheet1!$B$2:$B$11</c:f>
              <c:numCache>
                <c:formatCode>General</c:formatCode>
                <c:ptCount val="10"/>
                <c:pt idx="0">
                  <c:v>2.6042073577058299E-2</c:v>
                </c:pt>
                <c:pt idx="1">
                  <c:v>0.13263436918561239</c:v>
                </c:pt>
                <c:pt idx="2">
                  <c:v>0.13587093257650229</c:v>
                </c:pt>
                <c:pt idx="3">
                  <c:v>0.1014771618985696</c:v>
                </c:pt>
                <c:pt idx="4">
                  <c:v>0.22680211279878809</c:v>
                </c:pt>
                <c:pt idx="5">
                  <c:v>0.18786299617503269</c:v>
                </c:pt>
                <c:pt idx="6">
                  <c:v>0.13604560749668199</c:v>
                </c:pt>
                <c:pt idx="7">
                  <c:v>0.20910067712132019</c:v>
                </c:pt>
                <c:pt idx="8">
                  <c:v>0.16867160794838021</c:v>
                </c:pt>
                <c:pt idx="9">
                  <c:v>9.6960278752240732E-3</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max val="1.2"/>
          <c:min val="0.8"/>
        </c:scaling>
        <c:delete val="0"/>
        <c:axPos val="b"/>
        <c:title>
          <c:tx>
            <c:rich>
              <a:bodyPr rot="0" spcFirstLastPara="1" vertOverflow="ellipsis" vert="horz" wrap="square" anchor="ctr" anchorCtr="1"/>
              <a:lstStyle/>
              <a:p>
                <a:pPr>
                  <a:defRPr sz="800">
                    <a:latin typeface="Nexa Bold"/>
                  </a:defRPr>
                </a:pPr>
                <a:r>
                  <a:t>Promo Price/Unit ($)</a:t>
                </a:r>
              </a:p>
            </c:rich>
          </c:tx>
          <c:layout>
            <c:manualLayout>
              <c:xMode val="edge"/>
              <c:yMode val="edge"/>
              <c:x val="0.71314712116753354"/>
              <c:y val="0.90232150191390059"/>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0.27216253535854568"/>
          <c:min val="7.7568223001792591E-3"/>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sz="800" b="0" i="0" u="none" strike="noStrike" kern="1200" baseline="0">
                    <a:solidFill>
                      <a:schemeClr val="tx1"/>
                    </a:solidFill>
                    <a:latin typeface="Nexa Bold (Headings)"/>
                    <a:ea typeface="+mn-ea"/>
                    <a:cs typeface="+mn-c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2</c:f>
              <c:numCache>
                <c:formatCode>General</c:formatCode>
                <c:ptCount val="1"/>
                <c:pt idx="0">
                  <c:v>0.05</c:v>
                </c:pt>
              </c:numCache>
            </c:numRef>
          </c:xVal>
          <c:yVal>
            <c:numRef>
              <c:f>Sheet1!$B$2:$B$2</c:f>
              <c:numCache>
                <c:formatCode>General</c:formatCode>
                <c:ptCount val="1"/>
                <c:pt idx="0">
                  <c:v>0</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max val="0.06"/>
          <c:min val="4.0000000000000008E-2"/>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0"/>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2</c:f>
              <c:numCache>
                <c:formatCode>General</c:formatCode>
                <c:ptCount val="1"/>
                <c:pt idx="0">
                  <c:v>8</c:v>
                </c:pt>
              </c:numCache>
            </c:numRef>
          </c:xVal>
          <c:yVal>
            <c:numRef>
              <c:f>Sheet1!$B$2:$B$2</c:f>
              <c:numCache>
                <c:formatCode>General</c:formatCode>
                <c:ptCount val="1"/>
                <c:pt idx="0">
                  <c:v>0</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max val="9.6"/>
          <c:min val="6.4"/>
        </c:scaling>
        <c:delete val="0"/>
        <c:axPos val="b"/>
        <c:title>
          <c:tx>
            <c:rich>
              <a:bodyPr rot="0" spcFirstLastPara="1" vertOverflow="ellipsis" vert="horz" wrap="square" anchor="ctr" anchorCtr="1"/>
              <a:lstStyle/>
              <a:p>
                <a:pPr>
                  <a:defRPr sz="800">
                    <a:latin typeface="Nexa Bold"/>
                  </a:defRPr>
                </a:pPr>
                <a:r>
                  <a:t>Promo Price/Unit ($)</a:t>
                </a:r>
              </a:p>
            </c:rich>
          </c:tx>
          <c:layout>
            <c:manualLayout>
              <c:xMode val="edge"/>
              <c:yMode val="edge"/>
              <c:x val="0.71314712116753354"/>
              <c:y val="0.90232150191390059"/>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0"/>
          <c:min val="0"/>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sz="800" b="0" i="0" u="none" strike="noStrike" kern="1200" baseline="0">
                    <a:solidFill>
                      <a:schemeClr val="tx1"/>
                    </a:solidFill>
                    <a:latin typeface="Nexa Bold (Headings)"/>
                    <a:ea typeface="+mn-ea"/>
                    <a:cs typeface="+mn-c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4</c:f>
              <c:numCache>
                <c:formatCode>General</c:formatCode>
                <c:ptCount val="3"/>
                <c:pt idx="0">
                  <c:v>0.2</c:v>
                </c:pt>
                <c:pt idx="1">
                  <c:v>0.25</c:v>
                </c:pt>
                <c:pt idx="2">
                  <c:v>0.3</c:v>
                </c:pt>
              </c:numCache>
            </c:numRef>
          </c:xVal>
          <c:yVal>
            <c:numRef>
              <c:f>Sheet1!$B$2:$B$4</c:f>
              <c:numCache>
                <c:formatCode>General</c:formatCode>
                <c:ptCount val="3"/>
                <c:pt idx="0">
                  <c:v>0.15648930688285059</c:v>
                </c:pt>
                <c:pt idx="1">
                  <c:v>0.27286427004034669</c:v>
                </c:pt>
                <c:pt idx="2">
                  <c:v>0.17408391397041401</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max val="0.36000000000000004"/>
          <c:min val="0.16000000000000003"/>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0.32743712404841602"/>
          <c:min val="0.1251914455062805"/>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4</c:f>
              <c:numCache>
                <c:formatCode>General</c:formatCode>
                <c:ptCount val="3"/>
                <c:pt idx="0">
                  <c:v>16</c:v>
                </c:pt>
                <c:pt idx="1">
                  <c:v>11.5</c:v>
                </c:pt>
                <c:pt idx="2">
                  <c:v>11</c:v>
                </c:pt>
              </c:numCache>
            </c:numRef>
          </c:xVal>
          <c:yVal>
            <c:numRef>
              <c:f>Sheet1!$B$2:$B$4</c:f>
              <c:numCache>
                <c:formatCode>General</c:formatCode>
                <c:ptCount val="3"/>
                <c:pt idx="0">
                  <c:v>0.15648930688285059</c:v>
                </c:pt>
                <c:pt idx="1">
                  <c:v>0.27286427004034669</c:v>
                </c:pt>
                <c:pt idx="2">
                  <c:v>0.17408391397041401</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max val="19.2"/>
          <c:min val="8.8000000000000007"/>
        </c:scaling>
        <c:delete val="0"/>
        <c:axPos val="b"/>
        <c:title>
          <c:tx>
            <c:rich>
              <a:bodyPr rot="0" spcFirstLastPara="1" vertOverflow="ellipsis" vert="horz" wrap="square" anchor="ctr" anchorCtr="1"/>
              <a:lstStyle/>
              <a:p>
                <a:pPr>
                  <a:defRPr sz="800">
                    <a:latin typeface="Nexa Bold"/>
                  </a:defRPr>
                </a:pPr>
                <a:r>
                  <a:t>Promo Price/Unit ($)</a:t>
                </a:r>
              </a:p>
            </c:rich>
          </c:tx>
          <c:layout>
            <c:manualLayout>
              <c:xMode val="edge"/>
              <c:yMode val="edge"/>
              <c:x val="0.71314712116753354"/>
              <c:y val="0.90232150191390059"/>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0.32743712404841602"/>
          <c:min val="0.1251914455062805"/>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sz="800" b="0" i="0" u="none" strike="noStrike" kern="1200" baseline="0">
                    <a:solidFill>
                      <a:schemeClr val="tx1"/>
                    </a:solidFill>
                    <a:latin typeface="Nexa Bold (Headings)"/>
                    <a:ea typeface="+mn-ea"/>
                    <a:cs typeface="+mn-c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66017885023071499"/>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11"/>
              <c:tx>
                <c:rich>
                  <a:bodyPr/>
                  <a:lstStyle/>
                  <a:p>
                    <a:r>
                      <a:rPr sz="800"/>
                      <a:t>117%</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815A-4847-8714-E8A9BF830579}"/>
                </c:ext>
              </c:extLst>
            </c:dLbl>
            <c:dLbl>
              <c:idx val="12"/>
              <c:tx>
                <c:rich>
                  <a:bodyPr/>
                  <a:lstStyle/>
                  <a:p>
                    <a:r>
                      <a:rPr sz="800"/>
                      <a:t>147%</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815A-4847-8714-E8A9BF830579}"/>
                </c:ext>
              </c:extLst>
            </c:dLbl>
            <c:dLbl>
              <c:idx val="24"/>
              <c:tx>
                <c:rich>
                  <a:bodyPr/>
                  <a:lstStyle/>
                  <a:p>
                    <a:r>
                      <a:rPr sz="800"/>
                      <a:t>115%</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815A-4847-8714-E8A9BF83057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8</c:f>
              <c:strCache>
                <c:ptCount val="27"/>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strCache>
            </c:strRef>
          </c:cat>
          <c:val>
            <c:numRef>
              <c:f>Sheet1!$B$2:$B$28</c:f>
              <c:numCache>
                <c:formatCode>General</c:formatCode>
                <c:ptCount val="27"/>
                <c:pt idx="0">
                  <c:v>89</c:v>
                </c:pt>
                <c:pt idx="1">
                  <c:v>82</c:v>
                </c:pt>
                <c:pt idx="2">
                  <c:v>102</c:v>
                </c:pt>
                <c:pt idx="3">
                  <c:v>98</c:v>
                </c:pt>
                <c:pt idx="4">
                  <c:v>95</c:v>
                </c:pt>
                <c:pt idx="5">
                  <c:v>114</c:v>
                </c:pt>
                <c:pt idx="6">
                  <c:v>97</c:v>
                </c:pt>
                <c:pt idx="7">
                  <c:v>99</c:v>
                </c:pt>
                <c:pt idx="8">
                  <c:v>94</c:v>
                </c:pt>
                <c:pt idx="9">
                  <c:v>101</c:v>
                </c:pt>
                <c:pt idx="10">
                  <c:v>109</c:v>
                </c:pt>
                <c:pt idx="11">
                  <c:v>117</c:v>
                </c:pt>
                <c:pt idx="12">
                  <c:v>147</c:v>
                </c:pt>
                <c:pt idx="13">
                  <c:v>105</c:v>
                </c:pt>
                <c:pt idx="14">
                  <c:v>121</c:v>
                </c:pt>
                <c:pt idx="15">
                  <c:v>112</c:v>
                </c:pt>
                <c:pt idx="16">
                  <c:v>88</c:v>
                </c:pt>
                <c:pt idx="17">
                  <c:v>95</c:v>
                </c:pt>
                <c:pt idx="18">
                  <c:v>83</c:v>
                </c:pt>
                <c:pt idx="19">
                  <c:v>86</c:v>
                </c:pt>
                <c:pt idx="20">
                  <c:v>76</c:v>
                </c:pt>
                <c:pt idx="21">
                  <c:v>91</c:v>
                </c:pt>
                <c:pt idx="22">
                  <c:v>98</c:v>
                </c:pt>
                <c:pt idx="23">
                  <c:v>92</c:v>
                </c:pt>
                <c:pt idx="24">
                  <c:v>115</c:v>
                </c:pt>
                <c:pt idx="25">
                  <c:v>80</c:v>
                </c:pt>
                <c:pt idx="26">
                  <c:v>104</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
        <c:auto val="0"/>
        <c:lblAlgn val="ctr"/>
        <c:lblOffset val="100"/>
        <c:noMultiLvlLbl val="0"/>
      </c:catAx>
      <c:valAx>
        <c:axId val="1203216752"/>
        <c:scaling>
          <c:orientation val="minMax"/>
          <c:max val="200"/>
          <c:min val="0"/>
        </c:scaling>
        <c:delete val="0"/>
        <c:axPos val="l"/>
        <c:numFmt formatCode="General"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3-3C16-4125-B97A-D0EBA9D0B1CF}"/>
              </c:ext>
            </c:extLst>
          </c:dPt>
          <c:dPt>
            <c:idx val="1"/>
            <c:invertIfNegative val="0"/>
            <c:bubble3D val="0"/>
            <c:spPr>
              <a:solidFill>
                <a:srgbClr val="FFBFBF"/>
              </a:solidFill>
            </c:spPr>
            <c:extLst>
              <c:ext xmlns:c16="http://schemas.microsoft.com/office/drawing/2014/chart" uri="{C3380CC4-5D6E-409C-BE32-E72D297353CC}">
                <c16:uniqueId val="{00000001-615A-458F-B49B-C3992C8CBC6B}"/>
              </c:ext>
            </c:extLst>
          </c:dPt>
          <c:dPt>
            <c:idx val="2"/>
            <c:invertIfNegative val="0"/>
            <c:bubble3D val="0"/>
            <c:extLst>
              <c:ext xmlns:c16="http://schemas.microsoft.com/office/drawing/2014/chart" uri="{C3380CC4-5D6E-409C-BE32-E72D297353CC}">
                <c16:uniqueId val="{00000004-3C16-4125-B97A-D0EBA9D0B1CF}"/>
              </c:ext>
            </c:extLst>
          </c:dPt>
          <c:dPt>
            <c:idx val="3"/>
            <c:invertIfNegative val="0"/>
            <c:bubble3D val="0"/>
            <c:spPr>
              <a:solidFill>
                <a:srgbClr val="FFBFBF"/>
              </a:solidFill>
            </c:spPr>
            <c:extLst>
              <c:ext xmlns:c16="http://schemas.microsoft.com/office/drawing/2014/chart" uri="{C3380CC4-5D6E-409C-BE32-E72D297353CC}">
                <c16:uniqueId val="{00000002-615A-458F-B49B-C3992C8CBC6B}"/>
              </c:ext>
            </c:extLst>
          </c:dPt>
          <c:dPt>
            <c:idx val="4"/>
            <c:invertIfNegative val="0"/>
            <c:bubble3D val="0"/>
            <c:extLst>
              <c:ext xmlns:c16="http://schemas.microsoft.com/office/drawing/2014/chart" uri="{C3380CC4-5D6E-409C-BE32-E72D297353CC}">
                <c16:uniqueId val="{00000002-3C16-4125-B97A-D0EBA9D0B1CF}"/>
              </c:ext>
            </c:extLst>
          </c:dPt>
          <c:dPt>
            <c:idx val="5"/>
            <c:invertIfNegative val="0"/>
            <c:bubble3D val="0"/>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dLbl>
              <c:idx val="4"/>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C16-4125-B97A-D0EBA9D0B1CF}"/>
                </c:ext>
              </c:extLst>
            </c:dLbl>
            <c:dLbl>
              <c:idx val="5"/>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B05-4EC0-B6C5-883B60DE7730}"/>
                </c:ext>
              </c:extLst>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c:v>
                </c:pt>
                <c:pt idx="1">
                  <c:v>Schick</c:v>
                </c:pt>
                <c:pt idx="2">
                  <c:v>Dollar Shave Club</c:v>
                </c:pt>
                <c:pt idx="3">
                  <c:v>Harry's</c:v>
                </c:pt>
                <c:pt idx="4">
                  <c:v>Equate</c:v>
                </c:pt>
                <c:pt idx="5">
                  <c:v>Van Der Hagen</c:v>
                </c:pt>
              </c:strCache>
            </c:strRef>
          </c:cat>
          <c:val>
            <c:numRef>
              <c:f>Sheet1!$B$2:$B$7</c:f>
              <c:numCache>
                <c:formatCode>General</c:formatCode>
                <c:ptCount val="6"/>
                <c:pt idx="0">
                  <c:v>1</c:v>
                </c:pt>
                <c:pt idx="1">
                  <c:v>-0.17500000000000004</c:v>
                </c:pt>
                <c:pt idx="2">
                  <c:v>1.25</c:v>
                </c:pt>
                <c:pt idx="3">
                  <c:v>-0.88900000000000001</c:v>
                </c:pt>
                <c:pt idx="4">
                  <c:v>0</c:v>
                </c:pt>
                <c:pt idx="5">
                  <c:v>0</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66017885023071499"/>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11"/>
              <c:tx>
                <c:rich>
                  <a:bodyPr/>
                  <a:lstStyle/>
                  <a:p>
                    <a:r>
                      <a:rPr sz="800"/>
                      <a:t>165%</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F354-43C4-8354-CCC6DF1B75A9}"/>
                </c:ext>
              </c:extLst>
            </c:dLbl>
            <c:dLbl>
              <c:idx val="23"/>
              <c:tx>
                <c:rich>
                  <a:bodyPr/>
                  <a:lstStyle/>
                  <a:p>
                    <a:r>
                      <a:rPr sz="800"/>
                      <a:t>153%</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F354-43C4-8354-CCC6DF1B75A9}"/>
                </c:ext>
              </c:extLst>
            </c:dLbl>
            <c:dLbl>
              <c:idx val="26"/>
              <c:tx>
                <c:rich>
                  <a:bodyPr/>
                  <a:lstStyle/>
                  <a:p>
                    <a:r>
                      <a:rPr sz="800"/>
                      <a:t>110%</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F354-43C4-8354-CCC6DF1B75A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8</c:f>
              <c:strCache>
                <c:ptCount val="27"/>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strCache>
            </c:strRef>
          </c:cat>
          <c:val>
            <c:numRef>
              <c:f>Sheet1!$B$2:$B$28</c:f>
              <c:numCache>
                <c:formatCode>General</c:formatCode>
                <c:ptCount val="27"/>
                <c:pt idx="0">
                  <c:v>90</c:v>
                </c:pt>
                <c:pt idx="1">
                  <c:v>84</c:v>
                </c:pt>
                <c:pt idx="2">
                  <c:v>94</c:v>
                </c:pt>
                <c:pt idx="3">
                  <c:v>90</c:v>
                </c:pt>
                <c:pt idx="4">
                  <c:v>91</c:v>
                </c:pt>
                <c:pt idx="5">
                  <c:v>92</c:v>
                </c:pt>
                <c:pt idx="6">
                  <c:v>98</c:v>
                </c:pt>
                <c:pt idx="7">
                  <c:v>99</c:v>
                </c:pt>
                <c:pt idx="8">
                  <c:v>90</c:v>
                </c:pt>
                <c:pt idx="9">
                  <c:v>98</c:v>
                </c:pt>
                <c:pt idx="10">
                  <c:v>102</c:v>
                </c:pt>
                <c:pt idx="11">
                  <c:v>165</c:v>
                </c:pt>
                <c:pt idx="12">
                  <c:v>91</c:v>
                </c:pt>
                <c:pt idx="13">
                  <c:v>93</c:v>
                </c:pt>
                <c:pt idx="14">
                  <c:v>99</c:v>
                </c:pt>
                <c:pt idx="15">
                  <c:v>93</c:v>
                </c:pt>
                <c:pt idx="16">
                  <c:v>96</c:v>
                </c:pt>
                <c:pt idx="17">
                  <c:v>93</c:v>
                </c:pt>
                <c:pt idx="18">
                  <c:v>97</c:v>
                </c:pt>
                <c:pt idx="19">
                  <c:v>94</c:v>
                </c:pt>
                <c:pt idx="20">
                  <c:v>87</c:v>
                </c:pt>
                <c:pt idx="21">
                  <c:v>98</c:v>
                </c:pt>
                <c:pt idx="22">
                  <c:v>102</c:v>
                </c:pt>
                <c:pt idx="23">
                  <c:v>153</c:v>
                </c:pt>
                <c:pt idx="24">
                  <c:v>97</c:v>
                </c:pt>
                <c:pt idx="25">
                  <c:v>91</c:v>
                </c:pt>
                <c:pt idx="26">
                  <c:v>110</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
        <c:auto val="0"/>
        <c:lblAlgn val="ctr"/>
        <c:lblOffset val="100"/>
        <c:noMultiLvlLbl val="0"/>
      </c:catAx>
      <c:valAx>
        <c:axId val="1203216752"/>
        <c:scaling>
          <c:orientation val="minMax"/>
          <c:max val="200"/>
          <c:min val="0"/>
        </c:scaling>
        <c:delete val="0"/>
        <c:axPos val="l"/>
        <c:numFmt formatCode="General"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7"/>
              <c:tx>
                <c:rich>
                  <a:bodyPr/>
                  <a:lstStyle/>
                  <a:p>
                    <a:r>
                      <a:rPr sz="800"/>
                      <a:t>10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806A-4F80-96F4-A2398BFB898B}"/>
                </c:ext>
              </c:extLst>
            </c:dLbl>
            <c:dLbl>
              <c:idx val="12"/>
              <c:tx>
                <c:rich>
                  <a:bodyPr/>
                  <a:lstStyle/>
                  <a:p>
                    <a:r>
                      <a:rPr sz="800"/>
                      <a:t>107%</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806A-4F80-96F4-A2398BFB898B}"/>
                </c:ext>
              </c:extLst>
            </c:dLbl>
            <c:dLbl>
              <c:idx val="24"/>
              <c:tx>
                <c:rich>
                  <a:bodyPr/>
                  <a:lstStyle/>
                  <a:p>
                    <a:r>
                      <a:rPr sz="800"/>
                      <a:t>10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806A-4F80-96F4-A2398BFB898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8</c:f>
              <c:strCache>
                <c:ptCount val="27"/>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strCache>
            </c:strRef>
          </c:cat>
          <c:val>
            <c:numRef>
              <c:f>Sheet1!$B$2:$B$28</c:f>
              <c:numCache>
                <c:formatCode>General</c:formatCode>
                <c:ptCount val="27"/>
                <c:pt idx="0">
                  <c:v>103</c:v>
                </c:pt>
                <c:pt idx="1">
                  <c:v>90</c:v>
                </c:pt>
                <c:pt idx="2">
                  <c:v>100</c:v>
                </c:pt>
                <c:pt idx="3">
                  <c:v>94</c:v>
                </c:pt>
                <c:pt idx="4">
                  <c:v>103</c:v>
                </c:pt>
                <c:pt idx="5">
                  <c:v>105</c:v>
                </c:pt>
                <c:pt idx="6">
                  <c:v>99</c:v>
                </c:pt>
                <c:pt idx="7">
                  <c:v>106</c:v>
                </c:pt>
                <c:pt idx="8">
                  <c:v>98</c:v>
                </c:pt>
                <c:pt idx="9">
                  <c:v>97</c:v>
                </c:pt>
                <c:pt idx="10">
                  <c:v>103</c:v>
                </c:pt>
                <c:pt idx="11">
                  <c:v>97</c:v>
                </c:pt>
                <c:pt idx="12">
                  <c:v>107</c:v>
                </c:pt>
                <c:pt idx="13">
                  <c:v>97</c:v>
                </c:pt>
                <c:pt idx="14">
                  <c:v>99</c:v>
                </c:pt>
                <c:pt idx="15">
                  <c:v>95</c:v>
                </c:pt>
                <c:pt idx="16">
                  <c:v>101</c:v>
                </c:pt>
                <c:pt idx="17">
                  <c:v>99</c:v>
                </c:pt>
                <c:pt idx="18">
                  <c:v>101</c:v>
                </c:pt>
                <c:pt idx="19">
                  <c:v>106</c:v>
                </c:pt>
                <c:pt idx="20">
                  <c:v>94</c:v>
                </c:pt>
                <c:pt idx="21">
                  <c:v>100</c:v>
                </c:pt>
                <c:pt idx="22">
                  <c:v>105</c:v>
                </c:pt>
                <c:pt idx="23">
                  <c:v>91</c:v>
                </c:pt>
                <c:pt idx="24">
                  <c:v>106</c:v>
                </c:pt>
                <c:pt idx="25">
                  <c:v>93</c:v>
                </c:pt>
                <c:pt idx="26">
                  <c:v>100</c:v>
                </c:pt>
              </c:numCache>
            </c:numRef>
          </c:val>
          <c:extLst>
            <c:ext xmlns:c16="http://schemas.microsoft.com/office/drawing/2014/chart" uri="{C3380CC4-5D6E-409C-BE32-E72D297353CC}">
              <c16:uniqueId val="{00000003-6A07-40C1-B975-BA44DDF9A40C}"/>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
        <c:auto val="0"/>
        <c:lblAlgn val="ctr"/>
        <c:lblOffset val="100"/>
        <c:noMultiLvlLbl val="0"/>
      </c:catAx>
      <c:valAx>
        <c:axId val="1203216752"/>
        <c:scaling>
          <c:orientation val="minMax"/>
          <c:max val="200"/>
          <c:min val="0"/>
        </c:scaling>
        <c:delete val="0"/>
        <c:axPos val="l"/>
        <c:numFmt formatCode="General"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66017885023071499"/>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11"/>
              <c:tx>
                <c:rich>
                  <a:bodyPr/>
                  <a:lstStyle/>
                  <a:p>
                    <a:r>
                      <a:rPr sz="800"/>
                      <a:t>122%</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4AA7-4F61-8A01-ECB000D6FCCA}"/>
                </c:ext>
              </c:extLst>
            </c:dLbl>
            <c:dLbl>
              <c:idx val="23"/>
              <c:tx>
                <c:rich>
                  <a:bodyPr/>
                  <a:lstStyle/>
                  <a:p>
                    <a:r>
                      <a:rPr sz="800"/>
                      <a:t>115%</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4AA7-4F61-8A01-ECB000D6FCCA}"/>
                </c:ext>
              </c:extLst>
            </c:dLbl>
            <c:dLbl>
              <c:idx val="26"/>
              <c:tx>
                <c:rich>
                  <a:bodyPr/>
                  <a:lstStyle/>
                  <a:p>
                    <a:r>
                      <a:rPr sz="800"/>
                      <a:t>112%</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4AA7-4F61-8A01-ECB000D6FCC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8</c:f>
              <c:strCache>
                <c:ptCount val="27"/>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strCache>
            </c:strRef>
          </c:cat>
          <c:val>
            <c:numRef>
              <c:f>Sheet1!$B$2:$B$28</c:f>
              <c:numCache>
                <c:formatCode>General</c:formatCode>
                <c:ptCount val="27"/>
                <c:pt idx="0">
                  <c:v>87</c:v>
                </c:pt>
                <c:pt idx="1">
                  <c:v>92</c:v>
                </c:pt>
                <c:pt idx="2">
                  <c:v>99</c:v>
                </c:pt>
                <c:pt idx="3">
                  <c:v>91</c:v>
                </c:pt>
                <c:pt idx="4">
                  <c:v>98</c:v>
                </c:pt>
                <c:pt idx="5">
                  <c:v>97</c:v>
                </c:pt>
                <c:pt idx="6">
                  <c:v>96</c:v>
                </c:pt>
                <c:pt idx="7">
                  <c:v>111</c:v>
                </c:pt>
                <c:pt idx="8">
                  <c:v>104</c:v>
                </c:pt>
                <c:pt idx="9">
                  <c:v>92</c:v>
                </c:pt>
                <c:pt idx="10">
                  <c:v>105</c:v>
                </c:pt>
                <c:pt idx="11">
                  <c:v>122</c:v>
                </c:pt>
                <c:pt idx="12">
                  <c:v>91</c:v>
                </c:pt>
                <c:pt idx="13">
                  <c:v>98</c:v>
                </c:pt>
                <c:pt idx="14">
                  <c:v>111</c:v>
                </c:pt>
                <c:pt idx="15">
                  <c:v>94</c:v>
                </c:pt>
                <c:pt idx="16">
                  <c:v>92</c:v>
                </c:pt>
                <c:pt idx="17">
                  <c:v>94</c:v>
                </c:pt>
                <c:pt idx="18">
                  <c:v>95</c:v>
                </c:pt>
                <c:pt idx="19">
                  <c:v>109</c:v>
                </c:pt>
                <c:pt idx="20">
                  <c:v>103</c:v>
                </c:pt>
                <c:pt idx="21">
                  <c:v>90</c:v>
                </c:pt>
                <c:pt idx="22">
                  <c:v>102</c:v>
                </c:pt>
                <c:pt idx="23">
                  <c:v>115</c:v>
                </c:pt>
                <c:pt idx="24">
                  <c:v>92</c:v>
                </c:pt>
                <c:pt idx="25">
                  <c:v>95</c:v>
                </c:pt>
                <c:pt idx="26">
                  <c:v>112</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
        <c:auto val="0"/>
        <c:lblAlgn val="ctr"/>
        <c:lblOffset val="100"/>
        <c:noMultiLvlLbl val="0"/>
      </c:catAx>
      <c:valAx>
        <c:axId val="1203216752"/>
        <c:scaling>
          <c:orientation val="minMax"/>
          <c:max val="200"/>
          <c:min val="0"/>
        </c:scaling>
        <c:delete val="0"/>
        <c:axPos val="l"/>
        <c:numFmt formatCode="General"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11"/>
              <c:tx>
                <c:rich>
                  <a:bodyPr/>
                  <a:lstStyle/>
                  <a:p>
                    <a:r>
                      <a:rPr sz="800"/>
                      <a:t>11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2CCA-41D3-AD50-BEF54808E3B8}"/>
                </c:ext>
              </c:extLst>
            </c:dLbl>
            <c:dLbl>
              <c:idx val="23"/>
              <c:tx>
                <c:rich>
                  <a:bodyPr/>
                  <a:lstStyle/>
                  <a:p>
                    <a:r>
                      <a:rPr sz="800"/>
                      <a:t>107%</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2CCA-41D3-AD50-BEF54808E3B8}"/>
                </c:ext>
              </c:extLst>
            </c:dLbl>
            <c:dLbl>
              <c:idx val="26"/>
              <c:tx>
                <c:rich>
                  <a:bodyPr/>
                  <a:lstStyle/>
                  <a:p>
                    <a:r>
                      <a:rPr sz="800"/>
                      <a:t>108%</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2CCA-41D3-AD50-BEF54808E3B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8</c:f>
              <c:strCache>
                <c:ptCount val="27"/>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strCache>
            </c:strRef>
          </c:cat>
          <c:val>
            <c:numRef>
              <c:f>Sheet1!$B$2:$B$28</c:f>
              <c:numCache>
                <c:formatCode>General</c:formatCode>
                <c:ptCount val="27"/>
                <c:pt idx="0">
                  <c:v>91</c:v>
                </c:pt>
                <c:pt idx="1">
                  <c:v>87</c:v>
                </c:pt>
                <c:pt idx="2">
                  <c:v>99</c:v>
                </c:pt>
                <c:pt idx="3">
                  <c:v>96</c:v>
                </c:pt>
                <c:pt idx="4">
                  <c:v>101</c:v>
                </c:pt>
                <c:pt idx="5">
                  <c:v>102</c:v>
                </c:pt>
                <c:pt idx="6">
                  <c:v>106</c:v>
                </c:pt>
                <c:pt idx="7">
                  <c:v>105</c:v>
                </c:pt>
                <c:pt idx="8">
                  <c:v>95</c:v>
                </c:pt>
                <c:pt idx="9">
                  <c:v>99</c:v>
                </c:pt>
                <c:pt idx="10">
                  <c:v>97</c:v>
                </c:pt>
                <c:pt idx="11">
                  <c:v>116</c:v>
                </c:pt>
                <c:pt idx="12">
                  <c:v>95</c:v>
                </c:pt>
                <c:pt idx="13">
                  <c:v>92</c:v>
                </c:pt>
                <c:pt idx="14">
                  <c:v>100</c:v>
                </c:pt>
                <c:pt idx="15">
                  <c:v>97</c:v>
                </c:pt>
                <c:pt idx="16">
                  <c:v>101</c:v>
                </c:pt>
                <c:pt idx="17">
                  <c:v>102</c:v>
                </c:pt>
                <c:pt idx="18">
                  <c:v>106</c:v>
                </c:pt>
                <c:pt idx="19">
                  <c:v>104</c:v>
                </c:pt>
                <c:pt idx="20">
                  <c:v>95</c:v>
                </c:pt>
                <c:pt idx="21">
                  <c:v>101</c:v>
                </c:pt>
                <c:pt idx="22">
                  <c:v>95</c:v>
                </c:pt>
                <c:pt idx="23">
                  <c:v>107</c:v>
                </c:pt>
                <c:pt idx="24">
                  <c:v>99</c:v>
                </c:pt>
                <c:pt idx="25">
                  <c:v>92</c:v>
                </c:pt>
                <c:pt idx="26">
                  <c:v>108</c:v>
                </c:pt>
              </c:numCache>
            </c:numRef>
          </c:val>
          <c:extLst>
            <c:ext xmlns:c16="http://schemas.microsoft.com/office/drawing/2014/chart" uri="{C3380CC4-5D6E-409C-BE32-E72D297353CC}">
              <c16:uniqueId val="{00000003-6A07-40C1-B975-BA44DDF9A40C}"/>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
        <c:auto val="0"/>
        <c:lblAlgn val="ctr"/>
        <c:lblOffset val="100"/>
        <c:noMultiLvlLbl val="0"/>
      </c:catAx>
      <c:valAx>
        <c:axId val="1203216752"/>
        <c:scaling>
          <c:orientation val="minMax"/>
          <c:max val="200"/>
          <c:min val="0"/>
        </c:scaling>
        <c:delete val="0"/>
        <c:axPos val="l"/>
        <c:numFmt formatCode="General"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66017885023071499"/>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11"/>
              <c:tx>
                <c:rich>
                  <a:bodyPr/>
                  <a:lstStyle/>
                  <a:p>
                    <a:r>
                      <a:rPr sz="800"/>
                      <a:t>130%</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96F-496B-A925-0CE844860F10}"/>
                </c:ext>
              </c:extLst>
            </c:dLbl>
            <c:dLbl>
              <c:idx val="23"/>
              <c:tx>
                <c:rich>
                  <a:bodyPr/>
                  <a:lstStyle/>
                  <a:p>
                    <a:r>
                      <a:rPr sz="800"/>
                      <a:t>121%</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96F-496B-A925-0CE844860F10}"/>
                </c:ext>
              </c:extLst>
            </c:dLbl>
            <c:dLbl>
              <c:idx val="26"/>
              <c:tx>
                <c:rich>
                  <a:bodyPr/>
                  <a:lstStyle/>
                  <a:p>
                    <a:r>
                      <a:rPr sz="800"/>
                      <a:t>10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96F-496B-A925-0CE844860F1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8</c:f>
              <c:strCache>
                <c:ptCount val="27"/>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strCache>
            </c:strRef>
          </c:cat>
          <c:val>
            <c:numRef>
              <c:f>Sheet1!$B$2:$B$28</c:f>
              <c:numCache>
                <c:formatCode>General</c:formatCode>
                <c:ptCount val="27"/>
                <c:pt idx="0">
                  <c:v>89</c:v>
                </c:pt>
                <c:pt idx="1">
                  <c:v>88</c:v>
                </c:pt>
                <c:pt idx="2">
                  <c:v>99</c:v>
                </c:pt>
                <c:pt idx="3">
                  <c:v>94</c:v>
                </c:pt>
                <c:pt idx="4">
                  <c:v>98</c:v>
                </c:pt>
                <c:pt idx="5">
                  <c:v>97</c:v>
                </c:pt>
                <c:pt idx="6">
                  <c:v>102</c:v>
                </c:pt>
                <c:pt idx="7">
                  <c:v>106</c:v>
                </c:pt>
                <c:pt idx="8">
                  <c:v>94</c:v>
                </c:pt>
                <c:pt idx="9">
                  <c:v>98</c:v>
                </c:pt>
                <c:pt idx="10">
                  <c:v>99</c:v>
                </c:pt>
                <c:pt idx="11">
                  <c:v>130</c:v>
                </c:pt>
                <c:pt idx="12">
                  <c:v>95</c:v>
                </c:pt>
                <c:pt idx="13">
                  <c:v>92</c:v>
                </c:pt>
                <c:pt idx="14">
                  <c:v>99</c:v>
                </c:pt>
                <c:pt idx="15">
                  <c:v>95</c:v>
                </c:pt>
                <c:pt idx="16">
                  <c:v>100</c:v>
                </c:pt>
                <c:pt idx="17">
                  <c:v>98</c:v>
                </c:pt>
                <c:pt idx="18">
                  <c:v>102</c:v>
                </c:pt>
                <c:pt idx="19">
                  <c:v>104</c:v>
                </c:pt>
                <c:pt idx="20">
                  <c:v>94</c:v>
                </c:pt>
                <c:pt idx="21">
                  <c:v>97</c:v>
                </c:pt>
                <c:pt idx="22">
                  <c:v>95</c:v>
                </c:pt>
                <c:pt idx="23">
                  <c:v>121</c:v>
                </c:pt>
                <c:pt idx="24">
                  <c:v>100</c:v>
                </c:pt>
                <c:pt idx="25">
                  <c:v>92</c:v>
                </c:pt>
                <c:pt idx="26">
                  <c:v>106</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
        <c:auto val="0"/>
        <c:lblAlgn val="ctr"/>
        <c:lblOffset val="100"/>
        <c:noMultiLvlLbl val="0"/>
      </c:catAx>
      <c:valAx>
        <c:axId val="1203216752"/>
        <c:scaling>
          <c:orientation val="minMax"/>
          <c:max val="200"/>
          <c:min val="0"/>
        </c:scaling>
        <c:delete val="0"/>
        <c:axPos val="l"/>
        <c:numFmt formatCode="General"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11"/>
              <c:tx>
                <c:rich>
                  <a:bodyPr/>
                  <a:lstStyle/>
                  <a:p>
                    <a:r>
                      <a:rPr sz="800"/>
                      <a:t>192%</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E4E1-470F-BB27-CEFBDCF14C8A}"/>
                </c:ext>
              </c:extLst>
            </c:dLbl>
            <c:dLbl>
              <c:idx val="23"/>
              <c:tx>
                <c:rich>
                  <a:bodyPr/>
                  <a:lstStyle/>
                  <a:p>
                    <a:r>
                      <a:rPr sz="800"/>
                      <a:t>122%</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4E1-470F-BB27-CEFBDCF14C8A}"/>
                </c:ext>
              </c:extLst>
            </c:dLbl>
            <c:dLbl>
              <c:idx val="26"/>
              <c:tx>
                <c:rich>
                  <a:bodyPr/>
                  <a:lstStyle/>
                  <a:p>
                    <a:r>
                      <a:rPr sz="800"/>
                      <a:t>121%</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4E1-470F-BB27-CEFBDCF14C8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8</c:f>
              <c:strCache>
                <c:ptCount val="27"/>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strCache>
            </c:strRef>
          </c:cat>
          <c:val>
            <c:numRef>
              <c:f>Sheet1!$B$2:$B$28</c:f>
              <c:numCache>
                <c:formatCode>General</c:formatCode>
                <c:ptCount val="27"/>
                <c:pt idx="0">
                  <c:v>55</c:v>
                </c:pt>
                <c:pt idx="1">
                  <c:v>49</c:v>
                </c:pt>
                <c:pt idx="2">
                  <c:v>52</c:v>
                </c:pt>
                <c:pt idx="3">
                  <c:v>58</c:v>
                </c:pt>
                <c:pt idx="4">
                  <c:v>96</c:v>
                </c:pt>
                <c:pt idx="5">
                  <c:v>105</c:v>
                </c:pt>
                <c:pt idx="6">
                  <c:v>101</c:v>
                </c:pt>
                <c:pt idx="7">
                  <c:v>124</c:v>
                </c:pt>
                <c:pt idx="8">
                  <c:v>112</c:v>
                </c:pt>
                <c:pt idx="9">
                  <c:v>114</c:v>
                </c:pt>
                <c:pt idx="10">
                  <c:v>137</c:v>
                </c:pt>
                <c:pt idx="11">
                  <c:v>192</c:v>
                </c:pt>
                <c:pt idx="12">
                  <c:v>84</c:v>
                </c:pt>
                <c:pt idx="13">
                  <c:v>67</c:v>
                </c:pt>
                <c:pt idx="14">
                  <c:v>97</c:v>
                </c:pt>
                <c:pt idx="15">
                  <c:v>105</c:v>
                </c:pt>
                <c:pt idx="16">
                  <c:v>107</c:v>
                </c:pt>
                <c:pt idx="17">
                  <c:v>103</c:v>
                </c:pt>
                <c:pt idx="18">
                  <c:v>104</c:v>
                </c:pt>
                <c:pt idx="19">
                  <c:v>108</c:v>
                </c:pt>
                <c:pt idx="20">
                  <c:v>101</c:v>
                </c:pt>
                <c:pt idx="21">
                  <c:v>91</c:v>
                </c:pt>
                <c:pt idx="22">
                  <c:v>104</c:v>
                </c:pt>
                <c:pt idx="23">
                  <c:v>122</c:v>
                </c:pt>
                <c:pt idx="24">
                  <c:v>93</c:v>
                </c:pt>
                <c:pt idx="25">
                  <c:v>84</c:v>
                </c:pt>
                <c:pt idx="26">
                  <c:v>121</c:v>
                </c:pt>
              </c:numCache>
            </c:numRef>
          </c:val>
          <c:extLst>
            <c:ext xmlns:c16="http://schemas.microsoft.com/office/drawing/2014/chart" uri="{C3380CC4-5D6E-409C-BE32-E72D297353CC}">
              <c16:uniqueId val="{00000003-6A07-40C1-B975-BA44DDF9A40C}"/>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
        <c:auto val="0"/>
        <c:lblAlgn val="ctr"/>
        <c:lblOffset val="100"/>
        <c:noMultiLvlLbl val="0"/>
      </c:catAx>
      <c:valAx>
        <c:axId val="1203216752"/>
        <c:scaling>
          <c:orientation val="minMax"/>
          <c:max val="200"/>
          <c:min val="0"/>
        </c:scaling>
        <c:delete val="0"/>
        <c:axPos val="l"/>
        <c:numFmt formatCode="General"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66017885023071499"/>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11"/>
              <c:tx>
                <c:rich>
                  <a:bodyPr/>
                  <a:lstStyle/>
                  <a:p>
                    <a:r>
                      <a:rPr sz="800"/>
                      <a:t>112%</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C717-41F0-826D-5B44681C2D2A}"/>
                </c:ext>
              </c:extLst>
            </c:dLbl>
            <c:dLbl>
              <c:idx val="14"/>
              <c:tx>
                <c:rich>
                  <a:bodyPr/>
                  <a:lstStyle/>
                  <a:p>
                    <a:r>
                      <a:rPr sz="800"/>
                      <a:t>114%</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C717-41F0-826D-5B44681C2D2A}"/>
                </c:ext>
              </c:extLst>
            </c:dLbl>
            <c:dLbl>
              <c:idx val="26"/>
              <c:tx>
                <c:rich>
                  <a:bodyPr/>
                  <a:lstStyle/>
                  <a:p>
                    <a:r>
                      <a:rPr sz="800"/>
                      <a:t>109%</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C717-41F0-826D-5B44681C2D2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8</c:f>
              <c:strCache>
                <c:ptCount val="27"/>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strCache>
            </c:strRef>
          </c:cat>
          <c:val>
            <c:numRef>
              <c:f>Sheet1!$B$2:$B$28</c:f>
              <c:numCache>
                <c:formatCode>General</c:formatCode>
                <c:ptCount val="27"/>
                <c:pt idx="0">
                  <c:v>91</c:v>
                </c:pt>
                <c:pt idx="1">
                  <c:v>99</c:v>
                </c:pt>
                <c:pt idx="2">
                  <c:v>106</c:v>
                </c:pt>
                <c:pt idx="3">
                  <c:v>96</c:v>
                </c:pt>
                <c:pt idx="4">
                  <c:v>98</c:v>
                </c:pt>
                <c:pt idx="5">
                  <c:v>96</c:v>
                </c:pt>
                <c:pt idx="6">
                  <c:v>95</c:v>
                </c:pt>
                <c:pt idx="7">
                  <c:v>109</c:v>
                </c:pt>
                <c:pt idx="8">
                  <c:v>103</c:v>
                </c:pt>
                <c:pt idx="9">
                  <c:v>89</c:v>
                </c:pt>
                <c:pt idx="10">
                  <c:v>100</c:v>
                </c:pt>
                <c:pt idx="11">
                  <c:v>112</c:v>
                </c:pt>
                <c:pt idx="12">
                  <c:v>92</c:v>
                </c:pt>
                <c:pt idx="13">
                  <c:v>105</c:v>
                </c:pt>
                <c:pt idx="14">
                  <c:v>114</c:v>
                </c:pt>
                <c:pt idx="15">
                  <c:v>91</c:v>
                </c:pt>
                <c:pt idx="16">
                  <c:v>88</c:v>
                </c:pt>
                <c:pt idx="17">
                  <c:v>92</c:v>
                </c:pt>
                <c:pt idx="18">
                  <c:v>93</c:v>
                </c:pt>
                <c:pt idx="19">
                  <c:v>109</c:v>
                </c:pt>
                <c:pt idx="20">
                  <c:v>103</c:v>
                </c:pt>
                <c:pt idx="21">
                  <c:v>90</c:v>
                </c:pt>
                <c:pt idx="22">
                  <c:v>101</c:v>
                </c:pt>
                <c:pt idx="23">
                  <c:v>114</c:v>
                </c:pt>
                <c:pt idx="24">
                  <c:v>91</c:v>
                </c:pt>
                <c:pt idx="25">
                  <c:v>98</c:v>
                </c:pt>
                <c:pt idx="26">
                  <c:v>109</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
        <c:auto val="0"/>
        <c:lblAlgn val="ctr"/>
        <c:lblOffset val="100"/>
        <c:noMultiLvlLbl val="0"/>
      </c:catAx>
      <c:valAx>
        <c:axId val="1203216752"/>
        <c:scaling>
          <c:orientation val="minMax"/>
          <c:max val="200"/>
          <c:min val="0"/>
        </c:scaling>
        <c:delete val="0"/>
        <c:axPos val="l"/>
        <c:numFmt formatCode="General"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66017885023071499"/>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7"/>
              <c:tx>
                <c:rich>
                  <a:bodyPr/>
                  <a:lstStyle/>
                  <a:p>
                    <a:r>
                      <a:rPr sz="800"/>
                      <a:t>10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C667-4362-9710-DA3B29A53192}"/>
                </c:ext>
              </c:extLst>
            </c:dLbl>
            <c:dLbl>
              <c:idx val="12"/>
              <c:tx>
                <c:rich>
                  <a:bodyPr/>
                  <a:lstStyle/>
                  <a:p>
                    <a:r>
                      <a:rPr sz="800"/>
                      <a:t>107%</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C667-4362-9710-DA3B29A53192}"/>
                </c:ext>
              </c:extLst>
            </c:dLbl>
            <c:dLbl>
              <c:idx val="24"/>
              <c:tx>
                <c:rich>
                  <a:bodyPr/>
                  <a:lstStyle/>
                  <a:p>
                    <a:r>
                      <a:rPr sz="800"/>
                      <a:t>10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C667-4362-9710-DA3B29A5319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8</c:f>
              <c:strCache>
                <c:ptCount val="27"/>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strCache>
            </c:strRef>
          </c:cat>
          <c:val>
            <c:numRef>
              <c:f>Sheet1!$B$2:$B$28</c:f>
              <c:numCache>
                <c:formatCode>General</c:formatCode>
                <c:ptCount val="27"/>
                <c:pt idx="0">
                  <c:v>103</c:v>
                </c:pt>
                <c:pt idx="1">
                  <c:v>90</c:v>
                </c:pt>
                <c:pt idx="2">
                  <c:v>100</c:v>
                </c:pt>
                <c:pt idx="3">
                  <c:v>94</c:v>
                </c:pt>
                <c:pt idx="4">
                  <c:v>103</c:v>
                </c:pt>
                <c:pt idx="5">
                  <c:v>105</c:v>
                </c:pt>
                <c:pt idx="6">
                  <c:v>99</c:v>
                </c:pt>
                <c:pt idx="7">
                  <c:v>106</c:v>
                </c:pt>
                <c:pt idx="8">
                  <c:v>98</c:v>
                </c:pt>
                <c:pt idx="9">
                  <c:v>97</c:v>
                </c:pt>
                <c:pt idx="10">
                  <c:v>103</c:v>
                </c:pt>
                <c:pt idx="11">
                  <c:v>97</c:v>
                </c:pt>
                <c:pt idx="12">
                  <c:v>107</c:v>
                </c:pt>
                <c:pt idx="13">
                  <c:v>97</c:v>
                </c:pt>
                <c:pt idx="14">
                  <c:v>99</c:v>
                </c:pt>
                <c:pt idx="15">
                  <c:v>95</c:v>
                </c:pt>
                <c:pt idx="16">
                  <c:v>101</c:v>
                </c:pt>
                <c:pt idx="17">
                  <c:v>99</c:v>
                </c:pt>
                <c:pt idx="18">
                  <c:v>101</c:v>
                </c:pt>
                <c:pt idx="19">
                  <c:v>106</c:v>
                </c:pt>
                <c:pt idx="20">
                  <c:v>94</c:v>
                </c:pt>
                <c:pt idx="21">
                  <c:v>100</c:v>
                </c:pt>
                <c:pt idx="22">
                  <c:v>105</c:v>
                </c:pt>
                <c:pt idx="23">
                  <c:v>91</c:v>
                </c:pt>
                <c:pt idx="24">
                  <c:v>106</c:v>
                </c:pt>
                <c:pt idx="25">
                  <c:v>93</c:v>
                </c:pt>
                <c:pt idx="26">
                  <c:v>100</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
        <c:auto val="0"/>
        <c:lblAlgn val="ctr"/>
        <c:lblOffset val="100"/>
        <c:noMultiLvlLbl val="0"/>
      </c:catAx>
      <c:valAx>
        <c:axId val="1203216752"/>
        <c:scaling>
          <c:orientation val="minMax"/>
          <c:max val="200"/>
          <c:min val="0"/>
        </c:scaling>
        <c:delete val="0"/>
        <c:axPos val="l"/>
        <c:numFmt formatCode="General"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11"/>
              <c:tx>
                <c:rich>
                  <a:bodyPr/>
                  <a:lstStyle/>
                  <a:p>
                    <a:r>
                      <a:rPr sz="800"/>
                      <a:t>168%</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2833-43DD-A386-A47435B0B6F8}"/>
                </c:ext>
              </c:extLst>
            </c:dLbl>
            <c:dLbl>
              <c:idx val="23"/>
              <c:tx>
                <c:rich>
                  <a:bodyPr/>
                  <a:lstStyle/>
                  <a:p>
                    <a:r>
                      <a:rPr sz="800"/>
                      <a:t>13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2833-43DD-A386-A47435B0B6F8}"/>
                </c:ext>
              </c:extLst>
            </c:dLbl>
            <c:dLbl>
              <c:idx val="26"/>
              <c:tx>
                <c:rich>
                  <a:bodyPr/>
                  <a:lstStyle/>
                  <a:p>
                    <a:r>
                      <a:rPr sz="800"/>
                      <a:t>107%</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2833-43DD-A386-A47435B0B6F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8</c:f>
              <c:strCache>
                <c:ptCount val="27"/>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strCache>
            </c:strRef>
          </c:cat>
          <c:val>
            <c:numRef>
              <c:f>Sheet1!$B$2:$B$28</c:f>
              <c:numCache>
                <c:formatCode>General</c:formatCode>
                <c:ptCount val="27"/>
                <c:pt idx="0">
                  <c:v>78</c:v>
                </c:pt>
                <c:pt idx="1">
                  <c:v>80</c:v>
                </c:pt>
                <c:pt idx="2">
                  <c:v>92</c:v>
                </c:pt>
                <c:pt idx="3">
                  <c:v>87</c:v>
                </c:pt>
                <c:pt idx="4">
                  <c:v>94</c:v>
                </c:pt>
                <c:pt idx="5">
                  <c:v>95</c:v>
                </c:pt>
                <c:pt idx="6">
                  <c:v>101</c:v>
                </c:pt>
                <c:pt idx="7">
                  <c:v>109</c:v>
                </c:pt>
                <c:pt idx="8">
                  <c:v>94</c:v>
                </c:pt>
                <c:pt idx="9">
                  <c:v>94</c:v>
                </c:pt>
                <c:pt idx="10">
                  <c:v>102</c:v>
                </c:pt>
                <c:pt idx="11">
                  <c:v>168</c:v>
                </c:pt>
                <c:pt idx="12">
                  <c:v>95</c:v>
                </c:pt>
                <c:pt idx="13">
                  <c:v>91</c:v>
                </c:pt>
                <c:pt idx="14">
                  <c:v>99</c:v>
                </c:pt>
                <c:pt idx="15">
                  <c:v>94</c:v>
                </c:pt>
                <c:pt idx="16">
                  <c:v>102</c:v>
                </c:pt>
                <c:pt idx="17">
                  <c:v>99</c:v>
                </c:pt>
                <c:pt idx="18">
                  <c:v>103</c:v>
                </c:pt>
                <c:pt idx="19">
                  <c:v>103</c:v>
                </c:pt>
                <c:pt idx="20">
                  <c:v>93</c:v>
                </c:pt>
                <c:pt idx="21">
                  <c:v>90</c:v>
                </c:pt>
                <c:pt idx="22">
                  <c:v>90</c:v>
                </c:pt>
                <c:pt idx="23">
                  <c:v>136</c:v>
                </c:pt>
                <c:pt idx="24">
                  <c:v>100</c:v>
                </c:pt>
                <c:pt idx="25">
                  <c:v>92</c:v>
                </c:pt>
                <c:pt idx="26">
                  <c:v>107</c:v>
                </c:pt>
              </c:numCache>
            </c:numRef>
          </c:val>
          <c:extLst>
            <c:ext xmlns:c16="http://schemas.microsoft.com/office/drawing/2014/chart" uri="{C3380CC4-5D6E-409C-BE32-E72D297353CC}">
              <c16:uniqueId val="{00000003-6A07-40C1-B975-BA44DDF9A40C}"/>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
        <c:auto val="0"/>
        <c:lblAlgn val="ctr"/>
        <c:lblOffset val="100"/>
        <c:noMultiLvlLbl val="0"/>
      </c:catAx>
      <c:valAx>
        <c:axId val="1203216752"/>
        <c:scaling>
          <c:orientation val="minMax"/>
          <c:max val="200"/>
          <c:min val="0"/>
        </c:scaling>
        <c:delete val="0"/>
        <c:axPos val="l"/>
        <c:numFmt formatCode="General"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66017885023071499"/>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11"/>
              <c:tx>
                <c:rich>
                  <a:bodyPr/>
                  <a:lstStyle/>
                  <a:p>
                    <a:r>
                      <a:rPr sz="800"/>
                      <a:t>107%</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28D-4A51-A96D-93481ECE481D}"/>
                </c:ext>
              </c:extLst>
            </c:dLbl>
            <c:dLbl>
              <c:idx val="23"/>
              <c:tx>
                <c:rich>
                  <a:bodyPr/>
                  <a:lstStyle/>
                  <a:p>
                    <a:r>
                      <a:rPr sz="800"/>
                      <a:t>107%</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D28D-4A51-A96D-93481ECE481D}"/>
                </c:ext>
              </c:extLst>
            </c:dLbl>
            <c:dLbl>
              <c:idx val="26"/>
              <c:tx>
                <c:rich>
                  <a:bodyPr/>
                  <a:lstStyle/>
                  <a:p>
                    <a:r>
                      <a:rPr sz="800"/>
                      <a:t>10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D28D-4A51-A96D-93481ECE481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8</c:f>
              <c:strCache>
                <c:ptCount val="27"/>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strCache>
            </c:strRef>
          </c:cat>
          <c:val>
            <c:numRef>
              <c:f>Sheet1!$B$2:$B$28</c:f>
              <c:numCache>
                <c:formatCode>General</c:formatCode>
                <c:ptCount val="27"/>
                <c:pt idx="0">
                  <c:v>97</c:v>
                </c:pt>
                <c:pt idx="1">
                  <c:v>92</c:v>
                </c:pt>
                <c:pt idx="2">
                  <c:v>104</c:v>
                </c:pt>
                <c:pt idx="3">
                  <c:v>98</c:v>
                </c:pt>
                <c:pt idx="4">
                  <c:v>101</c:v>
                </c:pt>
                <c:pt idx="5">
                  <c:v>99</c:v>
                </c:pt>
                <c:pt idx="6">
                  <c:v>104</c:v>
                </c:pt>
                <c:pt idx="7">
                  <c:v>105</c:v>
                </c:pt>
                <c:pt idx="8">
                  <c:v>95</c:v>
                </c:pt>
                <c:pt idx="9">
                  <c:v>97</c:v>
                </c:pt>
                <c:pt idx="10">
                  <c:v>94</c:v>
                </c:pt>
                <c:pt idx="11">
                  <c:v>107</c:v>
                </c:pt>
                <c:pt idx="12">
                  <c:v>98</c:v>
                </c:pt>
                <c:pt idx="13">
                  <c:v>95</c:v>
                </c:pt>
                <c:pt idx="14">
                  <c:v>101</c:v>
                </c:pt>
                <c:pt idx="15">
                  <c:v>95</c:v>
                </c:pt>
                <c:pt idx="16">
                  <c:v>100</c:v>
                </c:pt>
                <c:pt idx="17">
                  <c:v>99</c:v>
                </c:pt>
                <c:pt idx="18">
                  <c:v>103</c:v>
                </c:pt>
                <c:pt idx="19">
                  <c:v>105</c:v>
                </c:pt>
                <c:pt idx="20">
                  <c:v>96</c:v>
                </c:pt>
                <c:pt idx="21">
                  <c:v>99</c:v>
                </c:pt>
                <c:pt idx="22">
                  <c:v>96</c:v>
                </c:pt>
                <c:pt idx="23">
                  <c:v>107</c:v>
                </c:pt>
                <c:pt idx="24">
                  <c:v>101</c:v>
                </c:pt>
                <c:pt idx="25">
                  <c:v>92</c:v>
                </c:pt>
                <c:pt idx="26">
                  <c:v>106</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
        <c:auto val="0"/>
        <c:lblAlgn val="ctr"/>
        <c:lblOffset val="100"/>
        <c:noMultiLvlLbl val="0"/>
      </c:catAx>
      <c:valAx>
        <c:axId val="1203216752"/>
        <c:scaling>
          <c:orientation val="minMax"/>
          <c:max val="200"/>
          <c:min val="0"/>
        </c:scaling>
        <c:delete val="0"/>
        <c:axPos val="l"/>
        <c:numFmt formatCode="General"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2-B1F3-4B1C-B6BD-D7555A955EE3}"/>
              </c:ext>
            </c:extLst>
          </c:dPt>
          <c:dPt>
            <c:idx val="1"/>
            <c:invertIfNegative val="0"/>
            <c:bubble3D val="0"/>
            <c:extLst>
              <c:ext xmlns:c16="http://schemas.microsoft.com/office/drawing/2014/chart" uri="{C3380CC4-5D6E-409C-BE32-E72D297353CC}">
                <c16:uniqueId val="{00000000-1D88-4E66-AA3A-770CA96ED1E8}"/>
              </c:ext>
            </c:extLst>
          </c:dPt>
          <c:dPt>
            <c:idx val="2"/>
            <c:invertIfNegative val="0"/>
            <c:bubble3D val="0"/>
            <c:spPr>
              <a:solidFill>
                <a:srgbClr val="FFBFBF"/>
              </a:solidFill>
            </c:spPr>
            <c:extLst>
              <c:ext xmlns:c16="http://schemas.microsoft.com/office/drawing/2014/chart" uri="{C3380CC4-5D6E-409C-BE32-E72D297353CC}">
                <c16:uniqueId val="{00000003-B1F3-4B1C-B6BD-D7555A955EE3}"/>
              </c:ext>
            </c:extLst>
          </c:dPt>
          <c:dPt>
            <c:idx val="3"/>
            <c:invertIfNegative val="0"/>
            <c:bubble3D val="0"/>
            <c:spPr>
              <a:solidFill>
                <a:srgbClr val="FFBFBF"/>
              </a:solidFill>
            </c:spPr>
            <c:extLst>
              <c:ext xmlns:c16="http://schemas.microsoft.com/office/drawing/2014/chart" uri="{C3380CC4-5D6E-409C-BE32-E72D297353CC}">
                <c16:uniqueId val="{00000001-1D88-4E66-AA3A-770CA96ED1E8}"/>
              </c:ext>
            </c:extLst>
          </c:dPt>
          <c:dPt>
            <c:idx val="4"/>
            <c:invertIfNegative val="0"/>
            <c:bubble3D val="0"/>
            <c:spPr>
              <a:solidFill>
                <a:srgbClr val="FFBFBF"/>
              </a:solidFill>
            </c:spPr>
            <c:extLst>
              <c:ext xmlns:c16="http://schemas.microsoft.com/office/drawing/2014/chart" uri="{C3380CC4-5D6E-409C-BE32-E72D297353CC}">
                <c16:uniqueId val="{00000004-B1F3-4B1C-B6BD-D7555A955EE3}"/>
              </c:ext>
            </c:extLst>
          </c:dPt>
          <c:dPt>
            <c:idx val="5"/>
            <c:invertIfNegative val="0"/>
            <c:bubble3D val="0"/>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dLbl>
              <c:idx val="5"/>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6D8A-4B36-B874-4E9C8B692C25}"/>
                </c:ext>
              </c:extLst>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c:v>
                </c:pt>
                <c:pt idx="1">
                  <c:v>Schick</c:v>
                </c:pt>
                <c:pt idx="2">
                  <c:v>Dollar Shave Club</c:v>
                </c:pt>
                <c:pt idx="3">
                  <c:v>Harry's</c:v>
                </c:pt>
                <c:pt idx="4">
                  <c:v>Equate</c:v>
                </c:pt>
                <c:pt idx="5">
                  <c:v>Van Der Hagen</c:v>
                </c:pt>
              </c:strCache>
            </c:strRef>
          </c:cat>
          <c:val>
            <c:numRef>
              <c:f>Sheet1!$B$2:$B$7</c:f>
              <c:numCache>
                <c:formatCode>General</c:formatCode>
                <c:ptCount val="6"/>
                <c:pt idx="0">
                  <c:v>2.7633454415940304</c:v>
                </c:pt>
                <c:pt idx="1">
                  <c:v>2.9925587526523074</c:v>
                </c:pt>
                <c:pt idx="2">
                  <c:v>-1.015202234085993</c:v>
                </c:pt>
                <c:pt idx="3">
                  <c:v>-1</c:v>
                </c:pt>
                <c:pt idx="4">
                  <c:v>-1</c:v>
                </c:pt>
                <c:pt idx="5">
                  <c:v>0</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66017885023071499"/>
        </c:manualLayout>
      </c:layout>
      <c:barChart>
        <c:barDir val="col"/>
        <c:grouping val="clustered"/>
        <c:varyColors val="0"/>
        <c:ser>
          <c:idx val="3"/>
          <c:order val="0"/>
          <c:tx>
            <c:strRef>
              <c:f>Sheet1!$B$1</c:f>
              <c:strCache>
                <c:ptCount val="1"/>
                <c:pt idx="0">
                  <c:v>Sales index</c:v>
                </c:pt>
              </c:strCache>
            </c:strRef>
          </c:tx>
          <c:spPr>
            <a:solidFill>
              <a:schemeClr val="bg2"/>
            </a:solidFill>
          </c:spPr>
          <c:invertIfNegative val="0"/>
          <c:dLbls>
            <c:dLbl>
              <c:idx val="11"/>
              <c:tx>
                <c:rich>
                  <a:bodyPr/>
                  <a:lstStyle/>
                  <a:p>
                    <a:r>
                      <a:rPr sz="800"/>
                      <a:t>11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2B68-42F5-89A0-D7E40B645894}"/>
                </c:ext>
              </c:extLst>
            </c:dLbl>
            <c:dLbl>
              <c:idx val="23"/>
              <c:tx>
                <c:rich>
                  <a:bodyPr/>
                  <a:lstStyle/>
                  <a:p>
                    <a:r>
                      <a:rPr sz="800"/>
                      <a:t>107%</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2B68-42F5-89A0-D7E40B645894}"/>
                </c:ext>
              </c:extLst>
            </c:dLbl>
            <c:dLbl>
              <c:idx val="26"/>
              <c:tx>
                <c:rich>
                  <a:bodyPr/>
                  <a:lstStyle/>
                  <a:p>
                    <a:r>
                      <a:rPr sz="800"/>
                      <a:t>108%</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2B68-42F5-89A0-D7E40B64589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8</c:f>
              <c:strCache>
                <c:ptCount val="27"/>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pt idx="25">
                  <c:v>Feb-25</c:v>
                </c:pt>
                <c:pt idx="26">
                  <c:v>Mar-25</c:v>
                </c:pt>
              </c:strCache>
            </c:strRef>
          </c:cat>
          <c:val>
            <c:numRef>
              <c:f>Sheet1!$B$2:$B$28</c:f>
              <c:numCache>
                <c:formatCode>General</c:formatCode>
                <c:ptCount val="27"/>
                <c:pt idx="0">
                  <c:v>91</c:v>
                </c:pt>
                <c:pt idx="1">
                  <c:v>87</c:v>
                </c:pt>
                <c:pt idx="2">
                  <c:v>99</c:v>
                </c:pt>
                <c:pt idx="3">
                  <c:v>96</c:v>
                </c:pt>
                <c:pt idx="4">
                  <c:v>101</c:v>
                </c:pt>
                <c:pt idx="5">
                  <c:v>102</c:v>
                </c:pt>
                <c:pt idx="6">
                  <c:v>106</c:v>
                </c:pt>
                <c:pt idx="7">
                  <c:v>105</c:v>
                </c:pt>
                <c:pt idx="8">
                  <c:v>95</c:v>
                </c:pt>
                <c:pt idx="9">
                  <c:v>99</c:v>
                </c:pt>
                <c:pt idx="10">
                  <c:v>97</c:v>
                </c:pt>
                <c:pt idx="11">
                  <c:v>116</c:v>
                </c:pt>
                <c:pt idx="12">
                  <c:v>95</c:v>
                </c:pt>
                <c:pt idx="13">
                  <c:v>92</c:v>
                </c:pt>
                <c:pt idx="14">
                  <c:v>100</c:v>
                </c:pt>
                <c:pt idx="15">
                  <c:v>97</c:v>
                </c:pt>
                <c:pt idx="16">
                  <c:v>101</c:v>
                </c:pt>
                <c:pt idx="17">
                  <c:v>102</c:v>
                </c:pt>
                <c:pt idx="18">
                  <c:v>106</c:v>
                </c:pt>
                <c:pt idx="19">
                  <c:v>104</c:v>
                </c:pt>
                <c:pt idx="20">
                  <c:v>95</c:v>
                </c:pt>
                <c:pt idx="21">
                  <c:v>101</c:v>
                </c:pt>
                <c:pt idx="22">
                  <c:v>95</c:v>
                </c:pt>
                <c:pt idx="23">
                  <c:v>107</c:v>
                </c:pt>
                <c:pt idx="24">
                  <c:v>99</c:v>
                </c:pt>
                <c:pt idx="25">
                  <c:v>92</c:v>
                </c:pt>
                <c:pt idx="26">
                  <c:v>108</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00"/>
        <c:auto val="0"/>
        <c:lblAlgn val="ctr"/>
        <c:lblOffset val="100"/>
        <c:noMultiLvlLbl val="0"/>
      </c:catAx>
      <c:valAx>
        <c:axId val="1203216752"/>
        <c:scaling>
          <c:orientation val="minMax"/>
          <c:max val="200"/>
          <c:min val="0"/>
        </c:scaling>
        <c:delete val="0"/>
        <c:axPos val="l"/>
        <c:numFmt formatCode="General"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675118651396688"/>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cat>
            <c:strRef>
              <c:f>Sheet1!$A$2:$A$44</c:f>
              <c:strCache>
                <c:ptCount val="43"/>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strCache>
            </c:strRef>
          </c:cat>
          <c:val>
            <c:numRef>
              <c:f>Sheet1!$B$2:$B$44</c:f>
              <c:numCache>
                <c:formatCode>General</c:formatCode>
                <c:ptCount val="43"/>
                <c:pt idx="0">
                  <c:v>1</c:v>
                </c:pt>
                <c:pt idx="1">
                  <c:v>1</c:v>
                </c:pt>
                <c:pt idx="2">
                  <c:v>1</c:v>
                </c:pt>
                <c:pt idx="3">
                  <c:v>1</c:v>
                </c:pt>
                <c:pt idx="4">
                  <c:v>1</c:v>
                </c:pt>
                <c:pt idx="6">
                  <c:v>1</c:v>
                </c:pt>
                <c:pt idx="7">
                  <c:v>1</c:v>
                </c:pt>
                <c:pt idx="8">
                  <c:v>1</c:v>
                </c:pt>
                <c:pt idx="9">
                  <c:v>1</c:v>
                </c:pt>
                <c:pt idx="10">
                  <c:v>1</c:v>
                </c:pt>
                <c:pt idx="11">
                  <c:v>1</c:v>
                </c:pt>
                <c:pt idx="12">
                  <c:v>1</c:v>
                </c:pt>
                <c:pt idx="13">
                  <c:v>1</c:v>
                </c:pt>
                <c:pt idx="17">
                  <c:v>1</c:v>
                </c:pt>
                <c:pt idx="18">
                  <c:v>1</c:v>
                </c:pt>
                <c:pt idx="19">
                  <c:v>1</c:v>
                </c:pt>
                <c:pt idx="20">
                  <c:v>1</c:v>
                </c:pt>
                <c:pt idx="28">
                  <c:v>1</c:v>
                </c:pt>
                <c:pt idx="29">
                  <c:v>1</c:v>
                </c:pt>
                <c:pt idx="30">
                  <c:v>1</c:v>
                </c:pt>
                <c:pt idx="31">
                  <c:v>1</c:v>
                </c:pt>
                <c:pt idx="32">
                  <c:v>1</c:v>
                </c:pt>
                <c:pt idx="33">
                  <c:v>1</c:v>
                </c:pt>
                <c:pt idx="34">
                  <c:v>1</c:v>
                </c:pt>
                <c:pt idx="35">
                  <c:v>1</c:v>
                </c:pt>
                <c:pt idx="36">
                  <c:v>1</c:v>
                </c:pt>
                <c:pt idx="37">
                  <c:v>1</c:v>
                </c:pt>
                <c:pt idx="38">
                  <c:v>1</c:v>
                </c:pt>
                <c:pt idx="39">
                  <c:v>1</c:v>
                </c:pt>
                <c:pt idx="40">
                  <c:v>1</c:v>
                </c:pt>
                <c:pt idx="41">
                  <c:v>1</c:v>
                </c:pt>
                <c:pt idx="42">
                  <c:v>1</c:v>
                </c:pt>
              </c:numCache>
            </c:numRef>
          </c:val>
          <c:extLst>
            <c:ext xmlns:c16="http://schemas.microsoft.com/office/drawing/2014/chart" uri="{C3380CC4-5D6E-409C-BE32-E72D297353CC}">
              <c16:uniqueId val="{00000000-6B0A-4292-A357-CC7FA9851ABC}"/>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cat>
            <c:strRef>
              <c:f>Sheet1!$A$2:$A$44</c:f>
              <c:strCache>
                <c:ptCount val="43"/>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strCache>
            </c:strRef>
          </c:cat>
          <c:val>
            <c:numRef>
              <c:f>Sheet1!$C$2:$C$44</c:f>
              <c:numCache>
                <c:formatCode>General</c:formatCode>
                <c:ptCount val="43"/>
                <c:pt idx="0">
                  <c:v>0.29098971747255087</c:v>
                </c:pt>
                <c:pt idx="1">
                  <c:v>0.26952045140118608</c:v>
                </c:pt>
                <c:pt idx="2">
                  <c:v>0.33399301791749025</c:v>
                </c:pt>
                <c:pt idx="3">
                  <c:v>0.18118493461768648</c:v>
                </c:pt>
                <c:pt idx="9">
                  <c:v>0.17666491911869162</c:v>
                </c:pt>
                <c:pt idx="10">
                  <c:v>0.1974809243773277</c:v>
                </c:pt>
                <c:pt idx="11">
                  <c:v>0.20017396564317499</c:v>
                </c:pt>
                <c:pt idx="12">
                  <c:v>0.34256663236377294</c:v>
                </c:pt>
                <c:pt idx="13">
                  <c:v>0.37551001419060043</c:v>
                </c:pt>
                <c:pt idx="17">
                  <c:v>0.41830334795795177</c:v>
                </c:pt>
                <c:pt idx="18">
                  <c:v>0.54987248115243403</c:v>
                </c:pt>
                <c:pt idx="19">
                  <c:v>0.62837766796341077</c:v>
                </c:pt>
                <c:pt idx="20">
                  <c:v>0.39377982984021581</c:v>
                </c:pt>
                <c:pt idx="28">
                  <c:v>0.16622326818786454</c:v>
                </c:pt>
                <c:pt idx="29">
                  <c:v>0.36911601653059167</c:v>
                </c:pt>
                <c:pt idx="30">
                  <c:v>0.17901064174075274</c:v>
                </c:pt>
                <c:pt idx="31">
                  <c:v>0.35651546521111738</c:v>
                </c:pt>
                <c:pt idx="32">
                  <c:v>0.29145752143413872</c:v>
                </c:pt>
                <c:pt idx="33">
                  <c:v>0.18382230412578296</c:v>
                </c:pt>
                <c:pt idx="35">
                  <c:v>7.3635219324882942E-2</c:v>
                </c:pt>
                <c:pt idx="36">
                  <c:v>0.70033467331296562</c:v>
                </c:pt>
                <c:pt idx="37">
                  <c:v>0.72802110482486815</c:v>
                </c:pt>
                <c:pt idx="38">
                  <c:v>0.51245789105701389</c:v>
                </c:pt>
                <c:pt idx="39">
                  <c:v>8.367974333378031E-2</c:v>
                </c:pt>
                <c:pt idx="40">
                  <c:v>0.39927966417447031</c:v>
                </c:pt>
                <c:pt idx="41">
                  <c:v>0.45414381400173198</c:v>
                </c:pt>
                <c:pt idx="42">
                  <c:v>0.42425202839756593</c:v>
                </c:pt>
              </c:numCache>
            </c:numRef>
          </c:val>
          <c:smooth val="0"/>
          <c:extLst>
            <c:ext xmlns:c16="http://schemas.microsoft.com/office/drawing/2014/chart" uri="{C3380CC4-5D6E-409C-BE32-E72D297353CC}">
              <c16:uniqueId val="{00000001-6B0A-4292-A357-CC7FA9851ABC}"/>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6308329537389168"/>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dLbls>
            <c:dLbl>
              <c:idx val="0"/>
              <c:tx>
                <c:rich>
                  <a:bodyPr/>
                  <a:lstStyle/>
                  <a:p>
                    <a:fld id="{B24B8392-A900-4B13-B979-519785B56F6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B77E-4F29-87DF-0FE64D0B037A}"/>
                </c:ext>
              </c:extLst>
            </c:dLbl>
            <c:dLbl>
              <c:idx val="1"/>
              <c:tx>
                <c:rich>
                  <a:bodyPr/>
                  <a:lstStyle/>
                  <a:p>
                    <a:fld id="{FD6E598B-FDF1-466D-93FA-D6C12EB6869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77E-4F29-87DF-0FE64D0B037A}"/>
                </c:ext>
              </c:extLst>
            </c:dLbl>
            <c:dLbl>
              <c:idx val="2"/>
              <c:tx>
                <c:rich>
                  <a:bodyPr/>
                  <a:lstStyle/>
                  <a:p>
                    <a:fld id="{A136E16E-C7B7-4195-9048-87D02CAB58D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B77E-4F29-87DF-0FE64D0B037A}"/>
                </c:ext>
              </c:extLst>
            </c:dLbl>
            <c:dLbl>
              <c:idx val="3"/>
              <c:tx>
                <c:rich>
                  <a:bodyPr/>
                  <a:lstStyle/>
                  <a:p>
                    <a:fld id="{9C9EE2F1-50C1-427E-BCCF-B544473BBB3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77E-4F29-87DF-0FE64D0B037A}"/>
                </c:ext>
              </c:extLst>
            </c:dLbl>
            <c:dLbl>
              <c:idx val="4"/>
              <c:tx>
                <c:rich>
                  <a:bodyPr/>
                  <a:lstStyle/>
                  <a:p>
                    <a:fld id="{4DA471B3-7DFB-4E0A-984A-B89DD189170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B77E-4F29-87DF-0FE64D0B037A}"/>
                </c:ext>
              </c:extLst>
            </c:dLbl>
            <c:dLbl>
              <c:idx val="5"/>
              <c:tx>
                <c:rich>
                  <a:bodyPr/>
                  <a:lstStyle/>
                  <a:p>
                    <a:fld id="{83CB634C-7ED8-400F-A15A-36A2ED74518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77E-4F29-87DF-0FE64D0B037A}"/>
                </c:ext>
              </c:extLst>
            </c:dLbl>
            <c:dLbl>
              <c:idx val="6"/>
              <c:tx>
                <c:rich>
                  <a:bodyPr/>
                  <a:lstStyle/>
                  <a:p>
                    <a:fld id="{BC81C0A8-C977-49FB-BE1F-99D62728F0C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B77E-4F29-87DF-0FE64D0B037A}"/>
                </c:ext>
              </c:extLst>
            </c:dLbl>
            <c:dLbl>
              <c:idx val="7"/>
              <c:tx>
                <c:rich>
                  <a:bodyPr/>
                  <a:lstStyle/>
                  <a:p>
                    <a:fld id="{D41AB723-2B78-4568-A88E-A3D5B5787F3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77E-4F29-87DF-0FE64D0B037A}"/>
                </c:ext>
              </c:extLst>
            </c:dLbl>
            <c:dLbl>
              <c:idx val="8"/>
              <c:tx>
                <c:rich>
                  <a:bodyPr/>
                  <a:lstStyle/>
                  <a:p>
                    <a:fld id="{376A6CF2-C71B-4353-A155-282EF004E30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B77E-4F29-87DF-0FE64D0B037A}"/>
                </c:ext>
              </c:extLst>
            </c:dLbl>
            <c:dLbl>
              <c:idx val="9"/>
              <c:tx>
                <c:rich>
                  <a:bodyPr/>
                  <a:lstStyle/>
                  <a:p>
                    <a:fld id="{1A0F412A-FA6A-4B8F-BD2C-61F7BC2E0EC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77E-4F29-87DF-0FE64D0B037A}"/>
                </c:ext>
              </c:extLst>
            </c:dLbl>
            <c:dLbl>
              <c:idx val="1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77E-4F29-87DF-0FE64D0B037A}"/>
                </c:ext>
              </c:extLst>
            </c:dLbl>
            <c:dLbl>
              <c:idx val="1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B-B77E-4F29-87DF-0FE64D0B037A}"/>
                </c:ext>
              </c:extLst>
            </c:dLbl>
            <c:dLbl>
              <c:idx val="1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B77E-4F29-87DF-0FE64D0B037A}"/>
                </c:ext>
              </c:extLst>
            </c:dLbl>
            <c:dLbl>
              <c:idx val="13"/>
              <c:tx>
                <c:rich>
                  <a:bodyPr/>
                  <a:lstStyle/>
                  <a:p>
                    <a:fld id="{FB978C11-FDDB-4145-84D9-E46BDA6011F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77E-4F29-87DF-0FE64D0B037A}"/>
                </c:ext>
              </c:extLst>
            </c:dLbl>
            <c:dLbl>
              <c:idx val="14"/>
              <c:tx>
                <c:rich>
                  <a:bodyPr/>
                  <a:lstStyle/>
                  <a:p>
                    <a:fld id="{CB9B6729-7C62-437B-AE96-2980A3CF07E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B77E-4F29-87DF-0FE64D0B037A}"/>
                </c:ext>
              </c:extLst>
            </c:dLbl>
            <c:dLbl>
              <c:idx val="15"/>
              <c:tx>
                <c:rich>
                  <a:bodyPr/>
                  <a:lstStyle/>
                  <a:p>
                    <a:fld id="{0BE1131D-2296-4CFC-8D1A-85848F3D365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77E-4F29-87DF-0FE64D0B037A}"/>
                </c:ext>
              </c:extLst>
            </c:dLbl>
            <c:dLbl>
              <c:idx val="1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0-B77E-4F29-87DF-0FE64D0B037A}"/>
                </c:ext>
              </c:extLst>
            </c:dLbl>
            <c:dLbl>
              <c:idx val="1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B77E-4F29-87DF-0FE64D0B037A}"/>
                </c:ext>
              </c:extLst>
            </c:dLbl>
            <c:dLbl>
              <c:idx val="1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2-B77E-4F29-87DF-0FE64D0B037A}"/>
                </c:ext>
              </c:extLst>
            </c:dLbl>
            <c:dLbl>
              <c:idx val="19"/>
              <c:tx>
                <c:rich>
                  <a:bodyPr/>
                  <a:lstStyle/>
                  <a:p>
                    <a:fld id="{8103A91B-0548-4F64-A851-62C3CA5D426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77E-4F29-87DF-0FE64D0B037A}"/>
                </c:ext>
              </c:extLst>
            </c:dLbl>
            <c:dLbl>
              <c:idx val="20"/>
              <c:tx>
                <c:rich>
                  <a:bodyPr/>
                  <a:lstStyle/>
                  <a:p>
                    <a:fld id="{2A9933C4-069B-44D4-BADC-884BDC1AB8E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77E-4F29-87DF-0FE64D0B037A}"/>
                </c:ext>
              </c:extLst>
            </c:dLbl>
            <c:dLbl>
              <c:idx val="21"/>
              <c:tx>
                <c:rich>
                  <a:bodyPr/>
                  <a:lstStyle/>
                  <a:p>
                    <a:fld id="{B8D0C62C-9D84-402A-A139-0053E7D2753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77E-4F29-87DF-0FE64D0B037A}"/>
                </c:ext>
              </c:extLst>
            </c:dLbl>
            <c:dLbl>
              <c:idx val="2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77E-4F29-87DF-0FE64D0B037A}"/>
                </c:ext>
              </c:extLst>
            </c:dLbl>
            <c:dLbl>
              <c:idx val="23"/>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77E-4F29-87DF-0FE64D0B037A}"/>
                </c:ext>
              </c:extLst>
            </c:dLbl>
            <c:dLbl>
              <c:idx val="2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77E-4F29-87DF-0FE64D0B037A}"/>
                </c:ext>
              </c:extLst>
            </c:dLbl>
            <c:dLbl>
              <c:idx val="25"/>
              <c:tx>
                <c:rich>
                  <a:bodyPr/>
                  <a:lstStyle/>
                  <a:p>
                    <a:fld id="{EEE10EA7-2F46-41E0-B727-4659927BD39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77E-4F29-87DF-0FE64D0B037A}"/>
                </c:ext>
              </c:extLst>
            </c:dLbl>
            <c:dLbl>
              <c:idx val="26"/>
              <c:tx>
                <c:rich>
                  <a:bodyPr/>
                  <a:lstStyle/>
                  <a:p>
                    <a:fld id="{381A2413-6BD0-4079-8C9A-481B6378603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77E-4F29-87DF-0FE64D0B037A}"/>
                </c:ext>
              </c:extLst>
            </c:dLbl>
            <c:dLbl>
              <c:idx val="27"/>
              <c:tx>
                <c:rich>
                  <a:bodyPr/>
                  <a:lstStyle/>
                  <a:p>
                    <a:fld id="{77171F00-EB86-4328-82B1-A253971B9B0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77E-4F29-87DF-0FE64D0B037A}"/>
                </c:ext>
              </c:extLst>
            </c:dLbl>
            <c:dLbl>
              <c:idx val="28"/>
              <c:tx>
                <c:rich>
                  <a:bodyPr/>
                  <a:lstStyle/>
                  <a:p>
                    <a:fld id="{65F2C9AB-FBE1-4475-8267-7D1C6EF7D48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77E-4F29-87DF-0FE64D0B037A}"/>
                </c:ext>
              </c:extLst>
            </c:dLbl>
            <c:dLbl>
              <c:idx val="29"/>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77E-4F29-87DF-0FE64D0B037A}"/>
                </c:ext>
              </c:extLst>
            </c:dLbl>
            <c:dLbl>
              <c:idx val="3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77E-4F29-87DF-0FE64D0B037A}"/>
                </c:ext>
              </c:extLst>
            </c:dLbl>
            <c:dLbl>
              <c:idx val="31"/>
              <c:tx>
                <c:rich>
                  <a:bodyPr/>
                  <a:lstStyle/>
                  <a:p>
                    <a:fld id="{3797D993-3437-4E3E-9172-1E30AB15C03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77E-4F29-87DF-0FE64D0B037A}"/>
                </c:ext>
              </c:extLst>
            </c:dLbl>
            <c:dLbl>
              <c:idx val="32"/>
              <c:tx>
                <c:rich>
                  <a:bodyPr/>
                  <a:lstStyle/>
                  <a:p>
                    <a:fld id="{18B03B16-DC24-4A2F-90BF-B04EE35455E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77E-4F29-87DF-0FE64D0B037A}"/>
                </c:ext>
              </c:extLst>
            </c:dLbl>
            <c:dLbl>
              <c:idx val="33"/>
              <c:tx>
                <c:rich>
                  <a:bodyPr/>
                  <a:lstStyle/>
                  <a:p>
                    <a:fld id="{43AC5E2C-2C6E-4B0A-B0A6-725B45459BA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77E-4F29-87DF-0FE64D0B037A}"/>
                </c:ext>
              </c:extLst>
            </c:dLbl>
            <c:dLbl>
              <c:idx val="3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B77E-4F29-87DF-0FE64D0B037A}"/>
                </c:ext>
              </c:extLst>
            </c:dLbl>
            <c:dLbl>
              <c:idx val="35"/>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B77E-4F29-87DF-0FE64D0B037A}"/>
                </c:ext>
              </c:extLst>
            </c:dLbl>
            <c:dLbl>
              <c:idx val="3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B77E-4F29-87DF-0FE64D0B037A}"/>
                </c:ext>
              </c:extLst>
            </c:dLbl>
            <c:dLbl>
              <c:idx val="37"/>
              <c:tx>
                <c:rich>
                  <a:bodyPr/>
                  <a:lstStyle/>
                  <a:p>
                    <a:fld id="{397F4EA1-2B28-421A-A9AA-0038E7CD158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77E-4F29-87DF-0FE64D0B037A}"/>
                </c:ext>
              </c:extLst>
            </c:dLbl>
            <c:dLbl>
              <c:idx val="38"/>
              <c:tx>
                <c:rich>
                  <a:bodyPr/>
                  <a:lstStyle/>
                  <a:p>
                    <a:fld id="{D348CDB9-A239-49CA-8D42-87D97F4AADC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77E-4F29-87DF-0FE64D0B037A}"/>
                </c:ext>
              </c:extLst>
            </c:dLbl>
            <c:dLbl>
              <c:idx val="39"/>
              <c:tx>
                <c:rich>
                  <a:bodyPr/>
                  <a:lstStyle/>
                  <a:p>
                    <a:fld id="{3D517965-DC9C-4FE5-9F3D-30F3967F199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77E-4F29-87DF-0FE64D0B037A}"/>
                </c:ext>
              </c:extLst>
            </c:dLbl>
            <c:dLbl>
              <c:idx val="4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77E-4F29-87DF-0FE64D0B037A}"/>
                </c:ext>
              </c:extLst>
            </c:dLbl>
            <c:dLbl>
              <c:idx val="4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77E-4F29-87DF-0FE64D0B037A}"/>
                </c:ext>
              </c:extLst>
            </c:dLbl>
            <c:dLbl>
              <c:idx val="4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77E-4F29-87DF-0FE64D0B037A}"/>
                </c:ext>
              </c:extLst>
            </c:dLbl>
            <c:dLbl>
              <c:idx val="43"/>
              <c:tx>
                <c:rich>
                  <a:bodyPr/>
                  <a:lstStyle/>
                  <a:p>
                    <a:fld id="{5B93807C-D0E8-41E5-B352-72FA8D878EB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77E-4F29-87DF-0FE64D0B037A}"/>
                </c:ext>
              </c:extLst>
            </c:dLbl>
            <c:dLbl>
              <c:idx val="44"/>
              <c:tx>
                <c:rich>
                  <a:bodyPr/>
                  <a:lstStyle/>
                  <a:p>
                    <a:fld id="{75E6D122-44CC-4DA8-91DB-166E340ACC0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77E-4F29-87DF-0FE64D0B037A}"/>
                </c:ext>
              </c:extLst>
            </c:dLbl>
            <c:dLbl>
              <c:idx val="45"/>
              <c:tx>
                <c:rich>
                  <a:bodyPr/>
                  <a:lstStyle/>
                  <a:p>
                    <a:fld id="{EC82682B-471C-48F2-8F6D-70EF6A0662F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77E-4F29-87DF-0FE64D0B037A}"/>
                </c:ext>
              </c:extLst>
            </c:dLbl>
            <c:dLbl>
              <c:idx val="49"/>
              <c:tx>
                <c:rich>
                  <a:bodyPr/>
                  <a:lstStyle/>
                  <a:p>
                    <a:fld id="{8DAE423A-3D64-4F9A-AEC7-47FFAC8645D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77E-4F29-87DF-0FE64D0B037A}"/>
                </c:ext>
              </c:extLst>
            </c:dLbl>
            <c:dLbl>
              <c:idx val="50"/>
              <c:tx>
                <c:rich>
                  <a:bodyPr/>
                  <a:lstStyle/>
                  <a:p>
                    <a:fld id="{BA4B591C-F0A7-4E74-BA72-B381A8B5D86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77E-4F29-87DF-0FE64D0B037A}"/>
                </c:ext>
              </c:extLst>
            </c:dLbl>
            <c:dLbl>
              <c:idx val="51"/>
              <c:tx>
                <c:rich>
                  <a:bodyPr/>
                  <a:lstStyle/>
                  <a:p>
                    <a:fld id="{943619FA-0CF8-4C50-937F-AA394ADE577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77E-4F29-87DF-0FE64D0B037A}"/>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4</c:f>
              <c:strCache>
                <c:ptCount val="43"/>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strCache>
            </c:strRef>
          </c:cat>
          <c:val>
            <c:numRef>
              <c:f>Sheet1!$B$2:$B$44</c:f>
              <c:numCache>
                <c:formatCode>General</c:formatCode>
                <c:ptCount val="43"/>
                <c:pt idx="0">
                  <c:v>1</c:v>
                </c:pt>
                <c:pt idx="1">
                  <c:v>1</c:v>
                </c:pt>
                <c:pt idx="2">
                  <c:v>1</c:v>
                </c:pt>
                <c:pt idx="3">
                  <c:v>1</c:v>
                </c:pt>
                <c:pt idx="4">
                  <c:v>1</c:v>
                </c:pt>
                <c:pt idx="6">
                  <c:v>1</c:v>
                </c:pt>
                <c:pt idx="7">
                  <c:v>1</c:v>
                </c:pt>
                <c:pt idx="27">
                  <c:v>1</c:v>
                </c:pt>
                <c:pt idx="28">
                  <c:v>1</c:v>
                </c:pt>
                <c:pt idx="33">
                  <c:v>1</c:v>
                </c:pt>
                <c:pt idx="34">
                  <c:v>1</c:v>
                </c:pt>
                <c:pt idx="35">
                  <c:v>1</c:v>
                </c:pt>
                <c:pt idx="36">
                  <c:v>1</c:v>
                </c:pt>
                <c:pt idx="37">
                  <c:v>1</c:v>
                </c:pt>
                <c:pt idx="38">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B77E-4F29-87DF-0FE64D0B037A}"/>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dPt>
            <c:idx val="38"/>
            <c:marker>
              <c:spPr>
                <a:solidFill>
                  <a:srgbClr val="E6E5E5"/>
                </a:solidFill>
                <a:ln>
                  <a:solidFill>
                    <a:srgbClr val="E6E5E5"/>
                  </a:solidFill>
                </a:ln>
              </c:spPr>
            </c:marker>
            <c:bubble3D val="0"/>
            <c:extLst>
              <c:ext xmlns:c16="http://schemas.microsoft.com/office/drawing/2014/chart" uri="{C3380CC4-5D6E-409C-BE32-E72D297353CC}">
                <c16:uniqueId val="{00000000-B888-4375-B73D-069D0AA13C97}"/>
              </c:ext>
            </c:extLst>
          </c:dPt>
          <c:dLbls>
            <c:dLbl>
              <c:idx val="38"/>
              <c:tx>
                <c:rich>
                  <a:bodyPr/>
                  <a:lstStyle/>
                  <a:p>
                    <a:r>
                      <a:rPr sz="800">
                        <a:solidFill>
                          <a:srgbClr val="00A097"/>
                        </a:solidFill>
                      </a:rPr>
                      <a:t>240%</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B888-4375-B73D-069D0AA13C9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44</c:f>
              <c:strCache>
                <c:ptCount val="43"/>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strCache>
            </c:strRef>
          </c:cat>
          <c:val>
            <c:numRef>
              <c:f>Sheet1!$C$2:$C$44</c:f>
              <c:numCache>
                <c:formatCode>General</c:formatCode>
                <c:ptCount val="43"/>
                <c:pt idx="38">
                  <c:v>1.8</c:v>
                </c:pt>
              </c:numCache>
            </c:numRef>
          </c:val>
          <c:smooth val="0"/>
          <c:extLst>
            <c:ext xmlns:c16="http://schemas.microsoft.com/office/drawing/2014/chart" uri="{C3380CC4-5D6E-409C-BE32-E72D297353CC}">
              <c16:uniqueId val="{00000035-B77E-4F29-87DF-0FE64D0B037A}"/>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675118651396688"/>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cat>
            <c:strRef>
              <c:f>Sheet1!$A$2:$A$44</c:f>
              <c:strCache>
                <c:ptCount val="43"/>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strCache>
            </c:strRef>
          </c:cat>
          <c:val>
            <c:numRef>
              <c:f>Sheet1!$B$2:$B$44</c:f>
              <c:numCache>
                <c:formatCode>General</c:formatCode>
                <c:ptCount val="43"/>
                <c:pt idx="0">
                  <c:v>1</c:v>
                </c:pt>
                <c:pt idx="1">
                  <c:v>1</c:v>
                </c:pt>
                <c:pt idx="2">
                  <c:v>1</c:v>
                </c:pt>
                <c:pt idx="3">
                  <c:v>1</c:v>
                </c:pt>
                <c:pt idx="4">
                  <c:v>1</c:v>
                </c:pt>
                <c:pt idx="6">
                  <c:v>1</c:v>
                </c:pt>
                <c:pt idx="7">
                  <c:v>1</c:v>
                </c:pt>
                <c:pt idx="8">
                  <c:v>1</c:v>
                </c:pt>
                <c:pt idx="9">
                  <c:v>1</c:v>
                </c:pt>
                <c:pt idx="10">
                  <c:v>1</c:v>
                </c:pt>
                <c:pt idx="11">
                  <c:v>1</c:v>
                </c:pt>
                <c:pt idx="12">
                  <c:v>1</c:v>
                </c:pt>
                <c:pt idx="13">
                  <c:v>1</c:v>
                </c:pt>
                <c:pt idx="17">
                  <c:v>1</c:v>
                </c:pt>
                <c:pt idx="18">
                  <c:v>1</c:v>
                </c:pt>
                <c:pt idx="19">
                  <c:v>1</c:v>
                </c:pt>
                <c:pt idx="20">
                  <c:v>1</c:v>
                </c:pt>
                <c:pt idx="28">
                  <c:v>1</c:v>
                </c:pt>
                <c:pt idx="29">
                  <c:v>1</c:v>
                </c:pt>
                <c:pt idx="30">
                  <c:v>1</c:v>
                </c:pt>
                <c:pt idx="31">
                  <c:v>1</c:v>
                </c:pt>
                <c:pt idx="32">
                  <c:v>1</c:v>
                </c:pt>
                <c:pt idx="33">
                  <c:v>1</c:v>
                </c:pt>
                <c:pt idx="34">
                  <c:v>1</c:v>
                </c:pt>
                <c:pt idx="35">
                  <c:v>1</c:v>
                </c:pt>
                <c:pt idx="36">
                  <c:v>1</c:v>
                </c:pt>
                <c:pt idx="37">
                  <c:v>1</c:v>
                </c:pt>
                <c:pt idx="38">
                  <c:v>1</c:v>
                </c:pt>
                <c:pt idx="39">
                  <c:v>1</c:v>
                </c:pt>
                <c:pt idx="40">
                  <c:v>1</c:v>
                </c:pt>
                <c:pt idx="41">
                  <c:v>1</c:v>
                </c:pt>
                <c:pt idx="42">
                  <c:v>1</c:v>
                </c:pt>
              </c:numCache>
            </c:numRef>
          </c:val>
          <c:extLst>
            <c:ext xmlns:c16="http://schemas.microsoft.com/office/drawing/2014/chart" uri="{C3380CC4-5D6E-409C-BE32-E72D297353CC}">
              <c16:uniqueId val="{00000000-6B0A-4292-A357-CC7FA9851ABC}"/>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cat>
            <c:strRef>
              <c:f>Sheet1!$A$2:$A$44</c:f>
              <c:strCache>
                <c:ptCount val="43"/>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strCache>
            </c:strRef>
          </c:cat>
          <c:val>
            <c:numRef>
              <c:f>Sheet1!$C$2:$C$44</c:f>
              <c:numCache>
                <c:formatCode>General</c:formatCode>
                <c:ptCount val="43"/>
                <c:pt idx="0">
                  <c:v>0.29105171411969782</c:v>
                </c:pt>
                <c:pt idx="1">
                  <c:v>0.26958350561296179</c:v>
                </c:pt>
                <c:pt idx="2">
                  <c:v>0.33402230317329995</c:v>
                </c:pt>
                <c:pt idx="3">
                  <c:v>0.18122054709132235</c:v>
                </c:pt>
                <c:pt idx="9">
                  <c:v>0.1766838586021581</c:v>
                </c:pt>
                <c:pt idx="10">
                  <c:v>0.19749181785499278</c:v>
                </c:pt>
                <c:pt idx="11">
                  <c:v>0.20018518467052601</c:v>
                </c:pt>
                <c:pt idx="12">
                  <c:v>0.3425875453811883</c:v>
                </c:pt>
                <c:pt idx="13">
                  <c:v>0.37551001419060043</c:v>
                </c:pt>
                <c:pt idx="17">
                  <c:v>0.41830334795795177</c:v>
                </c:pt>
                <c:pt idx="18">
                  <c:v>0.54999579513918084</c:v>
                </c:pt>
                <c:pt idx="19">
                  <c:v>0.62837766796341077</c:v>
                </c:pt>
                <c:pt idx="20">
                  <c:v>0.39377982984021581</c:v>
                </c:pt>
                <c:pt idx="28">
                  <c:v>0.16622326818786454</c:v>
                </c:pt>
                <c:pt idx="29">
                  <c:v>0.36911601653059167</c:v>
                </c:pt>
                <c:pt idx="30">
                  <c:v>0.17901745768842692</c:v>
                </c:pt>
                <c:pt idx="31">
                  <c:v>0.35651546521111738</c:v>
                </c:pt>
                <c:pt idx="32">
                  <c:v>0.29145752143413872</c:v>
                </c:pt>
                <c:pt idx="33">
                  <c:v>0.18382230412578296</c:v>
                </c:pt>
                <c:pt idx="35">
                  <c:v>7.3635219324882942E-2</c:v>
                </c:pt>
                <c:pt idx="36">
                  <c:v>0.70051489904676123</c:v>
                </c:pt>
                <c:pt idx="37">
                  <c:v>0.73034245264970343</c:v>
                </c:pt>
                <c:pt idx="38">
                  <c:v>0.5132734912146677</c:v>
                </c:pt>
                <c:pt idx="39">
                  <c:v>8.367974333378031E-2</c:v>
                </c:pt>
                <c:pt idx="40">
                  <c:v>0.39932925920405427</c:v>
                </c:pt>
                <c:pt idx="41">
                  <c:v>0.45419936975201114</c:v>
                </c:pt>
                <c:pt idx="42">
                  <c:v>0.42425202839756593</c:v>
                </c:pt>
              </c:numCache>
            </c:numRef>
          </c:val>
          <c:smooth val="0"/>
          <c:extLst>
            <c:ext xmlns:c16="http://schemas.microsoft.com/office/drawing/2014/chart" uri="{C3380CC4-5D6E-409C-BE32-E72D297353CC}">
              <c16:uniqueId val="{00000001-6B0A-4292-A357-CC7FA9851ABC}"/>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6308329537389168"/>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dLbls>
            <c:dLbl>
              <c:idx val="0"/>
              <c:tx>
                <c:rich>
                  <a:bodyPr/>
                  <a:lstStyle/>
                  <a:p>
                    <a:fld id="{8535F890-1F39-48BA-81C1-48870BAC6FF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B77E-4F29-87DF-0FE64D0B037A}"/>
                </c:ext>
              </c:extLst>
            </c:dLbl>
            <c:dLbl>
              <c:idx val="1"/>
              <c:tx>
                <c:rich>
                  <a:bodyPr/>
                  <a:lstStyle/>
                  <a:p>
                    <a:fld id="{BFC0814F-38B3-48E4-9898-F9536A8563F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77E-4F29-87DF-0FE64D0B037A}"/>
                </c:ext>
              </c:extLst>
            </c:dLbl>
            <c:dLbl>
              <c:idx val="2"/>
              <c:tx>
                <c:rich>
                  <a:bodyPr/>
                  <a:lstStyle/>
                  <a:p>
                    <a:fld id="{FA1D603D-FA89-4917-A46C-D603A5F132D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B77E-4F29-87DF-0FE64D0B037A}"/>
                </c:ext>
              </c:extLst>
            </c:dLbl>
            <c:dLbl>
              <c:idx val="3"/>
              <c:tx>
                <c:rich>
                  <a:bodyPr/>
                  <a:lstStyle/>
                  <a:p>
                    <a:fld id="{895F7D75-E7BA-4498-ABF7-AC20E702BA8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77E-4F29-87DF-0FE64D0B037A}"/>
                </c:ext>
              </c:extLst>
            </c:dLbl>
            <c:dLbl>
              <c:idx val="4"/>
              <c:tx>
                <c:rich>
                  <a:bodyPr/>
                  <a:lstStyle/>
                  <a:p>
                    <a:fld id="{A885D660-6951-4A9F-B31B-7B07C9B0C7E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B77E-4F29-87DF-0FE64D0B037A}"/>
                </c:ext>
              </c:extLst>
            </c:dLbl>
            <c:dLbl>
              <c:idx val="5"/>
              <c:tx>
                <c:rich>
                  <a:bodyPr/>
                  <a:lstStyle/>
                  <a:p>
                    <a:fld id="{2FD459A2-D596-49F5-8943-24678F9AA1F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77E-4F29-87DF-0FE64D0B037A}"/>
                </c:ext>
              </c:extLst>
            </c:dLbl>
            <c:dLbl>
              <c:idx val="6"/>
              <c:tx>
                <c:rich>
                  <a:bodyPr/>
                  <a:lstStyle/>
                  <a:p>
                    <a:fld id="{C1C3680B-649C-4408-911A-CB385E0AB95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B77E-4F29-87DF-0FE64D0B037A}"/>
                </c:ext>
              </c:extLst>
            </c:dLbl>
            <c:dLbl>
              <c:idx val="7"/>
              <c:tx>
                <c:rich>
                  <a:bodyPr/>
                  <a:lstStyle/>
                  <a:p>
                    <a:fld id="{E2C4C27C-1B85-4912-96A2-DEC79586ECD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77E-4F29-87DF-0FE64D0B037A}"/>
                </c:ext>
              </c:extLst>
            </c:dLbl>
            <c:dLbl>
              <c:idx val="8"/>
              <c:tx>
                <c:rich>
                  <a:bodyPr/>
                  <a:lstStyle/>
                  <a:p>
                    <a:fld id="{0A07CAE4-D927-4F2C-ADBD-B958BBDB2CA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B77E-4F29-87DF-0FE64D0B037A}"/>
                </c:ext>
              </c:extLst>
            </c:dLbl>
            <c:dLbl>
              <c:idx val="9"/>
              <c:tx>
                <c:rich>
                  <a:bodyPr/>
                  <a:lstStyle/>
                  <a:p>
                    <a:fld id="{86F01114-F05B-4E56-B8F9-BFE8E083081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77E-4F29-87DF-0FE64D0B037A}"/>
                </c:ext>
              </c:extLst>
            </c:dLbl>
            <c:dLbl>
              <c:idx val="1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77E-4F29-87DF-0FE64D0B037A}"/>
                </c:ext>
              </c:extLst>
            </c:dLbl>
            <c:dLbl>
              <c:idx val="1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B-B77E-4F29-87DF-0FE64D0B037A}"/>
                </c:ext>
              </c:extLst>
            </c:dLbl>
            <c:dLbl>
              <c:idx val="1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B77E-4F29-87DF-0FE64D0B037A}"/>
                </c:ext>
              </c:extLst>
            </c:dLbl>
            <c:dLbl>
              <c:idx val="13"/>
              <c:tx>
                <c:rich>
                  <a:bodyPr/>
                  <a:lstStyle/>
                  <a:p>
                    <a:fld id="{E5285EE6-DD1B-4038-90D0-C5E90CC25B6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77E-4F29-87DF-0FE64D0B037A}"/>
                </c:ext>
              </c:extLst>
            </c:dLbl>
            <c:dLbl>
              <c:idx val="14"/>
              <c:tx>
                <c:rich>
                  <a:bodyPr/>
                  <a:lstStyle/>
                  <a:p>
                    <a:fld id="{97A66980-9210-4D26-B36B-65500A469E1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B77E-4F29-87DF-0FE64D0B037A}"/>
                </c:ext>
              </c:extLst>
            </c:dLbl>
            <c:dLbl>
              <c:idx val="15"/>
              <c:tx>
                <c:rich>
                  <a:bodyPr/>
                  <a:lstStyle/>
                  <a:p>
                    <a:fld id="{BDC50F72-A3FE-4382-B3EB-D85E66A7304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77E-4F29-87DF-0FE64D0B037A}"/>
                </c:ext>
              </c:extLst>
            </c:dLbl>
            <c:dLbl>
              <c:idx val="1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0-B77E-4F29-87DF-0FE64D0B037A}"/>
                </c:ext>
              </c:extLst>
            </c:dLbl>
            <c:dLbl>
              <c:idx val="1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B77E-4F29-87DF-0FE64D0B037A}"/>
                </c:ext>
              </c:extLst>
            </c:dLbl>
            <c:dLbl>
              <c:idx val="1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2-B77E-4F29-87DF-0FE64D0B037A}"/>
                </c:ext>
              </c:extLst>
            </c:dLbl>
            <c:dLbl>
              <c:idx val="19"/>
              <c:tx>
                <c:rich>
                  <a:bodyPr/>
                  <a:lstStyle/>
                  <a:p>
                    <a:fld id="{3FCE292B-927B-453F-870A-A893D9D54BB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77E-4F29-87DF-0FE64D0B037A}"/>
                </c:ext>
              </c:extLst>
            </c:dLbl>
            <c:dLbl>
              <c:idx val="20"/>
              <c:tx>
                <c:rich>
                  <a:bodyPr/>
                  <a:lstStyle/>
                  <a:p>
                    <a:fld id="{C0511948-8DED-4279-8871-4A07035B86D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77E-4F29-87DF-0FE64D0B037A}"/>
                </c:ext>
              </c:extLst>
            </c:dLbl>
            <c:dLbl>
              <c:idx val="21"/>
              <c:tx>
                <c:rich>
                  <a:bodyPr/>
                  <a:lstStyle/>
                  <a:p>
                    <a:fld id="{5E39EE05-A8A9-4511-91B8-7F9F5069704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77E-4F29-87DF-0FE64D0B037A}"/>
                </c:ext>
              </c:extLst>
            </c:dLbl>
            <c:dLbl>
              <c:idx val="2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77E-4F29-87DF-0FE64D0B037A}"/>
                </c:ext>
              </c:extLst>
            </c:dLbl>
            <c:dLbl>
              <c:idx val="23"/>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77E-4F29-87DF-0FE64D0B037A}"/>
                </c:ext>
              </c:extLst>
            </c:dLbl>
            <c:dLbl>
              <c:idx val="2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77E-4F29-87DF-0FE64D0B037A}"/>
                </c:ext>
              </c:extLst>
            </c:dLbl>
            <c:dLbl>
              <c:idx val="25"/>
              <c:tx>
                <c:rich>
                  <a:bodyPr/>
                  <a:lstStyle/>
                  <a:p>
                    <a:fld id="{157D7EC7-22E3-4CE4-87D0-2593E9D0C27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77E-4F29-87DF-0FE64D0B037A}"/>
                </c:ext>
              </c:extLst>
            </c:dLbl>
            <c:dLbl>
              <c:idx val="26"/>
              <c:tx>
                <c:rich>
                  <a:bodyPr/>
                  <a:lstStyle/>
                  <a:p>
                    <a:fld id="{9E8A231A-82CE-4BC3-A6CF-A43A01667F5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77E-4F29-87DF-0FE64D0B037A}"/>
                </c:ext>
              </c:extLst>
            </c:dLbl>
            <c:dLbl>
              <c:idx val="27"/>
              <c:tx>
                <c:rich>
                  <a:bodyPr/>
                  <a:lstStyle/>
                  <a:p>
                    <a:fld id="{4BA88A17-8B93-4B6C-82E6-A6A3BDAC589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77E-4F29-87DF-0FE64D0B037A}"/>
                </c:ext>
              </c:extLst>
            </c:dLbl>
            <c:dLbl>
              <c:idx val="28"/>
              <c:tx>
                <c:rich>
                  <a:bodyPr/>
                  <a:lstStyle/>
                  <a:p>
                    <a:fld id="{01A13E1B-C3AD-4159-8C59-628F714F282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77E-4F29-87DF-0FE64D0B037A}"/>
                </c:ext>
              </c:extLst>
            </c:dLbl>
            <c:dLbl>
              <c:idx val="29"/>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77E-4F29-87DF-0FE64D0B037A}"/>
                </c:ext>
              </c:extLst>
            </c:dLbl>
            <c:dLbl>
              <c:idx val="3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77E-4F29-87DF-0FE64D0B037A}"/>
                </c:ext>
              </c:extLst>
            </c:dLbl>
            <c:dLbl>
              <c:idx val="31"/>
              <c:tx>
                <c:rich>
                  <a:bodyPr/>
                  <a:lstStyle/>
                  <a:p>
                    <a:fld id="{7A533816-FDC4-451D-B004-4CBDB9A364D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77E-4F29-87DF-0FE64D0B037A}"/>
                </c:ext>
              </c:extLst>
            </c:dLbl>
            <c:dLbl>
              <c:idx val="32"/>
              <c:tx>
                <c:rich>
                  <a:bodyPr/>
                  <a:lstStyle/>
                  <a:p>
                    <a:fld id="{2289A1AD-3688-4BCE-9C9C-6ED994781D0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77E-4F29-87DF-0FE64D0B037A}"/>
                </c:ext>
              </c:extLst>
            </c:dLbl>
            <c:dLbl>
              <c:idx val="33"/>
              <c:tx>
                <c:rich>
                  <a:bodyPr/>
                  <a:lstStyle/>
                  <a:p>
                    <a:fld id="{56222AF5-9FBA-4DAD-B27A-06477C95E54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77E-4F29-87DF-0FE64D0B037A}"/>
                </c:ext>
              </c:extLst>
            </c:dLbl>
            <c:dLbl>
              <c:idx val="3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B77E-4F29-87DF-0FE64D0B037A}"/>
                </c:ext>
              </c:extLst>
            </c:dLbl>
            <c:dLbl>
              <c:idx val="35"/>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B77E-4F29-87DF-0FE64D0B037A}"/>
                </c:ext>
              </c:extLst>
            </c:dLbl>
            <c:dLbl>
              <c:idx val="3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B77E-4F29-87DF-0FE64D0B037A}"/>
                </c:ext>
              </c:extLst>
            </c:dLbl>
            <c:dLbl>
              <c:idx val="37"/>
              <c:tx>
                <c:rich>
                  <a:bodyPr/>
                  <a:lstStyle/>
                  <a:p>
                    <a:fld id="{9982D7CF-3F63-4946-A74C-0222CD10B6E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77E-4F29-87DF-0FE64D0B037A}"/>
                </c:ext>
              </c:extLst>
            </c:dLbl>
            <c:dLbl>
              <c:idx val="38"/>
              <c:tx>
                <c:rich>
                  <a:bodyPr/>
                  <a:lstStyle/>
                  <a:p>
                    <a:fld id="{3B8446E2-BE4E-499B-8613-76BEFA141FE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77E-4F29-87DF-0FE64D0B037A}"/>
                </c:ext>
              </c:extLst>
            </c:dLbl>
            <c:dLbl>
              <c:idx val="39"/>
              <c:tx>
                <c:rich>
                  <a:bodyPr/>
                  <a:lstStyle/>
                  <a:p>
                    <a:fld id="{87A47706-D000-420C-8C20-392586F3FF6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77E-4F29-87DF-0FE64D0B037A}"/>
                </c:ext>
              </c:extLst>
            </c:dLbl>
            <c:dLbl>
              <c:idx val="4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77E-4F29-87DF-0FE64D0B037A}"/>
                </c:ext>
              </c:extLst>
            </c:dLbl>
            <c:dLbl>
              <c:idx val="4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77E-4F29-87DF-0FE64D0B037A}"/>
                </c:ext>
              </c:extLst>
            </c:dLbl>
            <c:dLbl>
              <c:idx val="4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77E-4F29-87DF-0FE64D0B037A}"/>
                </c:ext>
              </c:extLst>
            </c:dLbl>
            <c:dLbl>
              <c:idx val="43"/>
              <c:tx>
                <c:rich>
                  <a:bodyPr/>
                  <a:lstStyle/>
                  <a:p>
                    <a:fld id="{F7516BAC-D67E-4C35-89D2-C199D8DBF09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77E-4F29-87DF-0FE64D0B037A}"/>
                </c:ext>
              </c:extLst>
            </c:dLbl>
            <c:dLbl>
              <c:idx val="44"/>
              <c:tx>
                <c:rich>
                  <a:bodyPr/>
                  <a:lstStyle/>
                  <a:p>
                    <a:fld id="{5733E0E7-5F15-45A2-80D0-051E0359571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77E-4F29-87DF-0FE64D0B037A}"/>
                </c:ext>
              </c:extLst>
            </c:dLbl>
            <c:dLbl>
              <c:idx val="45"/>
              <c:tx>
                <c:rich>
                  <a:bodyPr/>
                  <a:lstStyle/>
                  <a:p>
                    <a:fld id="{6E4EFEB0-F6B0-4279-A8E3-D204359D638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77E-4F29-87DF-0FE64D0B037A}"/>
                </c:ext>
              </c:extLst>
            </c:dLbl>
            <c:dLbl>
              <c:idx val="49"/>
              <c:tx>
                <c:rich>
                  <a:bodyPr/>
                  <a:lstStyle/>
                  <a:p>
                    <a:fld id="{A43DBCE5-C088-4642-965D-DE1E936F267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77E-4F29-87DF-0FE64D0B037A}"/>
                </c:ext>
              </c:extLst>
            </c:dLbl>
            <c:dLbl>
              <c:idx val="50"/>
              <c:tx>
                <c:rich>
                  <a:bodyPr/>
                  <a:lstStyle/>
                  <a:p>
                    <a:fld id="{5B173D64-B6B7-4026-8317-28D270C38CB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77E-4F29-87DF-0FE64D0B037A}"/>
                </c:ext>
              </c:extLst>
            </c:dLbl>
            <c:dLbl>
              <c:idx val="51"/>
              <c:tx>
                <c:rich>
                  <a:bodyPr/>
                  <a:lstStyle/>
                  <a:p>
                    <a:fld id="{3DD4CB86-91FF-4C3F-B811-167437DC62F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77E-4F29-87DF-0FE64D0B037A}"/>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4</c:f>
              <c:strCache>
                <c:ptCount val="43"/>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strCache>
            </c:strRef>
          </c:cat>
          <c:val>
            <c:numRef>
              <c:f>Sheet1!$B$2:$B$44</c:f>
              <c:numCache>
                <c:formatCode>General</c:formatCode>
                <c:ptCount val="43"/>
                <c:pt idx="0">
                  <c:v>1</c:v>
                </c:pt>
                <c:pt idx="1">
                  <c:v>1</c:v>
                </c:pt>
                <c:pt idx="2">
                  <c:v>1</c:v>
                </c:pt>
                <c:pt idx="3">
                  <c:v>1</c:v>
                </c:pt>
                <c:pt idx="4">
                  <c:v>1</c:v>
                </c:pt>
                <c:pt idx="6">
                  <c:v>1</c:v>
                </c:pt>
                <c:pt idx="7">
                  <c:v>1</c:v>
                </c:pt>
                <c:pt idx="27">
                  <c:v>1</c:v>
                </c:pt>
                <c:pt idx="28">
                  <c:v>1</c:v>
                </c:pt>
                <c:pt idx="33">
                  <c:v>1</c:v>
                </c:pt>
                <c:pt idx="34">
                  <c:v>1</c:v>
                </c:pt>
                <c:pt idx="35">
                  <c:v>1</c:v>
                </c:pt>
                <c:pt idx="36">
                  <c:v>1</c:v>
                </c:pt>
                <c:pt idx="37">
                  <c:v>1</c:v>
                </c:pt>
                <c:pt idx="38">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B77E-4F29-87DF-0FE64D0B037A}"/>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dPt>
            <c:idx val="38"/>
            <c:marker>
              <c:spPr>
                <a:solidFill>
                  <a:srgbClr val="E6E5E5"/>
                </a:solidFill>
                <a:ln>
                  <a:solidFill>
                    <a:srgbClr val="E6E5E5"/>
                  </a:solidFill>
                </a:ln>
              </c:spPr>
            </c:marker>
            <c:bubble3D val="0"/>
            <c:extLst>
              <c:ext xmlns:c16="http://schemas.microsoft.com/office/drawing/2014/chart" uri="{C3380CC4-5D6E-409C-BE32-E72D297353CC}">
                <c16:uniqueId val="{00000000-3F6F-4CE1-9F29-799ADDD786FD}"/>
              </c:ext>
            </c:extLst>
          </c:dPt>
          <c:dLbls>
            <c:dLbl>
              <c:idx val="38"/>
              <c:tx>
                <c:rich>
                  <a:bodyPr/>
                  <a:lstStyle/>
                  <a:p>
                    <a:r>
                      <a:rPr sz="800">
                        <a:solidFill>
                          <a:srgbClr val="00A097"/>
                        </a:solidFill>
                      </a:rPr>
                      <a:t>240%</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6F-4CE1-9F29-799ADDD786F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44</c:f>
              <c:strCache>
                <c:ptCount val="43"/>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strCache>
            </c:strRef>
          </c:cat>
          <c:val>
            <c:numRef>
              <c:f>Sheet1!$C$2:$C$44</c:f>
              <c:numCache>
                <c:formatCode>General</c:formatCode>
                <c:ptCount val="43"/>
                <c:pt idx="38">
                  <c:v>1.8</c:v>
                </c:pt>
              </c:numCache>
            </c:numRef>
          </c:val>
          <c:smooth val="0"/>
          <c:extLst>
            <c:ext xmlns:c16="http://schemas.microsoft.com/office/drawing/2014/chart" uri="{C3380CC4-5D6E-409C-BE32-E72D297353CC}">
              <c16:uniqueId val="{00000035-B77E-4F29-87DF-0FE64D0B037A}"/>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675118651396688"/>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cat>
            <c:strRef>
              <c:f>Sheet1!$A$2:$A$41</c:f>
              <c:strCache>
                <c:ptCount val="40"/>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8-04</c:v>
                </c:pt>
                <c:pt idx="16">
                  <c:v>2024-08-11</c:v>
                </c:pt>
                <c:pt idx="17">
                  <c:v>2024-08-18</c:v>
                </c:pt>
                <c:pt idx="18">
                  <c:v>2024-08-25</c:v>
                </c:pt>
                <c:pt idx="19">
                  <c:v>2024-09-01</c:v>
                </c:pt>
                <c:pt idx="20">
                  <c:v>2024-09-08</c:v>
                </c:pt>
                <c:pt idx="21">
                  <c:v>2024-09-15</c:v>
                </c:pt>
                <c:pt idx="22">
                  <c:v>2024-09-22</c:v>
                </c:pt>
                <c:pt idx="23">
                  <c:v>2024-09-29</c:v>
                </c:pt>
                <c:pt idx="24">
                  <c:v>2024-10-13</c:v>
                </c:pt>
                <c:pt idx="25">
                  <c:v>2024-10-20</c:v>
                </c:pt>
                <c:pt idx="26">
                  <c:v>2024-10-27</c:v>
                </c:pt>
                <c:pt idx="27">
                  <c:v>2024-11-03</c:v>
                </c:pt>
                <c:pt idx="28">
                  <c:v>2024-11-10</c:v>
                </c:pt>
                <c:pt idx="29">
                  <c:v>2024-11-17</c:v>
                </c:pt>
                <c:pt idx="30">
                  <c:v>2024-11-24</c:v>
                </c:pt>
                <c:pt idx="31">
                  <c:v>2024-12-01</c:v>
                </c:pt>
                <c:pt idx="32">
                  <c:v>2024-12-08</c:v>
                </c:pt>
                <c:pt idx="33">
                  <c:v>2024-12-15</c:v>
                </c:pt>
                <c:pt idx="34">
                  <c:v>2024-12-22</c:v>
                </c:pt>
                <c:pt idx="35">
                  <c:v>2024-12-29</c:v>
                </c:pt>
                <c:pt idx="36">
                  <c:v>2025-01-05</c:v>
                </c:pt>
                <c:pt idx="37">
                  <c:v>2025-01-12</c:v>
                </c:pt>
                <c:pt idx="38">
                  <c:v>2025-01-19</c:v>
                </c:pt>
                <c:pt idx="39">
                  <c:v>2025-01-26</c:v>
                </c:pt>
              </c:strCache>
            </c:strRef>
          </c:cat>
          <c:val>
            <c:numRef>
              <c:f>Sheet1!$B$2:$B$41</c:f>
              <c:numCache>
                <c:formatCode>General</c:formatCode>
                <c:ptCount val="40"/>
                <c:pt idx="0">
                  <c:v>1</c:v>
                </c:pt>
                <c:pt idx="1">
                  <c:v>1</c:v>
                </c:pt>
                <c:pt idx="2">
                  <c:v>1</c:v>
                </c:pt>
                <c:pt idx="3">
                  <c:v>1</c:v>
                </c:pt>
                <c:pt idx="4">
                  <c:v>1</c:v>
                </c:pt>
                <c:pt idx="6">
                  <c:v>1</c:v>
                </c:pt>
                <c:pt idx="7">
                  <c:v>1</c:v>
                </c:pt>
                <c:pt idx="8">
                  <c:v>1</c:v>
                </c:pt>
                <c:pt idx="9">
                  <c:v>1</c:v>
                </c:pt>
                <c:pt idx="10">
                  <c:v>1</c:v>
                </c:pt>
                <c:pt idx="11">
                  <c:v>1</c:v>
                </c:pt>
                <c:pt idx="12">
                  <c:v>1</c:v>
                </c:pt>
                <c:pt idx="13">
                  <c:v>1</c:v>
                </c:pt>
                <c:pt idx="15">
                  <c:v>1</c:v>
                </c:pt>
                <c:pt idx="16">
                  <c:v>1</c:v>
                </c:pt>
                <c:pt idx="17">
                  <c:v>1</c:v>
                </c:pt>
                <c:pt idx="18">
                  <c:v>1</c:v>
                </c:pt>
                <c:pt idx="25">
                  <c:v>1</c:v>
                </c:pt>
                <c:pt idx="26">
                  <c:v>1</c:v>
                </c:pt>
                <c:pt idx="27">
                  <c:v>1</c:v>
                </c:pt>
                <c:pt idx="28">
                  <c:v>1</c:v>
                </c:pt>
                <c:pt idx="29">
                  <c:v>1</c:v>
                </c:pt>
                <c:pt idx="30">
                  <c:v>1</c:v>
                </c:pt>
                <c:pt idx="31">
                  <c:v>1</c:v>
                </c:pt>
                <c:pt idx="32">
                  <c:v>1</c:v>
                </c:pt>
                <c:pt idx="33">
                  <c:v>1</c:v>
                </c:pt>
                <c:pt idx="34">
                  <c:v>1</c:v>
                </c:pt>
                <c:pt idx="35">
                  <c:v>1</c:v>
                </c:pt>
                <c:pt idx="36">
                  <c:v>1</c:v>
                </c:pt>
                <c:pt idx="37">
                  <c:v>1</c:v>
                </c:pt>
                <c:pt idx="38">
                  <c:v>1</c:v>
                </c:pt>
                <c:pt idx="39">
                  <c:v>1</c:v>
                </c:pt>
              </c:numCache>
            </c:numRef>
          </c:val>
          <c:extLst>
            <c:ext xmlns:c16="http://schemas.microsoft.com/office/drawing/2014/chart" uri="{C3380CC4-5D6E-409C-BE32-E72D297353CC}">
              <c16:uniqueId val="{00000000-6B0A-4292-A357-CC7FA9851ABC}"/>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cat>
            <c:strRef>
              <c:f>Sheet1!$A$2:$A$41</c:f>
              <c:strCache>
                <c:ptCount val="40"/>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8-04</c:v>
                </c:pt>
                <c:pt idx="16">
                  <c:v>2024-08-11</c:v>
                </c:pt>
                <c:pt idx="17">
                  <c:v>2024-08-18</c:v>
                </c:pt>
                <c:pt idx="18">
                  <c:v>2024-08-25</c:v>
                </c:pt>
                <c:pt idx="19">
                  <c:v>2024-09-01</c:v>
                </c:pt>
                <c:pt idx="20">
                  <c:v>2024-09-08</c:v>
                </c:pt>
                <c:pt idx="21">
                  <c:v>2024-09-15</c:v>
                </c:pt>
                <c:pt idx="22">
                  <c:v>2024-09-22</c:v>
                </c:pt>
                <c:pt idx="23">
                  <c:v>2024-09-29</c:v>
                </c:pt>
                <c:pt idx="24">
                  <c:v>2024-10-13</c:v>
                </c:pt>
                <c:pt idx="25">
                  <c:v>2024-10-20</c:v>
                </c:pt>
                <c:pt idx="26">
                  <c:v>2024-10-27</c:v>
                </c:pt>
                <c:pt idx="27">
                  <c:v>2024-11-03</c:v>
                </c:pt>
                <c:pt idx="28">
                  <c:v>2024-11-10</c:v>
                </c:pt>
                <c:pt idx="29">
                  <c:v>2024-11-17</c:v>
                </c:pt>
                <c:pt idx="30">
                  <c:v>2024-11-24</c:v>
                </c:pt>
                <c:pt idx="31">
                  <c:v>2024-12-01</c:v>
                </c:pt>
                <c:pt idx="32">
                  <c:v>2024-12-08</c:v>
                </c:pt>
                <c:pt idx="33">
                  <c:v>2024-12-15</c:v>
                </c:pt>
                <c:pt idx="34">
                  <c:v>2024-12-22</c:v>
                </c:pt>
                <c:pt idx="35">
                  <c:v>2024-12-29</c:v>
                </c:pt>
                <c:pt idx="36">
                  <c:v>2025-01-05</c:v>
                </c:pt>
                <c:pt idx="37">
                  <c:v>2025-01-12</c:v>
                </c:pt>
                <c:pt idx="38">
                  <c:v>2025-01-19</c:v>
                </c:pt>
                <c:pt idx="39">
                  <c:v>2025-01-26</c:v>
                </c:pt>
              </c:strCache>
            </c:strRef>
          </c:cat>
          <c:val>
            <c:numRef>
              <c:f>Sheet1!$C$2:$C$41</c:f>
              <c:numCache>
                <c:formatCode>General</c:formatCode>
                <c:ptCount val="40"/>
                <c:pt idx="0">
                  <c:v>0.29105171411969782</c:v>
                </c:pt>
                <c:pt idx="1">
                  <c:v>0.26958350561296179</c:v>
                </c:pt>
                <c:pt idx="2">
                  <c:v>0.33402230317329995</c:v>
                </c:pt>
                <c:pt idx="3">
                  <c:v>0.18122054709132235</c:v>
                </c:pt>
                <c:pt idx="9">
                  <c:v>0.1766838586021581</c:v>
                </c:pt>
                <c:pt idx="10">
                  <c:v>0.19749181785499278</c:v>
                </c:pt>
                <c:pt idx="11">
                  <c:v>0.20018518467052601</c:v>
                </c:pt>
                <c:pt idx="12">
                  <c:v>0.3425875453811883</c:v>
                </c:pt>
                <c:pt idx="13">
                  <c:v>0.37551001419060043</c:v>
                </c:pt>
                <c:pt idx="15">
                  <c:v>0.41830334795795177</c:v>
                </c:pt>
                <c:pt idx="16">
                  <c:v>0.54999579513918084</c:v>
                </c:pt>
                <c:pt idx="17">
                  <c:v>0.62837766796341077</c:v>
                </c:pt>
                <c:pt idx="18">
                  <c:v>0.39377982984021581</c:v>
                </c:pt>
                <c:pt idx="25">
                  <c:v>0.16622326818786454</c:v>
                </c:pt>
                <c:pt idx="26">
                  <c:v>0.36911601653059167</c:v>
                </c:pt>
                <c:pt idx="27">
                  <c:v>0.17901745768842692</c:v>
                </c:pt>
                <c:pt idx="28">
                  <c:v>0.35651546521111738</c:v>
                </c:pt>
                <c:pt idx="29">
                  <c:v>0.29145752143413872</c:v>
                </c:pt>
                <c:pt idx="30">
                  <c:v>0.18382230412578296</c:v>
                </c:pt>
                <c:pt idx="32">
                  <c:v>7.3635219324882942E-2</c:v>
                </c:pt>
                <c:pt idx="33">
                  <c:v>0.70051489904676123</c:v>
                </c:pt>
                <c:pt idx="34">
                  <c:v>0.73034245264970343</c:v>
                </c:pt>
                <c:pt idx="35">
                  <c:v>0.5132734912146677</c:v>
                </c:pt>
                <c:pt idx="36">
                  <c:v>8.367974333378031E-2</c:v>
                </c:pt>
                <c:pt idx="37">
                  <c:v>0.39932925920405427</c:v>
                </c:pt>
                <c:pt idx="38">
                  <c:v>0.45419936975201114</c:v>
                </c:pt>
                <c:pt idx="39">
                  <c:v>0.42425202839756593</c:v>
                </c:pt>
              </c:numCache>
            </c:numRef>
          </c:val>
          <c:smooth val="0"/>
          <c:extLst>
            <c:ext xmlns:c16="http://schemas.microsoft.com/office/drawing/2014/chart" uri="{C3380CC4-5D6E-409C-BE32-E72D297353CC}">
              <c16:uniqueId val="{00000001-6B0A-4292-A357-CC7FA9851ABC}"/>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6308329537389168"/>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dLbls>
            <c:dLbl>
              <c:idx val="0"/>
              <c:tx>
                <c:rich>
                  <a:bodyPr/>
                  <a:lstStyle/>
                  <a:p>
                    <a:fld id="{6EFBA35C-9D16-4698-83F0-2EBACEEBABC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B77E-4F29-87DF-0FE64D0B037A}"/>
                </c:ext>
              </c:extLst>
            </c:dLbl>
            <c:dLbl>
              <c:idx val="1"/>
              <c:tx>
                <c:rich>
                  <a:bodyPr/>
                  <a:lstStyle/>
                  <a:p>
                    <a:fld id="{8A36EC08-D2B7-4208-8F95-22B82CAD4F2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77E-4F29-87DF-0FE64D0B037A}"/>
                </c:ext>
              </c:extLst>
            </c:dLbl>
            <c:dLbl>
              <c:idx val="2"/>
              <c:tx>
                <c:rich>
                  <a:bodyPr/>
                  <a:lstStyle/>
                  <a:p>
                    <a:fld id="{20F2C301-156D-46BA-BB6A-ACAAF843CE7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B77E-4F29-87DF-0FE64D0B037A}"/>
                </c:ext>
              </c:extLst>
            </c:dLbl>
            <c:dLbl>
              <c:idx val="3"/>
              <c:tx>
                <c:rich>
                  <a:bodyPr/>
                  <a:lstStyle/>
                  <a:p>
                    <a:fld id="{C4B8C162-BB9D-4BAC-85E7-B5A3B1DD27D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77E-4F29-87DF-0FE64D0B037A}"/>
                </c:ext>
              </c:extLst>
            </c:dLbl>
            <c:dLbl>
              <c:idx val="4"/>
              <c:tx>
                <c:rich>
                  <a:bodyPr/>
                  <a:lstStyle/>
                  <a:p>
                    <a:fld id="{829D611C-2710-4A94-B4F4-98D37533868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B77E-4F29-87DF-0FE64D0B037A}"/>
                </c:ext>
              </c:extLst>
            </c:dLbl>
            <c:dLbl>
              <c:idx val="5"/>
              <c:tx>
                <c:rich>
                  <a:bodyPr/>
                  <a:lstStyle/>
                  <a:p>
                    <a:fld id="{AC8A0A1B-1F84-40AB-A17A-445185BAA7C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77E-4F29-87DF-0FE64D0B037A}"/>
                </c:ext>
              </c:extLst>
            </c:dLbl>
            <c:dLbl>
              <c:idx val="6"/>
              <c:tx>
                <c:rich>
                  <a:bodyPr/>
                  <a:lstStyle/>
                  <a:p>
                    <a:fld id="{D46EFFDC-9BC1-4539-BF69-5CD794641AF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B77E-4F29-87DF-0FE64D0B037A}"/>
                </c:ext>
              </c:extLst>
            </c:dLbl>
            <c:dLbl>
              <c:idx val="7"/>
              <c:tx>
                <c:rich>
                  <a:bodyPr/>
                  <a:lstStyle/>
                  <a:p>
                    <a:fld id="{14D1F130-CD93-4943-82D6-BF3A8A08868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77E-4F29-87DF-0FE64D0B037A}"/>
                </c:ext>
              </c:extLst>
            </c:dLbl>
            <c:dLbl>
              <c:idx val="8"/>
              <c:tx>
                <c:rich>
                  <a:bodyPr/>
                  <a:lstStyle/>
                  <a:p>
                    <a:fld id="{19E225E3-6F6F-40B6-827F-E783997098E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B77E-4F29-87DF-0FE64D0B037A}"/>
                </c:ext>
              </c:extLst>
            </c:dLbl>
            <c:dLbl>
              <c:idx val="9"/>
              <c:tx>
                <c:rich>
                  <a:bodyPr/>
                  <a:lstStyle/>
                  <a:p>
                    <a:fld id="{C8CC275B-7CED-4362-A642-736A82A9663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77E-4F29-87DF-0FE64D0B037A}"/>
                </c:ext>
              </c:extLst>
            </c:dLbl>
            <c:dLbl>
              <c:idx val="1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77E-4F29-87DF-0FE64D0B037A}"/>
                </c:ext>
              </c:extLst>
            </c:dLbl>
            <c:dLbl>
              <c:idx val="1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B-B77E-4F29-87DF-0FE64D0B037A}"/>
                </c:ext>
              </c:extLst>
            </c:dLbl>
            <c:dLbl>
              <c:idx val="1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B77E-4F29-87DF-0FE64D0B037A}"/>
                </c:ext>
              </c:extLst>
            </c:dLbl>
            <c:dLbl>
              <c:idx val="13"/>
              <c:tx>
                <c:rich>
                  <a:bodyPr/>
                  <a:lstStyle/>
                  <a:p>
                    <a:fld id="{E2B79B82-8576-43ED-AF26-9B63A0FC5B1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77E-4F29-87DF-0FE64D0B037A}"/>
                </c:ext>
              </c:extLst>
            </c:dLbl>
            <c:dLbl>
              <c:idx val="14"/>
              <c:tx>
                <c:rich>
                  <a:bodyPr/>
                  <a:lstStyle/>
                  <a:p>
                    <a:fld id="{2071582A-1A6D-42DD-A94A-50316E38F6C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B77E-4F29-87DF-0FE64D0B037A}"/>
                </c:ext>
              </c:extLst>
            </c:dLbl>
            <c:dLbl>
              <c:idx val="15"/>
              <c:tx>
                <c:rich>
                  <a:bodyPr/>
                  <a:lstStyle/>
                  <a:p>
                    <a:fld id="{3A4EB2B1-DD3A-41D6-9B57-774031288E5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77E-4F29-87DF-0FE64D0B037A}"/>
                </c:ext>
              </c:extLst>
            </c:dLbl>
            <c:dLbl>
              <c:idx val="1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0-B77E-4F29-87DF-0FE64D0B037A}"/>
                </c:ext>
              </c:extLst>
            </c:dLbl>
            <c:dLbl>
              <c:idx val="1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B77E-4F29-87DF-0FE64D0B037A}"/>
                </c:ext>
              </c:extLst>
            </c:dLbl>
            <c:dLbl>
              <c:idx val="1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2-B77E-4F29-87DF-0FE64D0B037A}"/>
                </c:ext>
              </c:extLst>
            </c:dLbl>
            <c:dLbl>
              <c:idx val="19"/>
              <c:tx>
                <c:rich>
                  <a:bodyPr/>
                  <a:lstStyle/>
                  <a:p>
                    <a:fld id="{D0FD12DF-B455-4CB2-8D22-C9A3216F29D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77E-4F29-87DF-0FE64D0B037A}"/>
                </c:ext>
              </c:extLst>
            </c:dLbl>
            <c:dLbl>
              <c:idx val="20"/>
              <c:tx>
                <c:rich>
                  <a:bodyPr/>
                  <a:lstStyle/>
                  <a:p>
                    <a:fld id="{37A74A54-D13F-4E00-A034-5926EAEF6CE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77E-4F29-87DF-0FE64D0B037A}"/>
                </c:ext>
              </c:extLst>
            </c:dLbl>
            <c:dLbl>
              <c:idx val="21"/>
              <c:tx>
                <c:rich>
                  <a:bodyPr/>
                  <a:lstStyle/>
                  <a:p>
                    <a:fld id="{87DA96B7-C9DB-47D8-AE9F-F5F86B9309D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77E-4F29-87DF-0FE64D0B037A}"/>
                </c:ext>
              </c:extLst>
            </c:dLbl>
            <c:dLbl>
              <c:idx val="2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77E-4F29-87DF-0FE64D0B037A}"/>
                </c:ext>
              </c:extLst>
            </c:dLbl>
            <c:dLbl>
              <c:idx val="23"/>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77E-4F29-87DF-0FE64D0B037A}"/>
                </c:ext>
              </c:extLst>
            </c:dLbl>
            <c:dLbl>
              <c:idx val="2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B77E-4F29-87DF-0FE64D0B037A}"/>
                </c:ext>
              </c:extLst>
            </c:dLbl>
            <c:dLbl>
              <c:idx val="25"/>
              <c:tx>
                <c:rich>
                  <a:bodyPr/>
                  <a:lstStyle/>
                  <a:p>
                    <a:fld id="{D785F9A6-D946-44E1-B199-A52E9A8E95D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77E-4F29-87DF-0FE64D0B037A}"/>
                </c:ext>
              </c:extLst>
            </c:dLbl>
            <c:dLbl>
              <c:idx val="26"/>
              <c:tx>
                <c:rich>
                  <a:bodyPr/>
                  <a:lstStyle/>
                  <a:p>
                    <a:fld id="{8949444C-2E47-4B8A-B4B0-771763CF5BD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77E-4F29-87DF-0FE64D0B037A}"/>
                </c:ext>
              </c:extLst>
            </c:dLbl>
            <c:dLbl>
              <c:idx val="27"/>
              <c:tx>
                <c:rich>
                  <a:bodyPr/>
                  <a:lstStyle/>
                  <a:p>
                    <a:fld id="{20A16092-5847-4C47-BED8-721FDFB1BF1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77E-4F29-87DF-0FE64D0B037A}"/>
                </c:ext>
              </c:extLst>
            </c:dLbl>
            <c:dLbl>
              <c:idx val="28"/>
              <c:tx>
                <c:rich>
                  <a:bodyPr/>
                  <a:lstStyle/>
                  <a:p>
                    <a:fld id="{26519785-C89C-42E4-9753-43DB8693B7D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77E-4F29-87DF-0FE64D0B037A}"/>
                </c:ext>
              </c:extLst>
            </c:dLbl>
            <c:dLbl>
              <c:idx val="29"/>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77E-4F29-87DF-0FE64D0B037A}"/>
                </c:ext>
              </c:extLst>
            </c:dLbl>
            <c:dLbl>
              <c:idx val="3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77E-4F29-87DF-0FE64D0B037A}"/>
                </c:ext>
              </c:extLst>
            </c:dLbl>
            <c:dLbl>
              <c:idx val="31"/>
              <c:tx>
                <c:rich>
                  <a:bodyPr/>
                  <a:lstStyle/>
                  <a:p>
                    <a:fld id="{3F106424-3DFE-4DFE-8C22-908F0733E01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77E-4F29-87DF-0FE64D0B037A}"/>
                </c:ext>
              </c:extLst>
            </c:dLbl>
            <c:dLbl>
              <c:idx val="32"/>
              <c:tx>
                <c:rich>
                  <a:bodyPr/>
                  <a:lstStyle/>
                  <a:p>
                    <a:fld id="{69953510-7516-4E4A-9C88-2D251DA8130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77E-4F29-87DF-0FE64D0B037A}"/>
                </c:ext>
              </c:extLst>
            </c:dLbl>
            <c:dLbl>
              <c:idx val="33"/>
              <c:tx>
                <c:rich>
                  <a:bodyPr/>
                  <a:lstStyle/>
                  <a:p>
                    <a:fld id="{2B534E78-017A-4A39-B2DA-E126F000E8F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77E-4F29-87DF-0FE64D0B037A}"/>
                </c:ext>
              </c:extLst>
            </c:dLbl>
            <c:dLbl>
              <c:idx val="3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B77E-4F29-87DF-0FE64D0B037A}"/>
                </c:ext>
              </c:extLst>
            </c:dLbl>
            <c:dLbl>
              <c:idx val="35"/>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B77E-4F29-87DF-0FE64D0B037A}"/>
                </c:ext>
              </c:extLst>
            </c:dLbl>
            <c:dLbl>
              <c:idx val="3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77E-4F29-87DF-0FE64D0B037A}"/>
                </c:ext>
              </c:extLst>
            </c:dLbl>
            <c:dLbl>
              <c:idx val="37"/>
              <c:tx>
                <c:rich>
                  <a:bodyPr/>
                  <a:lstStyle/>
                  <a:p>
                    <a:fld id="{B16CDC62-3207-4DA6-AFBA-19B36961991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77E-4F29-87DF-0FE64D0B037A}"/>
                </c:ext>
              </c:extLst>
            </c:dLbl>
            <c:dLbl>
              <c:idx val="38"/>
              <c:tx>
                <c:rich>
                  <a:bodyPr/>
                  <a:lstStyle/>
                  <a:p>
                    <a:fld id="{D74D3B29-DE3D-439C-9FD4-D3C9E9D9C8C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77E-4F29-87DF-0FE64D0B037A}"/>
                </c:ext>
              </c:extLst>
            </c:dLbl>
            <c:dLbl>
              <c:idx val="39"/>
              <c:tx>
                <c:rich>
                  <a:bodyPr/>
                  <a:lstStyle/>
                  <a:p>
                    <a:fld id="{3390FCA9-6446-43AD-B9EC-E07365DBCC1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77E-4F29-87DF-0FE64D0B037A}"/>
                </c:ext>
              </c:extLst>
            </c:dLbl>
            <c:dLbl>
              <c:idx val="43"/>
              <c:tx>
                <c:rich>
                  <a:bodyPr/>
                  <a:lstStyle/>
                  <a:p>
                    <a:fld id="{8F77DAFD-8904-400F-ABC1-34C0DE665C7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77E-4F29-87DF-0FE64D0B037A}"/>
                </c:ext>
              </c:extLst>
            </c:dLbl>
            <c:dLbl>
              <c:idx val="44"/>
              <c:tx>
                <c:rich>
                  <a:bodyPr/>
                  <a:lstStyle/>
                  <a:p>
                    <a:fld id="{2294FCF8-08B3-410F-ABEF-42AF70E9674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77E-4F29-87DF-0FE64D0B037A}"/>
                </c:ext>
              </c:extLst>
            </c:dLbl>
            <c:dLbl>
              <c:idx val="45"/>
              <c:tx>
                <c:rich>
                  <a:bodyPr/>
                  <a:lstStyle/>
                  <a:p>
                    <a:fld id="{B58F9B07-421C-480A-97F6-451B6F3097E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77E-4F29-87DF-0FE64D0B037A}"/>
                </c:ext>
              </c:extLst>
            </c:dLbl>
            <c:dLbl>
              <c:idx val="49"/>
              <c:tx>
                <c:rich>
                  <a:bodyPr/>
                  <a:lstStyle/>
                  <a:p>
                    <a:fld id="{ED045DAE-A888-47BD-B786-98316624FD9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77E-4F29-87DF-0FE64D0B037A}"/>
                </c:ext>
              </c:extLst>
            </c:dLbl>
            <c:dLbl>
              <c:idx val="50"/>
              <c:tx>
                <c:rich>
                  <a:bodyPr/>
                  <a:lstStyle/>
                  <a:p>
                    <a:fld id="{A3DB66AF-EF9D-4780-9457-4BA3A1D6E05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77E-4F29-87DF-0FE64D0B037A}"/>
                </c:ext>
              </c:extLst>
            </c:dLbl>
            <c:dLbl>
              <c:idx val="51"/>
              <c:tx>
                <c:rich>
                  <a:bodyPr/>
                  <a:lstStyle/>
                  <a:p>
                    <a:fld id="{DB7813C8-1B4C-4497-9090-222C9D6A176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77E-4F29-87DF-0FE64D0B037A}"/>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1</c:f>
              <c:strCache>
                <c:ptCount val="40"/>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8-04</c:v>
                </c:pt>
                <c:pt idx="16">
                  <c:v>2024-08-11</c:v>
                </c:pt>
                <c:pt idx="17">
                  <c:v>2024-08-18</c:v>
                </c:pt>
                <c:pt idx="18">
                  <c:v>2024-08-25</c:v>
                </c:pt>
                <c:pt idx="19">
                  <c:v>2024-09-01</c:v>
                </c:pt>
                <c:pt idx="20">
                  <c:v>2024-09-08</c:v>
                </c:pt>
                <c:pt idx="21">
                  <c:v>2024-09-15</c:v>
                </c:pt>
                <c:pt idx="22">
                  <c:v>2024-09-22</c:v>
                </c:pt>
                <c:pt idx="23">
                  <c:v>2024-09-29</c:v>
                </c:pt>
                <c:pt idx="24">
                  <c:v>2024-10-13</c:v>
                </c:pt>
                <c:pt idx="25">
                  <c:v>2024-10-20</c:v>
                </c:pt>
                <c:pt idx="26">
                  <c:v>2024-10-27</c:v>
                </c:pt>
                <c:pt idx="27">
                  <c:v>2024-11-03</c:v>
                </c:pt>
                <c:pt idx="28">
                  <c:v>2024-11-10</c:v>
                </c:pt>
                <c:pt idx="29">
                  <c:v>2024-11-17</c:v>
                </c:pt>
                <c:pt idx="30">
                  <c:v>2024-11-24</c:v>
                </c:pt>
                <c:pt idx="31">
                  <c:v>2024-12-01</c:v>
                </c:pt>
                <c:pt idx="32">
                  <c:v>2024-12-08</c:v>
                </c:pt>
                <c:pt idx="33">
                  <c:v>2024-12-15</c:v>
                </c:pt>
                <c:pt idx="34">
                  <c:v>2024-12-22</c:v>
                </c:pt>
                <c:pt idx="35">
                  <c:v>2024-12-29</c:v>
                </c:pt>
                <c:pt idx="36">
                  <c:v>2025-01-05</c:v>
                </c:pt>
                <c:pt idx="37">
                  <c:v>2025-01-12</c:v>
                </c:pt>
                <c:pt idx="38">
                  <c:v>2025-01-19</c:v>
                </c:pt>
                <c:pt idx="39">
                  <c:v>2025-01-26</c:v>
                </c:pt>
              </c:strCache>
            </c:strRef>
          </c:cat>
          <c:val>
            <c:numRef>
              <c:f>Sheet1!$B$2:$B$41</c:f>
              <c:numCache>
                <c:formatCode>General</c:formatCode>
                <c:ptCount val="40"/>
                <c:pt idx="24">
                  <c:v>1</c:v>
                </c:pt>
                <c:pt idx="25">
                  <c:v>1</c:v>
                </c:pt>
                <c:pt idx="31">
                  <c:v>1</c:v>
                </c:pt>
                <c:pt idx="32">
                  <c:v>1</c:v>
                </c:pt>
                <c:pt idx="33">
                  <c:v>1</c:v>
                </c:pt>
                <c:pt idx="34">
                  <c:v>1</c:v>
                </c:pt>
                <c:pt idx="35">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B77E-4F29-87DF-0FE64D0B037A}"/>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dPt>
            <c:idx val="35"/>
            <c:marker>
              <c:spPr>
                <a:solidFill>
                  <a:srgbClr val="E6E5E5"/>
                </a:solidFill>
                <a:ln>
                  <a:solidFill>
                    <a:srgbClr val="E6E5E5"/>
                  </a:solidFill>
                </a:ln>
              </c:spPr>
            </c:marker>
            <c:bubble3D val="0"/>
            <c:extLst>
              <c:ext xmlns:c16="http://schemas.microsoft.com/office/drawing/2014/chart" uri="{C3380CC4-5D6E-409C-BE32-E72D297353CC}">
                <c16:uniqueId val="{00000000-B5AC-404F-8EFC-028C5CAEFDD3}"/>
              </c:ext>
            </c:extLst>
          </c:dPt>
          <c:dLbls>
            <c:dLbl>
              <c:idx val="35"/>
              <c:tx>
                <c:rich>
                  <a:bodyPr/>
                  <a:lstStyle/>
                  <a:p>
                    <a:r>
                      <a:rPr sz="800">
                        <a:solidFill>
                          <a:srgbClr val="00A097"/>
                        </a:solidFill>
                      </a:rPr>
                      <a:t>419%</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B5AC-404F-8EFC-028C5CAEFDD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41</c:f>
              <c:strCache>
                <c:ptCount val="40"/>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8-04</c:v>
                </c:pt>
                <c:pt idx="16">
                  <c:v>2024-08-11</c:v>
                </c:pt>
                <c:pt idx="17">
                  <c:v>2024-08-18</c:v>
                </c:pt>
                <c:pt idx="18">
                  <c:v>2024-08-25</c:v>
                </c:pt>
                <c:pt idx="19">
                  <c:v>2024-09-01</c:v>
                </c:pt>
                <c:pt idx="20">
                  <c:v>2024-09-08</c:v>
                </c:pt>
                <c:pt idx="21">
                  <c:v>2024-09-15</c:v>
                </c:pt>
                <c:pt idx="22">
                  <c:v>2024-09-22</c:v>
                </c:pt>
                <c:pt idx="23">
                  <c:v>2024-09-29</c:v>
                </c:pt>
                <c:pt idx="24">
                  <c:v>2024-10-13</c:v>
                </c:pt>
                <c:pt idx="25">
                  <c:v>2024-10-20</c:v>
                </c:pt>
                <c:pt idx="26">
                  <c:v>2024-10-27</c:v>
                </c:pt>
                <c:pt idx="27">
                  <c:v>2024-11-03</c:v>
                </c:pt>
                <c:pt idx="28">
                  <c:v>2024-11-10</c:v>
                </c:pt>
                <c:pt idx="29">
                  <c:v>2024-11-17</c:v>
                </c:pt>
                <c:pt idx="30">
                  <c:v>2024-11-24</c:v>
                </c:pt>
                <c:pt idx="31">
                  <c:v>2024-12-01</c:v>
                </c:pt>
                <c:pt idx="32">
                  <c:v>2024-12-08</c:v>
                </c:pt>
                <c:pt idx="33">
                  <c:v>2024-12-15</c:v>
                </c:pt>
                <c:pt idx="34">
                  <c:v>2024-12-22</c:v>
                </c:pt>
                <c:pt idx="35">
                  <c:v>2024-12-29</c:v>
                </c:pt>
                <c:pt idx="36">
                  <c:v>2025-01-05</c:v>
                </c:pt>
                <c:pt idx="37">
                  <c:v>2025-01-12</c:v>
                </c:pt>
                <c:pt idx="38">
                  <c:v>2025-01-19</c:v>
                </c:pt>
                <c:pt idx="39">
                  <c:v>2025-01-26</c:v>
                </c:pt>
              </c:strCache>
            </c:strRef>
          </c:cat>
          <c:val>
            <c:numRef>
              <c:f>Sheet1!$C$2:$C$41</c:f>
              <c:numCache>
                <c:formatCode>General</c:formatCode>
                <c:ptCount val="40"/>
                <c:pt idx="35">
                  <c:v>1.8</c:v>
                </c:pt>
              </c:numCache>
            </c:numRef>
          </c:val>
          <c:smooth val="0"/>
          <c:extLst>
            <c:ext xmlns:c16="http://schemas.microsoft.com/office/drawing/2014/chart" uri="{C3380CC4-5D6E-409C-BE32-E72D297353CC}">
              <c16:uniqueId val="{00000035-B77E-4F29-87DF-0FE64D0B037A}"/>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8830866852403085"/>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dLbls>
            <c:dLbl>
              <c:idx val="0"/>
              <c:tx>
                <c:rich>
                  <a:bodyPr/>
                  <a:lstStyle/>
                  <a:p>
                    <a:fld id="{A5C6A0BC-D2EF-484D-B676-03B1AC4AEC4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738-4A3D-98BB-3D0CBF671497}"/>
                </c:ext>
              </c:extLst>
            </c:dLbl>
            <c:dLbl>
              <c:idx val="1"/>
              <c:tx>
                <c:rich>
                  <a:bodyPr/>
                  <a:lstStyle/>
                  <a:p>
                    <a:fld id="{F170299B-C718-41AC-8861-8DCE8533629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738-4A3D-98BB-3D0CBF671497}"/>
                </c:ext>
              </c:extLst>
            </c:dLbl>
            <c:dLbl>
              <c:idx val="2"/>
              <c:tx>
                <c:rich>
                  <a:bodyPr/>
                  <a:lstStyle/>
                  <a:p>
                    <a:fld id="{3D0121A2-5E63-48BC-A5D6-977E6478652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738-4A3D-98BB-3D0CBF671497}"/>
                </c:ext>
              </c:extLst>
            </c:dLbl>
            <c:dLbl>
              <c:idx val="3"/>
              <c:tx>
                <c:rich>
                  <a:bodyPr/>
                  <a:lstStyle/>
                  <a:p>
                    <a:fld id="{1350369B-4373-4528-AF77-0EC1604B061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738-4A3D-98BB-3D0CBF671497}"/>
                </c:ext>
              </c:extLst>
            </c:dLbl>
            <c:dLbl>
              <c:idx val="4"/>
              <c:tx>
                <c:rich>
                  <a:bodyPr/>
                  <a:lstStyle/>
                  <a:p>
                    <a:fld id="{6D204820-4D68-4A50-A4AB-57A91D5D4A2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C738-4A3D-98BB-3D0CBF671497}"/>
                </c:ext>
              </c:extLst>
            </c:dLbl>
            <c:dLbl>
              <c:idx val="5"/>
              <c:tx>
                <c:rich>
                  <a:bodyPr/>
                  <a:lstStyle/>
                  <a:p>
                    <a:fld id="{C3CCC28A-20EE-4275-AE88-09D2418C6EF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C738-4A3D-98BB-3D0CBF671497}"/>
                </c:ext>
              </c:extLst>
            </c:dLbl>
            <c:dLbl>
              <c:idx val="6"/>
              <c:tx>
                <c:rich>
                  <a:bodyPr/>
                  <a:lstStyle/>
                  <a:p>
                    <a:fld id="{478F706E-5077-40A8-BE23-009F5E9B22C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C738-4A3D-98BB-3D0CBF671497}"/>
                </c:ext>
              </c:extLst>
            </c:dLbl>
            <c:dLbl>
              <c:idx val="7"/>
              <c:tx>
                <c:rich>
                  <a:bodyPr/>
                  <a:lstStyle/>
                  <a:p>
                    <a:fld id="{E582B502-A3D8-4359-9932-8421A7AF571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C738-4A3D-98BB-3D0CBF671497}"/>
                </c:ext>
              </c:extLst>
            </c:dLbl>
            <c:dLbl>
              <c:idx val="8"/>
              <c:tx>
                <c:rich>
                  <a:bodyPr/>
                  <a:lstStyle/>
                  <a:p>
                    <a:fld id="{9313EBCB-20E0-4FA9-959F-75F61E7C554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C738-4A3D-98BB-3D0CBF671497}"/>
                </c:ext>
              </c:extLst>
            </c:dLbl>
            <c:dLbl>
              <c:idx val="9"/>
              <c:tx>
                <c:rich>
                  <a:bodyPr/>
                  <a:lstStyle/>
                  <a:p>
                    <a:fld id="{6E341076-A6FE-4811-90DF-40AA7E5003C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C738-4A3D-98BB-3D0CBF671497}"/>
                </c:ext>
              </c:extLst>
            </c:dLbl>
            <c:dLbl>
              <c:idx val="1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C738-4A3D-98BB-3D0CBF671497}"/>
                </c:ext>
              </c:extLst>
            </c:dLbl>
            <c:dLbl>
              <c:idx val="1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B-C738-4A3D-98BB-3D0CBF671497}"/>
                </c:ext>
              </c:extLst>
            </c:dLbl>
            <c:dLbl>
              <c:idx val="1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C738-4A3D-98BB-3D0CBF671497}"/>
                </c:ext>
              </c:extLst>
            </c:dLbl>
            <c:dLbl>
              <c:idx val="13"/>
              <c:tx>
                <c:rich>
                  <a:bodyPr/>
                  <a:lstStyle/>
                  <a:p>
                    <a:fld id="{885537DC-519B-4361-9D1B-7AA6B5694D8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C738-4A3D-98BB-3D0CBF671497}"/>
                </c:ext>
              </c:extLst>
            </c:dLbl>
            <c:dLbl>
              <c:idx val="14"/>
              <c:tx>
                <c:rich>
                  <a:bodyPr/>
                  <a:lstStyle/>
                  <a:p>
                    <a:fld id="{D6BF5CC9-651F-4B64-9AFA-1A735313702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C738-4A3D-98BB-3D0CBF671497}"/>
                </c:ext>
              </c:extLst>
            </c:dLbl>
            <c:dLbl>
              <c:idx val="15"/>
              <c:tx>
                <c:rich>
                  <a:bodyPr/>
                  <a:lstStyle/>
                  <a:p>
                    <a:fld id="{DDEDC6CA-081A-472A-96EF-6A73133493F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C738-4A3D-98BB-3D0CBF671497}"/>
                </c:ext>
              </c:extLst>
            </c:dLbl>
            <c:dLbl>
              <c:idx val="1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C738-4A3D-98BB-3D0CBF671497}"/>
                </c:ext>
              </c:extLst>
            </c:dLbl>
            <c:dLbl>
              <c:idx val="1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C738-4A3D-98BB-3D0CBF671497}"/>
                </c:ext>
              </c:extLst>
            </c:dLbl>
            <c:dLbl>
              <c:idx val="1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2-C738-4A3D-98BB-3D0CBF671497}"/>
                </c:ext>
              </c:extLst>
            </c:dLbl>
            <c:dLbl>
              <c:idx val="19"/>
              <c:tx>
                <c:rich>
                  <a:bodyPr/>
                  <a:lstStyle/>
                  <a:p>
                    <a:fld id="{216E1A8B-60BE-404A-8950-868622E64CD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C738-4A3D-98BB-3D0CBF671497}"/>
                </c:ext>
              </c:extLst>
            </c:dLbl>
            <c:dLbl>
              <c:idx val="20"/>
              <c:tx>
                <c:rich>
                  <a:bodyPr/>
                  <a:lstStyle/>
                  <a:p>
                    <a:fld id="{182FF66B-2416-4065-B166-CCEFC2AA67F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C738-4A3D-98BB-3D0CBF671497}"/>
                </c:ext>
              </c:extLst>
            </c:dLbl>
            <c:dLbl>
              <c:idx val="21"/>
              <c:tx>
                <c:rich>
                  <a:bodyPr/>
                  <a:lstStyle/>
                  <a:p>
                    <a:fld id="{615FBE2F-B313-43E9-A670-D9E4218ECE9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C738-4A3D-98BB-3D0CBF671497}"/>
                </c:ext>
              </c:extLst>
            </c:dLbl>
            <c:dLbl>
              <c:idx val="2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C738-4A3D-98BB-3D0CBF671497}"/>
                </c:ext>
              </c:extLst>
            </c:dLbl>
            <c:dLbl>
              <c:idx val="23"/>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C738-4A3D-98BB-3D0CBF671497}"/>
                </c:ext>
              </c:extLst>
            </c:dLbl>
            <c:dLbl>
              <c:idx val="2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C738-4A3D-98BB-3D0CBF671497}"/>
                </c:ext>
              </c:extLst>
            </c:dLbl>
            <c:dLbl>
              <c:idx val="25"/>
              <c:tx>
                <c:rich>
                  <a:bodyPr/>
                  <a:lstStyle/>
                  <a:p>
                    <a:fld id="{3755D66B-82C9-49F3-8B51-B77084B4063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C738-4A3D-98BB-3D0CBF671497}"/>
                </c:ext>
              </c:extLst>
            </c:dLbl>
            <c:dLbl>
              <c:idx val="26"/>
              <c:tx>
                <c:rich>
                  <a:bodyPr/>
                  <a:lstStyle/>
                  <a:p>
                    <a:fld id="{0686903F-4E50-4097-BDFB-88355A8B18B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C738-4A3D-98BB-3D0CBF671497}"/>
                </c:ext>
              </c:extLst>
            </c:dLbl>
            <c:dLbl>
              <c:idx val="27"/>
              <c:tx>
                <c:rich>
                  <a:bodyPr/>
                  <a:lstStyle/>
                  <a:p>
                    <a:fld id="{0506BEF4-4E38-4676-A002-E6DB6266DBA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C738-4A3D-98BB-3D0CBF671497}"/>
                </c:ext>
              </c:extLst>
            </c:dLbl>
            <c:dLbl>
              <c:idx val="28"/>
              <c:tx>
                <c:rich>
                  <a:bodyPr/>
                  <a:lstStyle/>
                  <a:p>
                    <a:fld id="{412FF541-73DF-46D7-9F04-29195B6C5FF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C738-4A3D-98BB-3D0CBF671497}"/>
                </c:ext>
              </c:extLst>
            </c:dLbl>
            <c:dLbl>
              <c:idx val="29"/>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C738-4A3D-98BB-3D0CBF671497}"/>
                </c:ext>
              </c:extLst>
            </c:dLbl>
            <c:dLbl>
              <c:idx val="3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C738-4A3D-98BB-3D0CBF671497}"/>
                </c:ext>
              </c:extLst>
            </c:dLbl>
            <c:dLbl>
              <c:idx val="31"/>
              <c:tx>
                <c:rich>
                  <a:bodyPr/>
                  <a:lstStyle/>
                  <a:p>
                    <a:fld id="{B99983E3-F8B0-4985-A67E-0A1AC929CE0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C738-4A3D-98BB-3D0CBF671497}"/>
                </c:ext>
              </c:extLst>
            </c:dLbl>
            <c:dLbl>
              <c:idx val="32"/>
              <c:tx>
                <c:rich>
                  <a:bodyPr/>
                  <a:lstStyle/>
                  <a:p>
                    <a:fld id="{72F31972-F79E-4A6C-A244-15BD752DF0D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C738-4A3D-98BB-3D0CBF671497}"/>
                </c:ext>
              </c:extLst>
            </c:dLbl>
            <c:dLbl>
              <c:idx val="33"/>
              <c:tx>
                <c:rich>
                  <a:bodyPr/>
                  <a:lstStyle/>
                  <a:p>
                    <a:fld id="{8BE0FF6B-C8A1-4CB2-A9A5-BDAD4A32719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C738-4A3D-98BB-3D0CBF671497}"/>
                </c:ext>
              </c:extLst>
            </c:dLbl>
            <c:dLbl>
              <c:idx val="3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C738-4A3D-98BB-3D0CBF671497}"/>
                </c:ext>
              </c:extLst>
            </c:dLbl>
            <c:dLbl>
              <c:idx val="35"/>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C738-4A3D-98BB-3D0CBF671497}"/>
                </c:ext>
              </c:extLst>
            </c:dLbl>
            <c:dLbl>
              <c:idx val="3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C738-4A3D-98BB-3D0CBF671497}"/>
                </c:ext>
              </c:extLst>
            </c:dLbl>
            <c:dLbl>
              <c:idx val="37"/>
              <c:tx>
                <c:rich>
                  <a:bodyPr/>
                  <a:lstStyle/>
                  <a:p>
                    <a:fld id="{8A95479C-2EFD-4BAA-81D0-A0A4098D3FA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C738-4A3D-98BB-3D0CBF671497}"/>
                </c:ext>
              </c:extLst>
            </c:dLbl>
            <c:dLbl>
              <c:idx val="38"/>
              <c:tx>
                <c:rich>
                  <a:bodyPr/>
                  <a:lstStyle/>
                  <a:p>
                    <a:fld id="{37770B81-46FB-4DA5-822E-B8F6C0E243D0}"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C738-4A3D-98BB-3D0CBF671497}"/>
                </c:ext>
              </c:extLst>
            </c:dLbl>
            <c:dLbl>
              <c:idx val="39"/>
              <c:tx>
                <c:rich>
                  <a:bodyPr/>
                  <a:lstStyle/>
                  <a:p>
                    <a:fld id="{1559B190-B876-4C69-9203-943E4D726A3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C738-4A3D-98BB-3D0CBF671497}"/>
                </c:ext>
              </c:extLst>
            </c:dLbl>
            <c:dLbl>
              <c:idx val="4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8-C738-4A3D-98BB-3D0CBF671497}"/>
                </c:ext>
              </c:extLst>
            </c:dLbl>
            <c:dLbl>
              <c:idx val="4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9-C738-4A3D-98BB-3D0CBF671497}"/>
                </c:ext>
              </c:extLst>
            </c:dLbl>
            <c:dLbl>
              <c:idx val="4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C738-4A3D-98BB-3D0CBF671497}"/>
                </c:ext>
              </c:extLst>
            </c:dLbl>
            <c:dLbl>
              <c:idx val="43"/>
              <c:tx>
                <c:rich>
                  <a:bodyPr/>
                  <a:lstStyle/>
                  <a:p>
                    <a:fld id="{673B27E2-BF24-40A0-95B2-59B39588158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C738-4A3D-98BB-3D0CBF671497}"/>
                </c:ext>
              </c:extLst>
            </c:dLbl>
            <c:dLbl>
              <c:idx val="44"/>
              <c:tx>
                <c:rich>
                  <a:bodyPr/>
                  <a:lstStyle/>
                  <a:p>
                    <a:fld id="{E373AB27-7B19-48ED-9C80-5EC73C78895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C738-4A3D-98BB-3D0CBF671497}"/>
                </c:ext>
              </c:extLst>
            </c:dLbl>
            <c:dLbl>
              <c:idx val="45"/>
              <c:tx>
                <c:rich>
                  <a:bodyPr/>
                  <a:lstStyle/>
                  <a:p>
                    <a:fld id="{B5901F54-F7C6-4094-92DC-C5963FFAF47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C738-4A3D-98BB-3D0CBF671497}"/>
                </c:ext>
              </c:extLst>
            </c:dLbl>
            <c:dLbl>
              <c:idx val="49"/>
              <c:tx>
                <c:rich>
                  <a:bodyPr/>
                  <a:lstStyle/>
                  <a:p>
                    <a:fld id="{92D5C5D2-809A-4641-ABD8-977083AA982A}"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C738-4A3D-98BB-3D0CBF671497}"/>
                </c:ext>
              </c:extLst>
            </c:dLbl>
            <c:dLbl>
              <c:idx val="50"/>
              <c:tx>
                <c:rich>
                  <a:bodyPr/>
                  <a:lstStyle/>
                  <a:p>
                    <a:fld id="{BBE064F9-046C-426C-9A8E-BD224D70D4A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C738-4A3D-98BB-3D0CBF671497}"/>
                </c:ext>
              </c:extLst>
            </c:dLbl>
            <c:dLbl>
              <c:idx val="51"/>
              <c:tx>
                <c:rich>
                  <a:bodyPr/>
                  <a:lstStyle/>
                  <a:p>
                    <a:fld id="{690C6B98-FFDB-4EB4-BFD0-F2740DC2722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C738-4A3D-98BB-3D0CBF671497}"/>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dLblPos val="in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4</c:f>
              <c:strCache>
                <c:ptCount val="43"/>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strCache>
            </c:strRef>
          </c:cat>
          <c:val>
            <c:numRef>
              <c:f>Sheet1!$B$2:$B$44</c:f>
              <c:numCache>
                <c:formatCode>General</c:formatCode>
                <c:ptCount val="43"/>
                <c:pt idx="0">
                  <c:v>1</c:v>
                </c:pt>
                <c:pt idx="1">
                  <c:v>1</c:v>
                </c:pt>
                <c:pt idx="2">
                  <c:v>1</c:v>
                </c:pt>
                <c:pt idx="15">
                  <c:v>1</c:v>
                </c:pt>
                <c:pt idx="16">
                  <c:v>1</c:v>
                </c:pt>
                <c:pt idx="27">
                  <c:v>1</c:v>
                </c:pt>
                <c:pt idx="28">
                  <c:v>1</c:v>
                </c:pt>
                <c:pt idx="32">
                  <c:v>1</c:v>
                </c:pt>
                <c:pt idx="33">
                  <c:v>1</c:v>
                </c:pt>
                <c:pt idx="34">
                  <c:v>1</c:v>
                </c:pt>
                <c:pt idx="35">
                  <c:v>1</c:v>
                </c:pt>
                <c:pt idx="36">
                  <c:v>1</c:v>
                </c:pt>
                <c:pt idx="37">
                  <c:v>1</c:v>
                </c:pt>
                <c:pt idx="38">
                  <c:v>1</c:v>
                </c:pt>
                <c:pt idx="39">
                  <c:v>1</c:v>
                </c:pt>
                <c:pt idx="40">
                  <c:v>1</c:v>
                </c:pt>
                <c:pt idx="41">
                  <c:v>1</c:v>
                </c:pt>
                <c:pt idx="42">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C738-4A3D-98BB-3D0CBF671497}"/>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cat>
            <c:strRef>
              <c:f>Sheet1!$A$2:$A$44</c:f>
              <c:strCache>
                <c:ptCount val="43"/>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strCache>
            </c:strRef>
          </c:cat>
          <c:val>
            <c:numRef>
              <c:f>Sheet1!$C$2:$C$44</c:f>
              <c:numCache>
                <c:formatCode>General</c:formatCode>
                <c:ptCount val="43"/>
                <c:pt idx="37">
                  <c:v>5.4974603146944537E-2</c:v>
                </c:pt>
                <c:pt idx="38">
                  <c:v>1.8958721533759986</c:v>
                </c:pt>
              </c:numCache>
            </c:numRef>
          </c:val>
          <c:smooth val="0"/>
          <c:extLst>
            <c:ext xmlns:c16="http://schemas.microsoft.com/office/drawing/2014/chart" uri="{C3380CC4-5D6E-409C-BE32-E72D297353CC}">
              <c16:uniqueId val="{00000035-C738-4A3D-98BB-3D0CBF671497}"/>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8830866852403085"/>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dLbls>
            <c:dLbl>
              <c:idx val="0"/>
              <c:tx>
                <c:rich>
                  <a:bodyPr/>
                  <a:lstStyle/>
                  <a:p>
                    <a:fld id="{19D277FE-A62A-4249-A172-9339827516F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738-4A3D-98BB-3D0CBF671497}"/>
                </c:ext>
              </c:extLst>
            </c:dLbl>
            <c:dLbl>
              <c:idx val="1"/>
              <c:tx>
                <c:rich>
                  <a:bodyPr/>
                  <a:lstStyle/>
                  <a:p>
                    <a:fld id="{875716CE-5C35-48E9-932B-A4FBFCE1271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738-4A3D-98BB-3D0CBF671497}"/>
                </c:ext>
              </c:extLst>
            </c:dLbl>
            <c:dLbl>
              <c:idx val="2"/>
              <c:tx>
                <c:rich>
                  <a:bodyPr/>
                  <a:lstStyle/>
                  <a:p>
                    <a:fld id="{004F2AEB-40B9-41D0-B61F-C648CC2FE9F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738-4A3D-98BB-3D0CBF671497}"/>
                </c:ext>
              </c:extLst>
            </c:dLbl>
            <c:dLbl>
              <c:idx val="3"/>
              <c:tx>
                <c:rich>
                  <a:bodyPr/>
                  <a:lstStyle/>
                  <a:p>
                    <a:fld id="{F5DF416A-104A-4A17-8973-6CA6C8C8FE2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738-4A3D-98BB-3D0CBF671497}"/>
                </c:ext>
              </c:extLst>
            </c:dLbl>
            <c:dLbl>
              <c:idx val="4"/>
              <c:tx>
                <c:rich>
                  <a:bodyPr/>
                  <a:lstStyle/>
                  <a:p>
                    <a:fld id="{139A9C5A-77B1-422D-8577-5B949FD3907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C738-4A3D-98BB-3D0CBF671497}"/>
                </c:ext>
              </c:extLst>
            </c:dLbl>
            <c:dLbl>
              <c:idx val="5"/>
              <c:tx>
                <c:rich>
                  <a:bodyPr/>
                  <a:lstStyle/>
                  <a:p>
                    <a:fld id="{A66312FA-B7AA-4E77-AF58-92210E7384E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C738-4A3D-98BB-3D0CBF671497}"/>
                </c:ext>
              </c:extLst>
            </c:dLbl>
            <c:dLbl>
              <c:idx val="6"/>
              <c:tx>
                <c:rich>
                  <a:bodyPr/>
                  <a:lstStyle/>
                  <a:p>
                    <a:fld id="{ED1E7928-443A-4FE3-B3C7-83FEE376A96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C738-4A3D-98BB-3D0CBF671497}"/>
                </c:ext>
              </c:extLst>
            </c:dLbl>
            <c:dLbl>
              <c:idx val="7"/>
              <c:tx>
                <c:rich>
                  <a:bodyPr/>
                  <a:lstStyle/>
                  <a:p>
                    <a:fld id="{5FBD9394-5C6F-4564-90B1-35DBE0379A0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C738-4A3D-98BB-3D0CBF671497}"/>
                </c:ext>
              </c:extLst>
            </c:dLbl>
            <c:dLbl>
              <c:idx val="8"/>
              <c:tx>
                <c:rich>
                  <a:bodyPr/>
                  <a:lstStyle/>
                  <a:p>
                    <a:fld id="{2B761E58-14FE-4331-A6CD-FB4E61D9887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C738-4A3D-98BB-3D0CBF671497}"/>
                </c:ext>
              </c:extLst>
            </c:dLbl>
            <c:dLbl>
              <c:idx val="9"/>
              <c:tx>
                <c:rich>
                  <a:bodyPr/>
                  <a:lstStyle/>
                  <a:p>
                    <a:fld id="{8AD7E969-EB2B-4FD0-B300-BC395F75AEA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C738-4A3D-98BB-3D0CBF671497}"/>
                </c:ext>
              </c:extLst>
            </c:dLbl>
            <c:dLbl>
              <c:idx val="1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C738-4A3D-98BB-3D0CBF671497}"/>
                </c:ext>
              </c:extLst>
            </c:dLbl>
            <c:dLbl>
              <c:idx val="1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C738-4A3D-98BB-3D0CBF671497}"/>
                </c:ext>
              </c:extLst>
            </c:dLbl>
            <c:dLbl>
              <c:idx val="13"/>
              <c:tx>
                <c:rich>
                  <a:bodyPr/>
                  <a:lstStyle/>
                  <a:p>
                    <a:fld id="{783D0AC1-CD61-45BE-9437-E7B7756E9D1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C738-4A3D-98BB-3D0CBF671497}"/>
                </c:ext>
              </c:extLst>
            </c:dLbl>
            <c:dLbl>
              <c:idx val="14"/>
              <c:tx>
                <c:rich>
                  <a:bodyPr/>
                  <a:lstStyle/>
                  <a:p>
                    <a:fld id="{5AE6DDBC-DED5-491E-A97F-B36ED721229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C738-4A3D-98BB-3D0CBF671497}"/>
                </c:ext>
              </c:extLst>
            </c:dLbl>
            <c:dLbl>
              <c:idx val="15"/>
              <c:tx>
                <c:rich>
                  <a:bodyPr/>
                  <a:lstStyle/>
                  <a:p>
                    <a:fld id="{1D117895-1DF3-43DE-8844-F0C8B9E8836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C738-4A3D-98BB-3D0CBF671497}"/>
                </c:ext>
              </c:extLst>
            </c:dLbl>
            <c:dLbl>
              <c:idx val="19"/>
              <c:tx>
                <c:rich>
                  <a:bodyPr/>
                  <a:lstStyle/>
                  <a:p>
                    <a:fld id="{860A529A-DA4C-4902-BDA9-BF7114B0A9F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C738-4A3D-98BB-3D0CBF671497}"/>
                </c:ext>
              </c:extLst>
            </c:dLbl>
            <c:dLbl>
              <c:idx val="20"/>
              <c:tx>
                <c:rich>
                  <a:bodyPr/>
                  <a:lstStyle/>
                  <a:p>
                    <a:fld id="{26DF43D0-143D-4080-B37A-4829112F6F2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C738-4A3D-98BB-3D0CBF671497}"/>
                </c:ext>
              </c:extLst>
            </c:dLbl>
            <c:dLbl>
              <c:idx val="21"/>
              <c:tx>
                <c:rich>
                  <a:bodyPr/>
                  <a:lstStyle/>
                  <a:p>
                    <a:fld id="{62F63F82-C314-4B7D-990F-E5ABFC20283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C738-4A3D-98BB-3D0CBF671497}"/>
                </c:ext>
              </c:extLst>
            </c:dLbl>
            <c:dLbl>
              <c:idx val="25"/>
              <c:tx>
                <c:rich>
                  <a:bodyPr/>
                  <a:lstStyle/>
                  <a:p>
                    <a:fld id="{30DDCCED-69D1-4FC7-8AA1-E810234E5A4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C738-4A3D-98BB-3D0CBF671497}"/>
                </c:ext>
              </c:extLst>
            </c:dLbl>
            <c:dLbl>
              <c:idx val="26"/>
              <c:tx>
                <c:rich>
                  <a:bodyPr/>
                  <a:lstStyle/>
                  <a:p>
                    <a:fld id="{6AB842B8-9740-4715-94FB-6B6C5B0AA93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C738-4A3D-98BB-3D0CBF671497}"/>
                </c:ext>
              </c:extLst>
            </c:dLbl>
            <c:dLbl>
              <c:idx val="27"/>
              <c:tx>
                <c:rich>
                  <a:bodyPr/>
                  <a:lstStyle/>
                  <a:p>
                    <a:fld id="{611DE55B-FAF0-4772-8056-28A962A35D6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C738-4A3D-98BB-3D0CBF671497}"/>
                </c:ext>
              </c:extLst>
            </c:dLbl>
            <c:dLbl>
              <c:idx val="28"/>
              <c:tx>
                <c:rich>
                  <a:bodyPr/>
                  <a:lstStyle/>
                  <a:p>
                    <a:fld id="{A686F954-0BB9-4FB0-8CB0-1573D929F7A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C738-4A3D-98BB-3D0CBF671497}"/>
                </c:ext>
              </c:extLst>
            </c:dLbl>
            <c:dLbl>
              <c:idx val="31"/>
              <c:tx>
                <c:rich>
                  <a:bodyPr/>
                  <a:lstStyle/>
                  <a:p>
                    <a:fld id="{C50B9CC4-124D-4893-9C75-A513CFA62DC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C738-4A3D-98BB-3D0CBF671497}"/>
                </c:ext>
              </c:extLst>
            </c:dLbl>
            <c:dLbl>
              <c:idx val="32"/>
              <c:tx>
                <c:rich>
                  <a:bodyPr/>
                  <a:lstStyle/>
                  <a:p>
                    <a:fld id="{022B43D4-5AD7-4615-AE14-5F8A9D83423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C738-4A3D-98BB-3D0CBF671497}"/>
                </c:ext>
              </c:extLst>
            </c:dLbl>
            <c:dLbl>
              <c:idx val="33"/>
              <c:tx>
                <c:rich>
                  <a:bodyPr/>
                  <a:lstStyle/>
                  <a:p>
                    <a:fld id="{929413A6-6293-49CE-BD90-57B85749F74A}"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C738-4A3D-98BB-3D0CBF671497}"/>
                </c:ext>
              </c:extLst>
            </c:dLbl>
            <c:dLbl>
              <c:idx val="37"/>
              <c:tx>
                <c:rich>
                  <a:bodyPr/>
                  <a:lstStyle/>
                  <a:p>
                    <a:fld id="{7B4B6716-5F5D-40E1-8586-B5D1B5CA404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C738-4A3D-98BB-3D0CBF671497}"/>
                </c:ext>
              </c:extLst>
            </c:dLbl>
            <c:dLbl>
              <c:idx val="38"/>
              <c:tx>
                <c:rich>
                  <a:bodyPr/>
                  <a:lstStyle/>
                  <a:p>
                    <a:fld id="{3181D8A4-0EA1-43A7-910A-4F0DA0C3F4E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C738-4A3D-98BB-3D0CBF671497}"/>
                </c:ext>
              </c:extLst>
            </c:dLbl>
            <c:dLbl>
              <c:idx val="39"/>
              <c:tx>
                <c:rich>
                  <a:bodyPr/>
                  <a:lstStyle/>
                  <a:p>
                    <a:fld id="{B3424DEE-F951-4590-8AC9-B1E6A0B89C6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C738-4A3D-98BB-3D0CBF671497}"/>
                </c:ext>
              </c:extLst>
            </c:dLbl>
            <c:dLbl>
              <c:idx val="43"/>
              <c:tx>
                <c:rich>
                  <a:bodyPr/>
                  <a:lstStyle/>
                  <a:p>
                    <a:fld id="{8119C29A-D48E-4E9F-AB16-751AAF20D91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C738-4A3D-98BB-3D0CBF671497}"/>
                </c:ext>
              </c:extLst>
            </c:dLbl>
            <c:dLbl>
              <c:idx val="44"/>
              <c:tx>
                <c:rich>
                  <a:bodyPr/>
                  <a:lstStyle/>
                  <a:p>
                    <a:fld id="{F0903B47-8859-4CB7-A07A-419B6EAF420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C738-4A3D-98BB-3D0CBF671497}"/>
                </c:ext>
              </c:extLst>
            </c:dLbl>
            <c:dLbl>
              <c:idx val="45"/>
              <c:tx>
                <c:rich>
                  <a:bodyPr/>
                  <a:lstStyle/>
                  <a:p>
                    <a:fld id="{D074F21C-5FFC-4222-9857-A83C9E4E4D7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C738-4A3D-98BB-3D0CBF671497}"/>
                </c:ext>
              </c:extLst>
            </c:dLbl>
            <c:dLbl>
              <c:idx val="49"/>
              <c:tx>
                <c:rich>
                  <a:bodyPr/>
                  <a:lstStyle/>
                  <a:p>
                    <a:fld id="{CB2525B4-2E86-4A82-9F94-35F47C06F5D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C738-4A3D-98BB-3D0CBF671497}"/>
                </c:ext>
              </c:extLst>
            </c:dLbl>
            <c:dLbl>
              <c:idx val="50"/>
              <c:tx>
                <c:rich>
                  <a:bodyPr/>
                  <a:lstStyle/>
                  <a:p>
                    <a:fld id="{4F5E1FF4-30C1-4737-9C16-831BEFD7C08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C738-4A3D-98BB-3D0CBF671497}"/>
                </c:ext>
              </c:extLst>
            </c:dLbl>
            <c:dLbl>
              <c:idx val="51"/>
              <c:tx>
                <c:rich>
                  <a:bodyPr/>
                  <a:lstStyle/>
                  <a:p>
                    <a:fld id="{0C17BCB5-8C28-427D-A8C2-16D79CAB174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C738-4A3D-98BB-3D0CBF671497}"/>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dLblPos val="in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strCache>
            </c:strRef>
          </c:cat>
          <c:val>
            <c:numRef>
              <c:f>Sheet1!$B$2:$B$13</c:f>
              <c:numCache>
                <c:formatCode>General</c:formatCode>
                <c:ptCount val="12"/>
                <c:pt idx="4">
                  <c:v>1</c:v>
                </c:pt>
                <c:pt idx="5">
                  <c:v>1</c:v>
                </c:pt>
                <c:pt idx="6">
                  <c:v>1</c:v>
                </c:pt>
                <c:pt idx="7">
                  <c:v>1</c:v>
                </c:pt>
                <c:pt idx="8">
                  <c:v>1</c:v>
                </c:pt>
                <c:pt idx="9">
                  <c:v>1</c:v>
                </c:pt>
                <c:pt idx="10">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C738-4A3D-98BB-3D0CBF671497}"/>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cat>
            <c:strRef>
              <c:f>Sheet1!$A$2:$A$13</c:f>
              <c:strCache>
                <c:ptCount val="1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strCache>
            </c:strRef>
          </c:cat>
          <c:val>
            <c:numRef>
              <c:f>Sheet1!$C$2:$C$13</c:f>
              <c:numCache>
                <c:formatCode>General</c:formatCode>
                <c:ptCount val="12"/>
                <c:pt idx="4">
                  <c:v>0.22680211279878806</c:v>
                </c:pt>
                <c:pt idx="5">
                  <c:v>0.18786299617503266</c:v>
                </c:pt>
                <c:pt idx="6">
                  <c:v>0.13604560749668201</c:v>
                </c:pt>
                <c:pt idx="7">
                  <c:v>0.20910067712132022</c:v>
                </c:pt>
                <c:pt idx="8">
                  <c:v>0.16867160794838018</c:v>
                </c:pt>
              </c:numCache>
            </c:numRef>
          </c:val>
          <c:smooth val="0"/>
          <c:extLst>
            <c:ext xmlns:c16="http://schemas.microsoft.com/office/drawing/2014/chart" uri="{C3380CC4-5D6E-409C-BE32-E72D297353CC}">
              <c16:uniqueId val="{00000035-C738-4A3D-98BB-3D0CBF671497}"/>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8830866852403085"/>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dLbls>
            <c:dLbl>
              <c:idx val="0"/>
              <c:tx>
                <c:rich>
                  <a:bodyPr/>
                  <a:lstStyle/>
                  <a:p>
                    <a:fld id="{BC7E9A4B-34BF-4C61-9B74-BADDB0AD04E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738-4A3D-98BB-3D0CBF671497}"/>
                </c:ext>
              </c:extLst>
            </c:dLbl>
            <c:dLbl>
              <c:idx val="1"/>
              <c:tx>
                <c:rich>
                  <a:bodyPr/>
                  <a:lstStyle/>
                  <a:p>
                    <a:fld id="{6D7EAD28-2BB1-410B-A777-D3E3FFC4625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738-4A3D-98BB-3D0CBF671497}"/>
                </c:ext>
              </c:extLst>
            </c:dLbl>
            <c:dLbl>
              <c:idx val="2"/>
              <c:tx>
                <c:rich>
                  <a:bodyPr/>
                  <a:lstStyle/>
                  <a:p>
                    <a:fld id="{B7CA9F64-5A5D-4C22-9478-BB87006AC4A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738-4A3D-98BB-3D0CBF671497}"/>
                </c:ext>
              </c:extLst>
            </c:dLbl>
            <c:dLbl>
              <c:idx val="3"/>
              <c:tx>
                <c:rich>
                  <a:bodyPr/>
                  <a:lstStyle/>
                  <a:p>
                    <a:fld id="{3505AD24-3A6B-40BC-891B-445084742F6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738-4A3D-98BB-3D0CBF671497}"/>
                </c:ext>
              </c:extLst>
            </c:dLbl>
            <c:dLbl>
              <c:idx val="4"/>
              <c:tx>
                <c:rich>
                  <a:bodyPr/>
                  <a:lstStyle/>
                  <a:p>
                    <a:fld id="{8EB76B37-BF9D-459D-B7F7-0793CBAB3AE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C738-4A3D-98BB-3D0CBF671497}"/>
                </c:ext>
              </c:extLst>
            </c:dLbl>
            <c:dLbl>
              <c:idx val="5"/>
              <c:tx>
                <c:rich>
                  <a:bodyPr/>
                  <a:lstStyle/>
                  <a:p>
                    <a:fld id="{C6CADBA4-99AC-4620-8526-69CDE4FA894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C738-4A3D-98BB-3D0CBF671497}"/>
                </c:ext>
              </c:extLst>
            </c:dLbl>
            <c:dLbl>
              <c:idx val="6"/>
              <c:tx>
                <c:rich>
                  <a:bodyPr/>
                  <a:lstStyle/>
                  <a:p>
                    <a:fld id="{9F09D393-99EB-4672-B7FD-FF4C6273551A}"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C738-4A3D-98BB-3D0CBF671497}"/>
                </c:ext>
              </c:extLst>
            </c:dLbl>
            <c:dLbl>
              <c:idx val="7"/>
              <c:tx>
                <c:rich>
                  <a:bodyPr/>
                  <a:lstStyle/>
                  <a:p>
                    <a:fld id="{85E1EC9B-E619-4CC9-A8D6-7B36BABFA5D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C738-4A3D-98BB-3D0CBF671497}"/>
                </c:ext>
              </c:extLst>
            </c:dLbl>
            <c:dLbl>
              <c:idx val="8"/>
              <c:tx>
                <c:rich>
                  <a:bodyPr/>
                  <a:lstStyle/>
                  <a:p>
                    <a:fld id="{D3FEAD42-47CE-4A8F-A4E5-6AFEC4DCECA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C738-4A3D-98BB-3D0CBF671497}"/>
                </c:ext>
              </c:extLst>
            </c:dLbl>
            <c:dLbl>
              <c:idx val="9"/>
              <c:tx>
                <c:rich>
                  <a:bodyPr/>
                  <a:lstStyle/>
                  <a:p>
                    <a:fld id="{7DE65B71-8210-438D-BCE6-853D1EE439D0}"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C738-4A3D-98BB-3D0CBF671497}"/>
                </c:ext>
              </c:extLst>
            </c:dLbl>
            <c:dLbl>
              <c:idx val="1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C738-4A3D-98BB-3D0CBF671497}"/>
                </c:ext>
              </c:extLst>
            </c:dLbl>
            <c:dLbl>
              <c:idx val="1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C738-4A3D-98BB-3D0CBF671497}"/>
                </c:ext>
              </c:extLst>
            </c:dLbl>
            <c:dLbl>
              <c:idx val="1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C738-4A3D-98BB-3D0CBF671497}"/>
                </c:ext>
              </c:extLst>
            </c:dLbl>
            <c:dLbl>
              <c:idx val="13"/>
              <c:tx>
                <c:rich>
                  <a:bodyPr/>
                  <a:lstStyle/>
                  <a:p>
                    <a:fld id="{7C2956EC-2E93-40D7-8130-EC61344F6E3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C738-4A3D-98BB-3D0CBF671497}"/>
                </c:ext>
              </c:extLst>
            </c:dLbl>
            <c:dLbl>
              <c:idx val="14"/>
              <c:tx>
                <c:rich>
                  <a:bodyPr/>
                  <a:lstStyle/>
                  <a:p>
                    <a:fld id="{48181A13-667E-4CB6-9798-3CDB24C6580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C738-4A3D-98BB-3D0CBF671497}"/>
                </c:ext>
              </c:extLst>
            </c:dLbl>
            <c:dLbl>
              <c:idx val="15"/>
              <c:tx>
                <c:rich>
                  <a:bodyPr/>
                  <a:lstStyle/>
                  <a:p>
                    <a:fld id="{303C26E4-7137-4E1B-B71F-B6428D2E71D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C738-4A3D-98BB-3D0CBF671497}"/>
                </c:ext>
              </c:extLst>
            </c:dLbl>
            <c:dLbl>
              <c:idx val="19"/>
              <c:tx>
                <c:rich>
                  <a:bodyPr/>
                  <a:lstStyle/>
                  <a:p>
                    <a:fld id="{1222B11B-F9A4-4CC2-BEA3-985B7802F5C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C738-4A3D-98BB-3D0CBF671497}"/>
                </c:ext>
              </c:extLst>
            </c:dLbl>
            <c:dLbl>
              <c:idx val="20"/>
              <c:tx>
                <c:rich>
                  <a:bodyPr/>
                  <a:lstStyle/>
                  <a:p>
                    <a:fld id="{55555773-94EF-47DE-A47D-4ED2CB3ACAC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C738-4A3D-98BB-3D0CBF671497}"/>
                </c:ext>
              </c:extLst>
            </c:dLbl>
            <c:dLbl>
              <c:idx val="21"/>
              <c:tx>
                <c:rich>
                  <a:bodyPr/>
                  <a:lstStyle/>
                  <a:p>
                    <a:fld id="{90F2DAF2-702C-420C-8022-559FEA6CCD4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C738-4A3D-98BB-3D0CBF671497}"/>
                </c:ext>
              </c:extLst>
            </c:dLbl>
            <c:dLbl>
              <c:idx val="25"/>
              <c:tx>
                <c:rich>
                  <a:bodyPr/>
                  <a:lstStyle/>
                  <a:p>
                    <a:fld id="{A31A5661-CB1F-4684-9673-A1398D37CC4A}"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C738-4A3D-98BB-3D0CBF671497}"/>
                </c:ext>
              </c:extLst>
            </c:dLbl>
            <c:dLbl>
              <c:idx val="26"/>
              <c:tx>
                <c:rich>
                  <a:bodyPr/>
                  <a:lstStyle/>
                  <a:p>
                    <a:fld id="{F58987CC-67AD-451F-A981-470B8F9BE4BA}"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C738-4A3D-98BB-3D0CBF671497}"/>
                </c:ext>
              </c:extLst>
            </c:dLbl>
            <c:dLbl>
              <c:idx val="27"/>
              <c:tx>
                <c:rich>
                  <a:bodyPr/>
                  <a:lstStyle/>
                  <a:p>
                    <a:fld id="{EC42AD6F-90E2-4C3B-99B4-DE88B10FDF7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C738-4A3D-98BB-3D0CBF671497}"/>
                </c:ext>
              </c:extLst>
            </c:dLbl>
            <c:dLbl>
              <c:idx val="28"/>
              <c:tx>
                <c:rich>
                  <a:bodyPr/>
                  <a:lstStyle/>
                  <a:p>
                    <a:fld id="{7D8592ED-1845-4FB0-91D6-8AE2674B8BC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C738-4A3D-98BB-3D0CBF671497}"/>
                </c:ext>
              </c:extLst>
            </c:dLbl>
            <c:dLbl>
              <c:idx val="31"/>
              <c:tx>
                <c:rich>
                  <a:bodyPr/>
                  <a:lstStyle/>
                  <a:p>
                    <a:fld id="{3855C410-0122-4993-AF68-CD2BD6D13A6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C738-4A3D-98BB-3D0CBF671497}"/>
                </c:ext>
              </c:extLst>
            </c:dLbl>
            <c:dLbl>
              <c:idx val="32"/>
              <c:tx>
                <c:rich>
                  <a:bodyPr/>
                  <a:lstStyle/>
                  <a:p>
                    <a:fld id="{316293A5-3984-4DF2-8A4D-B1633F69FC5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C738-4A3D-98BB-3D0CBF671497}"/>
                </c:ext>
              </c:extLst>
            </c:dLbl>
            <c:dLbl>
              <c:idx val="33"/>
              <c:tx>
                <c:rich>
                  <a:bodyPr/>
                  <a:lstStyle/>
                  <a:p>
                    <a:fld id="{C7AAA156-494D-4257-B4C9-E014F164729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C738-4A3D-98BB-3D0CBF671497}"/>
                </c:ext>
              </c:extLst>
            </c:dLbl>
            <c:dLbl>
              <c:idx val="37"/>
              <c:tx>
                <c:rich>
                  <a:bodyPr/>
                  <a:lstStyle/>
                  <a:p>
                    <a:fld id="{E169355A-DDEC-485B-93D1-288CE3495C3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C738-4A3D-98BB-3D0CBF671497}"/>
                </c:ext>
              </c:extLst>
            </c:dLbl>
            <c:dLbl>
              <c:idx val="38"/>
              <c:tx>
                <c:rich>
                  <a:bodyPr/>
                  <a:lstStyle/>
                  <a:p>
                    <a:fld id="{0272CEB8-9023-4F9D-AA69-852FCF2DDC9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C738-4A3D-98BB-3D0CBF671497}"/>
                </c:ext>
              </c:extLst>
            </c:dLbl>
            <c:dLbl>
              <c:idx val="39"/>
              <c:tx>
                <c:rich>
                  <a:bodyPr/>
                  <a:lstStyle/>
                  <a:p>
                    <a:fld id="{6491F93F-FF92-41F6-AE2C-20050178440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C738-4A3D-98BB-3D0CBF671497}"/>
                </c:ext>
              </c:extLst>
            </c:dLbl>
            <c:dLbl>
              <c:idx val="43"/>
              <c:tx>
                <c:rich>
                  <a:bodyPr/>
                  <a:lstStyle/>
                  <a:p>
                    <a:fld id="{95E479A6-0D2E-488F-81AF-51CFDF47E5D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C738-4A3D-98BB-3D0CBF671497}"/>
                </c:ext>
              </c:extLst>
            </c:dLbl>
            <c:dLbl>
              <c:idx val="44"/>
              <c:tx>
                <c:rich>
                  <a:bodyPr/>
                  <a:lstStyle/>
                  <a:p>
                    <a:fld id="{AC2829AB-8368-4252-BE25-913CEA77059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C738-4A3D-98BB-3D0CBF671497}"/>
                </c:ext>
              </c:extLst>
            </c:dLbl>
            <c:dLbl>
              <c:idx val="45"/>
              <c:tx>
                <c:rich>
                  <a:bodyPr/>
                  <a:lstStyle/>
                  <a:p>
                    <a:fld id="{F7BBA5CC-FF44-4A1D-91E9-288CE2E4088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C738-4A3D-98BB-3D0CBF671497}"/>
                </c:ext>
              </c:extLst>
            </c:dLbl>
            <c:dLbl>
              <c:idx val="49"/>
              <c:tx>
                <c:rich>
                  <a:bodyPr/>
                  <a:lstStyle/>
                  <a:p>
                    <a:fld id="{8C8A8543-7B7A-4B8F-8AE4-3434E5ACEFB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C738-4A3D-98BB-3D0CBF671497}"/>
                </c:ext>
              </c:extLst>
            </c:dLbl>
            <c:dLbl>
              <c:idx val="50"/>
              <c:tx>
                <c:rich>
                  <a:bodyPr/>
                  <a:lstStyle/>
                  <a:p>
                    <a:fld id="{1E416881-FB3D-4D9A-BC3F-E7548A93856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C738-4A3D-98BB-3D0CBF671497}"/>
                </c:ext>
              </c:extLst>
            </c:dLbl>
            <c:dLbl>
              <c:idx val="51"/>
              <c:tx>
                <c:rich>
                  <a:bodyPr/>
                  <a:lstStyle/>
                  <a:p>
                    <a:fld id="{4B2F16BF-E55A-446B-B104-EC20051616A0}"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C738-4A3D-98BB-3D0CBF671497}"/>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dLblPos val="in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2024-04-21</c:v>
                </c:pt>
                <c:pt idx="1">
                  <c:v>2024-04-28</c:v>
                </c:pt>
                <c:pt idx="2">
                  <c:v>2024-05-26</c:v>
                </c:pt>
                <c:pt idx="3">
                  <c:v>2024-07-21</c:v>
                </c:pt>
                <c:pt idx="4">
                  <c:v>2024-09-29</c:v>
                </c:pt>
                <c:pt idx="5">
                  <c:v>2024-10-27</c:v>
                </c:pt>
                <c:pt idx="6">
                  <c:v>2024-11-17</c:v>
                </c:pt>
                <c:pt idx="7">
                  <c:v>2024-12-15</c:v>
                </c:pt>
                <c:pt idx="8">
                  <c:v>2024-12-22</c:v>
                </c:pt>
                <c:pt idx="9">
                  <c:v>2024-12-29</c:v>
                </c:pt>
                <c:pt idx="10">
                  <c:v>2025-01-05</c:v>
                </c:pt>
                <c:pt idx="11">
                  <c:v>2025-01-12</c:v>
                </c:pt>
                <c:pt idx="12">
                  <c:v>2025-01-19</c:v>
                </c:pt>
                <c:pt idx="13">
                  <c:v>2025-01-26</c:v>
                </c:pt>
              </c:strCache>
            </c:strRef>
          </c:cat>
          <c:val>
            <c:numRef>
              <c:f>Sheet1!$B$2:$B$15</c:f>
              <c:numCache>
                <c:formatCode>General</c:formatCode>
                <c:ptCount val="14"/>
                <c:pt idx="7">
                  <c:v>1</c:v>
                </c:pt>
                <c:pt idx="8">
                  <c:v>1</c:v>
                </c:pt>
                <c:pt idx="9">
                  <c:v>1</c:v>
                </c:pt>
                <c:pt idx="10">
                  <c:v>1</c:v>
                </c:pt>
                <c:pt idx="11">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C738-4A3D-98BB-3D0CBF671497}"/>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cat>
            <c:strRef>
              <c:f>Sheet1!$A$2:$A$15</c:f>
              <c:strCache>
                <c:ptCount val="14"/>
                <c:pt idx="0">
                  <c:v>2024-04-21</c:v>
                </c:pt>
                <c:pt idx="1">
                  <c:v>2024-04-28</c:v>
                </c:pt>
                <c:pt idx="2">
                  <c:v>2024-05-26</c:v>
                </c:pt>
                <c:pt idx="3">
                  <c:v>2024-07-21</c:v>
                </c:pt>
                <c:pt idx="4">
                  <c:v>2024-09-29</c:v>
                </c:pt>
                <c:pt idx="5">
                  <c:v>2024-10-27</c:v>
                </c:pt>
                <c:pt idx="6">
                  <c:v>2024-11-17</c:v>
                </c:pt>
                <c:pt idx="7">
                  <c:v>2024-12-15</c:v>
                </c:pt>
                <c:pt idx="8">
                  <c:v>2024-12-22</c:v>
                </c:pt>
                <c:pt idx="9">
                  <c:v>2024-12-29</c:v>
                </c:pt>
                <c:pt idx="10">
                  <c:v>2025-01-05</c:v>
                </c:pt>
                <c:pt idx="11">
                  <c:v>2025-01-12</c:v>
                </c:pt>
                <c:pt idx="12">
                  <c:v>2025-01-19</c:v>
                </c:pt>
                <c:pt idx="13">
                  <c:v>2025-01-26</c:v>
                </c:pt>
              </c:strCache>
            </c:strRef>
          </c:cat>
          <c:val>
            <c:numRef>
              <c:f>Sheet1!$C$2:$C$15</c:f>
              <c:numCache>
                <c:formatCode>General</c:formatCode>
                <c:ptCount val="14"/>
                <c:pt idx="7">
                  <c:v>0.27286427004034669</c:v>
                </c:pt>
                <c:pt idx="8">
                  <c:v>0.17408391397041403</c:v>
                </c:pt>
              </c:numCache>
            </c:numRef>
          </c:val>
          <c:smooth val="0"/>
          <c:extLst>
            <c:ext xmlns:c16="http://schemas.microsoft.com/office/drawing/2014/chart" uri="{C3380CC4-5D6E-409C-BE32-E72D297353CC}">
              <c16:uniqueId val="{00000035-C738-4A3D-98BB-3D0CBF671497}"/>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3-3C16-4125-B97A-D0EBA9D0B1CF}"/>
              </c:ext>
            </c:extLst>
          </c:dPt>
          <c:dPt>
            <c:idx val="1"/>
            <c:invertIfNegative val="0"/>
            <c:bubble3D val="0"/>
            <c:extLst>
              <c:ext xmlns:c16="http://schemas.microsoft.com/office/drawing/2014/chart" uri="{C3380CC4-5D6E-409C-BE32-E72D297353CC}">
                <c16:uniqueId val="{00000001-615A-458F-B49B-C3992C8CBC6B}"/>
              </c:ext>
            </c:extLst>
          </c:dPt>
          <c:dPt>
            <c:idx val="2"/>
            <c:invertIfNegative val="0"/>
            <c:bubble3D val="0"/>
            <c:extLst>
              <c:ext xmlns:c16="http://schemas.microsoft.com/office/drawing/2014/chart" uri="{C3380CC4-5D6E-409C-BE32-E72D297353CC}">
                <c16:uniqueId val="{00000004-3C16-4125-B97A-D0EBA9D0B1CF}"/>
              </c:ext>
            </c:extLst>
          </c:dPt>
          <c:dPt>
            <c:idx val="3"/>
            <c:invertIfNegative val="0"/>
            <c:bubble3D val="0"/>
            <c:extLst>
              <c:ext xmlns:c16="http://schemas.microsoft.com/office/drawing/2014/chart" uri="{C3380CC4-5D6E-409C-BE32-E72D297353CC}">
                <c16:uniqueId val="{00000002-615A-458F-B49B-C3992C8CBC6B}"/>
              </c:ext>
            </c:extLst>
          </c:dPt>
          <c:dPt>
            <c:idx val="4"/>
            <c:invertIfNegative val="0"/>
            <c:bubble3D val="0"/>
            <c:extLst>
              <c:ext xmlns:c16="http://schemas.microsoft.com/office/drawing/2014/chart" uri="{C3380CC4-5D6E-409C-BE32-E72D297353CC}">
                <c16:uniqueId val="{00000002-3C16-4125-B97A-D0EBA9D0B1CF}"/>
              </c:ext>
            </c:extLst>
          </c:dPt>
          <c:dPt>
            <c:idx val="5"/>
            <c:invertIfNegative val="0"/>
            <c:bubble3D val="0"/>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dLbl>
              <c:idx val="4"/>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C16-4125-B97A-D0EBA9D0B1CF}"/>
                </c:ext>
              </c:extLst>
            </c:dLbl>
            <c:dLbl>
              <c:idx val="5"/>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B05-4EC0-B6C5-883B60DE7730}"/>
                </c:ext>
              </c:extLst>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c:v>
                </c:pt>
                <c:pt idx="1">
                  <c:v>Schick</c:v>
                </c:pt>
                <c:pt idx="2">
                  <c:v>Dollar Shave Club</c:v>
                </c:pt>
                <c:pt idx="3">
                  <c:v>Equate</c:v>
                </c:pt>
                <c:pt idx="4">
                  <c:v>Harry's</c:v>
                </c:pt>
                <c:pt idx="5">
                  <c:v>Van Der Hagen</c:v>
                </c:pt>
              </c:strCache>
            </c:strRef>
          </c:cat>
          <c:val>
            <c:numRef>
              <c:f>Sheet1!$B$2:$B$7</c:f>
              <c:numCache>
                <c:formatCode>General</c:formatCode>
                <c:ptCount val="6"/>
                <c:pt idx="0">
                  <c:v>1</c:v>
                </c:pt>
                <c:pt idx="1">
                  <c:v>1.0710000000000002</c:v>
                </c:pt>
                <c:pt idx="2">
                  <c:v>0.44399999999999995</c:v>
                </c:pt>
                <c:pt idx="3">
                  <c:v>1</c:v>
                </c:pt>
                <c:pt idx="4">
                  <c:v>0</c:v>
                </c:pt>
                <c:pt idx="5">
                  <c:v>0</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675118651396688"/>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cat>
            <c:strRef>
              <c:f>Sheet1!$A$2:$A$41</c:f>
              <c:strCache>
                <c:ptCount val="40"/>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8-04</c:v>
                </c:pt>
                <c:pt idx="16">
                  <c:v>2024-08-11</c:v>
                </c:pt>
                <c:pt idx="17">
                  <c:v>2024-08-18</c:v>
                </c:pt>
                <c:pt idx="18">
                  <c:v>2024-08-25</c:v>
                </c:pt>
                <c:pt idx="19">
                  <c:v>2024-09-01</c:v>
                </c:pt>
                <c:pt idx="20">
                  <c:v>2024-09-08</c:v>
                </c:pt>
                <c:pt idx="21">
                  <c:v>2024-09-15</c:v>
                </c:pt>
                <c:pt idx="22">
                  <c:v>2024-09-22</c:v>
                </c:pt>
                <c:pt idx="23">
                  <c:v>2024-09-29</c:v>
                </c:pt>
                <c:pt idx="24">
                  <c:v>2024-10-13</c:v>
                </c:pt>
                <c:pt idx="25">
                  <c:v>2024-10-20</c:v>
                </c:pt>
                <c:pt idx="26">
                  <c:v>2024-10-27</c:v>
                </c:pt>
                <c:pt idx="27">
                  <c:v>2024-11-03</c:v>
                </c:pt>
                <c:pt idx="28">
                  <c:v>2024-11-10</c:v>
                </c:pt>
                <c:pt idx="29">
                  <c:v>2024-11-17</c:v>
                </c:pt>
                <c:pt idx="30">
                  <c:v>2024-11-24</c:v>
                </c:pt>
                <c:pt idx="31">
                  <c:v>2024-12-01</c:v>
                </c:pt>
                <c:pt idx="32">
                  <c:v>2024-12-08</c:v>
                </c:pt>
                <c:pt idx="33">
                  <c:v>2024-12-15</c:v>
                </c:pt>
                <c:pt idx="34">
                  <c:v>2024-12-22</c:v>
                </c:pt>
                <c:pt idx="35">
                  <c:v>2024-12-29</c:v>
                </c:pt>
                <c:pt idx="36">
                  <c:v>2025-01-05</c:v>
                </c:pt>
                <c:pt idx="37">
                  <c:v>2025-01-12</c:v>
                </c:pt>
                <c:pt idx="38">
                  <c:v>2025-01-19</c:v>
                </c:pt>
                <c:pt idx="39">
                  <c:v>2025-01-26</c:v>
                </c:pt>
              </c:strCache>
            </c:strRef>
          </c:cat>
          <c:val>
            <c:numRef>
              <c:f>Sheet1!$B$2:$B$41</c:f>
              <c:numCache>
                <c:formatCode>General</c:formatCode>
                <c:ptCount val="40"/>
                <c:pt idx="0">
                  <c:v>1</c:v>
                </c:pt>
                <c:pt idx="1">
                  <c:v>1</c:v>
                </c:pt>
                <c:pt idx="2">
                  <c:v>1</c:v>
                </c:pt>
                <c:pt idx="3">
                  <c:v>1</c:v>
                </c:pt>
                <c:pt idx="4">
                  <c:v>1</c:v>
                </c:pt>
                <c:pt idx="6">
                  <c:v>1</c:v>
                </c:pt>
                <c:pt idx="7">
                  <c:v>1</c:v>
                </c:pt>
                <c:pt idx="8">
                  <c:v>1</c:v>
                </c:pt>
                <c:pt idx="9">
                  <c:v>1</c:v>
                </c:pt>
                <c:pt idx="10">
                  <c:v>1</c:v>
                </c:pt>
                <c:pt idx="11">
                  <c:v>1</c:v>
                </c:pt>
                <c:pt idx="12">
                  <c:v>1</c:v>
                </c:pt>
                <c:pt idx="13">
                  <c:v>1</c:v>
                </c:pt>
                <c:pt idx="15">
                  <c:v>1</c:v>
                </c:pt>
                <c:pt idx="16">
                  <c:v>1</c:v>
                </c:pt>
                <c:pt idx="17">
                  <c:v>1</c:v>
                </c:pt>
                <c:pt idx="18">
                  <c:v>1</c:v>
                </c:pt>
                <c:pt idx="25">
                  <c:v>1</c:v>
                </c:pt>
                <c:pt idx="26">
                  <c:v>1</c:v>
                </c:pt>
                <c:pt idx="27">
                  <c:v>1</c:v>
                </c:pt>
                <c:pt idx="28">
                  <c:v>1</c:v>
                </c:pt>
                <c:pt idx="29">
                  <c:v>1</c:v>
                </c:pt>
                <c:pt idx="30">
                  <c:v>1</c:v>
                </c:pt>
                <c:pt idx="31">
                  <c:v>1</c:v>
                </c:pt>
                <c:pt idx="32">
                  <c:v>1</c:v>
                </c:pt>
                <c:pt idx="33">
                  <c:v>1</c:v>
                </c:pt>
                <c:pt idx="34">
                  <c:v>1</c:v>
                </c:pt>
                <c:pt idx="35">
                  <c:v>1</c:v>
                </c:pt>
                <c:pt idx="36">
                  <c:v>1</c:v>
                </c:pt>
                <c:pt idx="37">
                  <c:v>1</c:v>
                </c:pt>
                <c:pt idx="38">
                  <c:v>1</c:v>
                </c:pt>
                <c:pt idx="39">
                  <c:v>1</c:v>
                </c:pt>
              </c:numCache>
            </c:numRef>
          </c:val>
          <c:extLst>
            <c:ext xmlns:c16="http://schemas.microsoft.com/office/drawing/2014/chart" uri="{C3380CC4-5D6E-409C-BE32-E72D297353CC}">
              <c16:uniqueId val="{00000000-6B0A-4292-A357-CC7FA9851ABC}"/>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cat>
            <c:strRef>
              <c:f>Sheet1!$A$2:$A$41</c:f>
              <c:strCache>
                <c:ptCount val="40"/>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8-04</c:v>
                </c:pt>
                <c:pt idx="16">
                  <c:v>2024-08-11</c:v>
                </c:pt>
                <c:pt idx="17">
                  <c:v>2024-08-18</c:v>
                </c:pt>
                <c:pt idx="18">
                  <c:v>2024-08-25</c:v>
                </c:pt>
                <c:pt idx="19">
                  <c:v>2024-09-01</c:v>
                </c:pt>
                <c:pt idx="20">
                  <c:v>2024-09-08</c:v>
                </c:pt>
                <c:pt idx="21">
                  <c:v>2024-09-15</c:v>
                </c:pt>
                <c:pt idx="22">
                  <c:v>2024-09-22</c:v>
                </c:pt>
                <c:pt idx="23">
                  <c:v>2024-09-29</c:v>
                </c:pt>
                <c:pt idx="24">
                  <c:v>2024-10-13</c:v>
                </c:pt>
                <c:pt idx="25">
                  <c:v>2024-10-20</c:v>
                </c:pt>
                <c:pt idx="26">
                  <c:v>2024-10-27</c:v>
                </c:pt>
                <c:pt idx="27">
                  <c:v>2024-11-03</c:v>
                </c:pt>
                <c:pt idx="28">
                  <c:v>2024-11-10</c:v>
                </c:pt>
                <c:pt idx="29">
                  <c:v>2024-11-17</c:v>
                </c:pt>
                <c:pt idx="30">
                  <c:v>2024-11-24</c:v>
                </c:pt>
                <c:pt idx="31">
                  <c:v>2024-12-01</c:v>
                </c:pt>
                <c:pt idx="32">
                  <c:v>2024-12-08</c:v>
                </c:pt>
                <c:pt idx="33">
                  <c:v>2024-12-15</c:v>
                </c:pt>
                <c:pt idx="34">
                  <c:v>2024-12-22</c:v>
                </c:pt>
                <c:pt idx="35">
                  <c:v>2024-12-29</c:v>
                </c:pt>
                <c:pt idx="36">
                  <c:v>2025-01-05</c:v>
                </c:pt>
                <c:pt idx="37">
                  <c:v>2025-01-12</c:v>
                </c:pt>
                <c:pt idx="38">
                  <c:v>2025-01-19</c:v>
                </c:pt>
                <c:pt idx="39">
                  <c:v>2025-01-26</c:v>
                </c:pt>
              </c:strCache>
            </c:strRef>
          </c:cat>
          <c:val>
            <c:numRef>
              <c:f>Sheet1!$C$2:$C$41</c:f>
              <c:numCache>
                <c:formatCode>General</c:formatCode>
                <c:ptCount val="40"/>
                <c:pt idx="0">
                  <c:v>0.29105171411969782</c:v>
                </c:pt>
                <c:pt idx="1">
                  <c:v>0.26958350561296179</c:v>
                </c:pt>
                <c:pt idx="2">
                  <c:v>0.33402230317329995</c:v>
                </c:pt>
                <c:pt idx="3">
                  <c:v>0.18122054709132235</c:v>
                </c:pt>
                <c:pt idx="9">
                  <c:v>0.1766838586021581</c:v>
                </c:pt>
                <c:pt idx="10">
                  <c:v>0.19749181785499278</c:v>
                </c:pt>
                <c:pt idx="11">
                  <c:v>0.20018518467052601</c:v>
                </c:pt>
                <c:pt idx="12">
                  <c:v>0.3425875453811883</c:v>
                </c:pt>
                <c:pt idx="13">
                  <c:v>0.37551001419060043</c:v>
                </c:pt>
                <c:pt idx="15">
                  <c:v>0.41830334795795177</c:v>
                </c:pt>
                <c:pt idx="16">
                  <c:v>0.54999579513918084</c:v>
                </c:pt>
                <c:pt idx="17">
                  <c:v>0.62837766796341077</c:v>
                </c:pt>
                <c:pt idx="18">
                  <c:v>0.39377982984021581</c:v>
                </c:pt>
                <c:pt idx="25">
                  <c:v>0.16622326818786454</c:v>
                </c:pt>
                <c:pt idx="26">
                  <c:v>0.36911601653059167</c:v>
                </c:pt>
                <c:pt idx="27">
                  <c:v>0.17901745768842692</c:v>
                </c:pt>
                <c:pt idx="28">
                  <c:v>0.35651546521111738</c:v>
                </c:pt>
                <c:pt idx="29">
                  <c:v>0.29145752143413872</c:v>
                </c:pt>
                <c:pt idx="30">
                  <c:v>0.18382230412578296</c:v>
                </c:pt>
                <c:pt idx="32">
                  <c:v>7.3635219324882942E-2</c:v>
                </c:pt>
                <c:pt idx="33">
                  <c:v>0.70051489904676123</c:v>
                </c:pt>
                <c:pt idx="34">
                  <c:v>0.73034245264970343</c:v>
                </c:pt>
                <c:pt idx="35">
                  <c:v>0.5132734912146677</c:v>
                </c:pt>
                <c:pt idx="36">
                  <c:v>8.367974333378031E-2</c:v>
                </c:pt>
                <c:pt idx="37">
                  <c:v>0.39932925920405427</c:v>
                </c:pt>
                <c:pt idx="38">
                  <c:v>0.45419936975201114</c:v>
                </c:pt>
                <c:pt idx="39">
                  <c:v>0.42425202839756593</c:v>
                </c:pt>
              </c:numCache>
            </c:numRef>
          </c:val>
          <c:smooth val="0"/>
          <c:extLst>
            <c:ext xmlns:c16="http://schemas.microsoft.com/office/drawing/2014/chart" uri="{C3380CC4-5D6E-409C-BE32-E72D297353CC}">
              <c16:uniqueId val="{00000001-6B0A-4292-A357-CC7FA9851ABC}"/>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6308329537389168"/>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dLbls>
            <c:dLbl>
              <c:idx val="0"/>
              <c:tx>
                <c:rich>
                  <a:bodyPr/>
                  <a:lstStyle/>
                  <a:p>
                    <a:fld id="{0BF81451-AA3D-466D-897F-F1B193F1806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B77E-4F29-87DF-0FE64D0B037A}"/>
                </c:ext>
              </c:extLst>
            </c:dLbl>
            <c:dLbl>
              <c:idx val="1"/>
              <c:tx>
                <c:rich>
                  <a:bodyPr/>
                  <a:lstStyle/>
                  <a:p>
                    <a:fld id="{395DCB0E-DB9E-419E-809C-D4F8151B216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77E-4F29-87DF-0FE64D0B037A}"/>
                </c:ext>
              </c:extLst>
            </c:dLbl>
            <c:dLbl>
              <c:idx val="2"/>
              <c:tx>
                <c:rich>
                  <a:bodyPr/>
                  <a:lstStyle/>
                  <a:p>
                    <a:fld id="{EAB6DDB5-A152-4360-AEAE-C30A3A9FBC4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B77E-4F29-87DF-0FE64D0B037A}"/>
                </c:ext>
              </c:extLst>
            </c:dLbl>
            <c:dLbl>
              <c:idx val="3"/>
              <c:tx>
                <c:rich>
                  <a:bodyPr/>
                  <a:lstStyle/>
                  <a:p>
                    <a:fld id="{1089C085-06FB-45EC-8DF7-55070B6B3F5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77E-4F29-87DF-0FE64D0B037A}"/>
                </c:ext>
              </c:extLst>
            </c:dLbl>
            <c:dLbl>
              <c:idx val="4"/>
              <c:tx>
                <c:rich>
                  <a:bodyPr/>
                  <a:lstStyle/>
                  <a:p>
                    <a:fld id="{AE24C2F8-8899-44D7-BDA7-39C70FA1086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B77E-4F29-87DF-0FE64D0B037A}"/>
                </c:ext>
              </c:extLst>
            </c:dLbl>
            <c:dLbl>
              <c:idx val="5"/>
              <c:tx>
                <c:rich>
                  <a:bodyPr/>
                  <a:lstStyle/>
                  <a:p>
                    <a:fld id="{3F9078BE-8BE5-4865-9BB4-3691058AE57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77E-4F29-87DF-0FE64D0B037A}"/>
                </c:ext>
              </c:extLst>
            </c:dLbl>
            <c:dLbl>
              <c:idx val="6"/>
              <c:tx>
                <c:rich>
                  <a:bodyPr/>
                  <a:lstStyle/>
                  <a:p>
                    <a:fld id="{F731C90F-9A58-4E7B-A2B8-6F7E5FF2276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B77E-4F29-87DF-0FE64D0B037A}"/>
                </c:ext>
              </c:extLst>
            </c:dLbl>
            <c:dLbl>
              <c:idx val="7"/>
              <c:tx>
                <c:rich>
                  <a:bodyPr/>
                  <a:lstStyle/>
                  <a:p>
                    <a:fld id="{55D64F4F-7CDC-4C64-99CE-55F2C89975A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77E-4F29-87DF-0FE64D0B037A}"/>
                </c:ext>
              </c:extLst>
            </c:dLbl>
            <c:dLbl>
              <c:idx val="8"/>
              <c:tx>
                <c:rich>
                  <a:bodyPr/>
                  <a:lstStyle/>
                  <a:p>
                    <a:fld id="{8633B1BD-5601-49E5-8CFE-EE158CB0C6E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B77E-4F29-87DF-0FE64D0B037A}"/>
                </c:ext>
              </c:extLst>
            </c:dLbl>
            <c:dLbl>
              <c:idx val="9"/>
              <c:tx>
                <c:rich>
                  <a:bodyPr/>
                  <a:lstStyle/>
                  <a:p>
                    <a:fld id="{9A8E0963-2D44-43B0-8CB3-5A876B983C6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77E-4F29-87DF-0FE64D0B037A}"/>
                </c:ext>
              </c:extLst>
            </c:dLbl>
            <c:dLbl>
              <c:idx val="1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77E-4F29-87DF-0FE64D0B037A}"/>
                </c:ext>
              </c:extLst>
            </c:dLbl>
            <c:dLbl>
              <c:idx val="1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B-B77E-4F29-87DF-0FE64D0B037A}"/>
                </c:ext>
              </c:extLst>
            </c:dLbl>
            <c:dLbl>
              <c:idx val="1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B77E-4F29-87DF-0FE64D0B037A}"/>
                </c:ext>
              </c:extLst>
            </c:dLbl>
            <c:dLbl>
              <c:idx val="13"/>
              <c:tx>
                <c:rich>
                  <a:bodyPr/>
                  <a:lstStyle/>
                  <a:p>
                    <a:fld id="{07DBB889-0864-4542-9BC1-0976DFB83B4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77E-4F29-87DF-0FE64D0B037A}"/>
                </c:ext>
              </c:extLst>
            </c:dLbl>
            <c:dLbl>
              <c:idx val="14"/>
              <c:tx>
                <c:rich>
                  <a:bodyPr/>
                  <a:lstStyle/>
                  <a:p>
                    <a:fld id="{C789C75B-EAE9-4571-BFD0-4F8A3381BBB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B77E-4F29-87DF-0FE64D0B037A}"/>
                </c:ext>
              </c:extLst>
            </c:dLbl>
            <c:dLbl>
              <c:idx val="15"/>
              <c:tx>
                <c:rich>
                  <a:bodyPr/>
                  <a:lstStyle/>
                  <a:p>
                    <a:fld id="{82F693E7-7576-4523-8B91-A642F0A3235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77E-4F29-87DF-0FE64D0B037A}"/>
                </c:ext>
              </c:extLst>
            </c:dLbl>
            <c:dLbl>
              <c:idx val="1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0-B77E-4F29-87DF-0FE64D0B037A}"/>
                </c:ext>
              </c:extLst>
            </c:dLbl>
            <c:dLbl>
              <c:idx val="1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B77E-4F29-87DF-0FE64D0B037A}"/>
                </c:ext>
              </c:extLst>
            </c:dLbl>
            <c:dLbl>
              <c:idx val="1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2-B77E-4F29-87DF-0FE64D0B037A}"/>
                </c:ext>
              </c:extLst>
            </c:dLbl>
            <c:dLbl>
              <c:idx val="19"/>
              <c:tx>
                <c:rich>
                  <a:bodyPr/>
                  <a:lstStyle/>
                  <a:p>
                    <a:fld id="{900DCBD5-17FA-49DF-9E88-325AB076A8F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77E-4F29-87DF-0FE64D0B037A}"/>
                </c:ext>
              </c:extLst>
            </c:dLbl>
            <c:dLbl>
              <c:idx val="20"/>
              <c:tx>
                <c:rich>
                  <a:bodyPr/>
                  <a:lstStyle/>
                  <a:p>
                    <a:fld id="{DBA4C399-BEE3-4EF3-A396-F560786C358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77E-4F29-87DF-0FE64D0B037A}"/>
                </c:ext>
              </c:extLst>
            </c:dLbl>
            <c:dLbl>
              <c:idx val="21"/>
              <c:tx>
                <c:rich>
                  <a:bodyPr/>
                  <a:lstStyle/>
                  <a:p>
                    <a:fld id="{B936850C-2C82-4EC0-B860-60A5984DD66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77E-4F29-87DF-0FE64D0B037A}"/>
                </c:ext>
              </c:extLst>
            </c:dLbl>
            <c:dLbl>
              <c:idx val="2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77E-4F29-87DF-0FE64D0B037A}"/>
                </c:ext>
              </c:extLst>
            </c:dLbl>
            <c:dLbl>
              <c:idx val="23"/>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77E-4F29-87DF-0FE64D0B037A}"/>
                </c:ext>
              </c:extLst>
            </c:dLbl>
            <c:dLbl>
              <c:idx val="2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B77E-4F29-87DF-0FE64D0B037A}"/>
                </c:ext>
              </c:extLst>
            </c:dLbl>
            <c:dLbl>
              <c:idx val="25"/>
              <c:tx>
                <c:rich>
                  <a:bodyPr/>
                  <a:lstStyle/>
                  <a:p>
                    <a:fld id="{DAE798F9-8474-4401-83C5-29CC23735B9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77E-4F29-87DF-0FE64D0B037A}"/>
                </c:ext>
              </c:extLst>
            </c:dLbl>
            <c:dLbl>
              <c:idx val="26"/>
              <c:tx>
                <c:rich>
                  <a:bodyPr/>
                  <a:lstStyle/>
                  <a:p>
                    <a:fld id="{7314D1B3-3FEA-497F-A010-2F0734707AD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77E-4F29-87DF-0FE64D0B037A}"/>
                </c:ext>
              </c:extLst>
            </c:dLbl>
            <c:dLbl>
              <c:idx val="27"/>
              <c:tx>
                <c:rich>
                  <a:bodyPr/>
                  <a:lstStyle/>
                  <a:p>
                    <a:fld id="{6A99ED34-2BEE-4E96-8EEA-11A1BA04DBB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77E-4F29-87DF-0FE64D0B037A}"/>
                </c:ext>
              </c:extLst>
            </c:dLbl>
            <c:dLbl>
              <c:idx val="28"/>
              <c:tx>
                <c:rich>
                  <a:bodyPr/>
                  <a:lstStyle/>
                  <a:p>
                    <a:fld id="{723A822D-1D15-47A1-A205-D13A7F8477E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77E-4F29-87DF-0FE64D0B037A}"/>
                </c:ext>
              </c:extLst>
            </c:dLbl>
            <c:dLbl>
              <c:idx val="29"/>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77E-4F29-87DF-0FE64D0B037A}"/>
                </c:ext>
              </c:extLst>
            </c:dLbl>
            <c:dLbl>
              <c:idx val="3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77E-4F29-87DF-0FE64D0B037A}"/>
                </c:ext>
              </c:extLst>
            </c:dLbl>
            <c:dLbl>
              <c:idx val="31"/>
              <c:tx>
                <c:rich>
                  <a:bodyPr/>
                  <a:lstStyle/>
                  <a:p>
                    <a:fld id="{02CCD751-100C-4592-AF99-73E471C2DEF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77E-4F29-87DF-0FE64D0B037A}"/>
                </c:ext>
              </c:extLst>
            </c:dLbl>
            <c:dLbl>
              <c:idx val="32"/>
              <c:tx>
                <c:rich>
                  <a:bodyPr/>
                  <a:lstStyle/>
                  <a:p>
                    <a:fld id="{28412F6D-A39E-4302-ABC9-C184A2FDDD9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77E-4F29-87DF-0FE64D0B037A}"/>
                </c:ext>
              </c:extLst>
            </c:dLbl>
            <c:dLbl>
              <c:idx val="33"/>
              <c:tx>
                <c:rich>
                  <a:bodyPr/>
                  <a:lstStyle/>
                  <a:p>
                    <a:fld id="{C062F252-CD1E-40B0-833A-68E66BBDDDE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77E-4F29-87DF-0FE64D0B037A}"/>
                </c:ext>
              </c:extLst>
            </c:dLbl>
            <c:dLbl>
              <c:idx val="3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B77E-4F29-87DF-0FE64D0B037A}"/>
                </c:ext>
              </c:extLst>
            </c:dLbl>
            <c:dLbl>
              <c:idx val="35"/>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B77E-4F29-87DF-0FE64D0B037A}"/>
                </c:ext>
              </c:extLst>
            </c:dLbl>
            <c:dLbl>
              <c:idx val="3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77E-4F29-87DF-0FE64D0B037A}"/>
                </c:ext>
              </c:extLst>
            </c:dLbl>
            <c:dLbl>
              <c:idx val="37"/>
              <c:tx>
                <c:rich>
                  <a:bodyPr/>
                  <a:lstStyle/>
                  <a:p>
                    <a:fld id="{FF42B82F-67C2-480D-B129-953F89DD071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77E-4F29-87DF-0FE64D0B037A}"/>
                </c:ext>
              </c:extLst>
            </c:dLbl>
            <c:dLbl>
              <c:idx val="38"/>
              <c:tx>
                <c:rich>
                  <a:bodyPr/>
                  <a:lstStyle/>
                  <a:p>
                    <a:fld id="{4561F3A7-D2F3-4319-A87B-8AB9CA01859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77E-4F29-87DF-0FE64D0B037A}"/>
                </c:ext>
              </c:extLst>
            </c:dLbl>
            <c:dLbl>
              <c:idx val="39"/>
              <c:tx>
                <c:rich>
                  <a:bodyPr/>
                  <a:lstStyle/>
                  <a:p>
                    <a:fld id="{26FBB9BB-1B63-400D-A99E-2EE85FB7FD2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77E-4F29-87DF-0FE64D0B037A}"/>
                </c:ext>
              </c:extLst>
            </c:dLbl>
            <c:dLbl>
              <c:idx val="43"/>
              <c:tx>
                <c:rich>
                  <a:bodyPr/>
                  <a:lstStyle/>
                  <a:p>
                    <a:fld id="{2DFEC6DF-4896-4A2D-983D-DFE17C71AED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77E-4F29-87DF-0FE64D0B037A}"/>
                </c:ext>
              </c:extLst>
            </c:dLbl>
            <c:dLbl>
              <c:idx val="44"/>
              <c:tx>
                <c:rich>
                  <a:bodyPr/>
                  <a:lstStyle/>
                  <a:p>
                    <a:fld id="{B313D8A6-34A4-4153-A8FF-E4121B8F7A1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77E-4F29-87DF-0FE64D0B037A}"/>
                </c:ext>
              </c:extLst>
            </c:dLbl>
            <c:dLbl>
              <c:idx val="45"/>
              <c:tx>
                <c:rich>
                  <a:bodyPr/>
                  <a:lstStyle/>
                  <a:p>
                    <a:fld id="{F6809BFE-8B94-43CD-8137-892D36C6E99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77E-4F29-87DF-0FE64D0B037A}"/>
                </c:ext>
              </c:extLst>
            </c:dLbl>
            <c:dLbl>
              <c:idx val="49"/>
              <c:tx>
                <c:rich>
                  <a:bodyPr/>
                  <a:lstStyle/>
                  <a:p>
                    <a:fld id="{EE125E99-0577-4727-9597-34231202550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77E-4F29-87DF-0FE64D0B037A}"/>
                </c:ext>
              </c:extLst>
            </c:dLbl>
            <c:dLbl>
              <c:idx val="50"/>
              <c:tx>
                <c:rich>
                  <a:bodyPr/>
                  <a:lstStyle/>
                  <a:p>
                    <a:fld id="{ED11DBF3-4228-49AE-98C9-C32ACF781FA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77E-4F29-87DF-0FE64D0B037A}"/>
                </c:ext>
              </c:extLst>
            </c:dLbl>
            <c:dLbl>
              <c:idx val="51"/>
              <c:tx>
                <c:rich>
                  <a:bodyPr/>
                  <a:lstStyle/>
                  <a:p>
                    <a:fld id="{6F3EB20E-2C07-424D-9324-E43DD5BA9E3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77E-4F29-87DF-0FE64D0B037A}"/>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1</c:f>
              <c:strCache>
                <c:ptCount val="40"/>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8-04</c:v>
                </c:pt>
                <c:pt idx="16">
                  <c:v>2024-08-11</c:v>
                </c:pt>
                <c:pt idx="17">
                  <c:v>2024-08-18</c:v>
                </c:pt>
                <c:pt idx="18">
                  <c:v>2024-08-25</c:v>
                </c:pt>
                <c:pt idx="19">
                  <c:v>2024-09-01</c:v>
                </c:pt>
                <c:pt idx="20">
                  <c:v>2024-09-08</c:v>
                </c:pt>
                <c:pt idx="21">
                  <c:v>2024-09-15</c:v>
                </c:pt>
                <c:pt idx="22">
                  <c:v>2024-09-22</c:v>
                </c:pt>
                <c:pt idx="23">
                  <c:v>2024-09-29</c:v>
                </c:pt>
                <c:pt idx="24">
                  <c:v>2024-10-13</c:v>
                </c:pt>
                <c:pt idx="25">
                  <c:v>2024-10-20</c:v>
                </c:pt>
                <c:pt idx="26">
                  <c:v>2024-10-27</c:v>
                </c:pt>
                <c:pt idx="27">
                  <c:v>2024-11-03</c:v>
                </c:pt>
                <c:pt idx="28">
                  <c:v>2024-11-10</c:v>
                </c:pt>
                <c:pt idx="29">
                  <c:v>2024-11-17</c:v>
                </c:pt>
                <c:pt idx="30">
                  <c:v>2024-11-24</c:v>
                </c:pt>
                <c:pt idx="31">
                  <c:v>2024-12-01</c:v>
                </c:pt>
                <c:pt idx="32">
                  <c:v>2024-12-08</c:v>
                </c:pt>
                <c:pt idx="33">
                  <c:v>2024-12-15</c:v>
                </c:pt>
                <c:pt idx="34">
                  <c:v>2024-12-22</c:v>
                </c:pt>
                <c:pt idx="35">
                  <c:v>2024-12-29</c:v>
                </c:pt>
                <c:pt idx="36">
                  <c:v>2025-01-05</c:v>
                </c:pt>
                <c:pt idx="37">
                  <c:v>2025-01-12</c:v>
                </c:pt>
                <c:pt idx="38">
                  <c:v>2025-01-19</c:v>
                </c:pt>
                <c:pt idx="39">
                  <c:v>2025-01-26</c:v>
                </c:pt>
              </c:strCache>
            </c:strRef>
          </c:cat>
          <c:val>
            <c:numRef>
              <c:f>Sheet1!$B$2:$B$41</c:f>
              <c:numCache>
                <c:formatCode>General</c:formatCode>
                <c:ptCount val="40"/>
                <c:pt idx="24">
                  <c:v>1</c:v>
                </c:pt>
                <c:pt idx="25">
                  <c:v>1</c:v>
                </c:pt>
                <c:pt idx="31">
                  <c:v>1</c:v>
                </c:pt>
                <c:pt idx="32">
                  <c:v>1</c:v>
                </c:pt>
                <c:pt idx="33">
                  <c:v>1</c:v>
                </c:pt>
                <c:pt idx="34">
                  <c:v>1</c:v>
                </c:pt>
                <c:pt idx="35">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B77E-4F29-87DF-0FE64D0B037A}"/>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dPt>
            <c:idx val="35"/>
            <c:marker>
              <c:spPr>
                <a:solidFill>
                  <a:srgbClr val="E6E5E5"/>
                </a:solidFill>
                <a:ln>
                  <a:solidFill>
                    <a:srgbClr val="E6E5E5"/>
                  </a:solidFill>
                </a:ln>
              </c:spPr>
            </c:marker>
            <c:bubble3D val="0"/>
            <c:extLst>
              <c:ext xmlns:c16="http://schemas.microsoft.com/office/drawing/2014/chart" uri="{C3380CC4-5D6E-409C-BE32-E72D297353CC}">
                <c16:uniqueId val="{00000000-43D6-4618-8D35-F363A53DB188}"/>
              </c:ext>
            </c:extLst>
          </c:dPt>
          <c:dLbls>
            <c:dLbl>
              <c:idx val="35"/>
              <c:tx>
                <c:rich>
                  <a:bodyPr/>
                  <a:lstStyle/>
                  <a:p>
                    <a:r>
                      <a:rPr sz="800">
                        <a:solidFill>
                          <a:srgbClr val="00A097"/>
                        </a:solidFill>
                      </a:rPr>
                      <a:t>419%</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43D6-4618-8D35-F363A53DB18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41</c:f>
              <c:strCache>
                <c:ptCount val="40"/>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8-04</c:v>
                </c:pt>
                <c:pt idx="16">
                  <c:v>2024-08-11</c:v>
                </c:pt>
                <c:pt idx="17">
                  <c:v>2024-08-18</c:v>
                </c:pt>
                <c:pt idx="18">
                  <c:v>2024-08-25</c:v>
                </c:pt>
                <c:pt idx="19">
                  <c:v>2024-09-01</c:v>
                </c:pt>
                <c:pt idx="20">
                  <c:v>2024-09-08</c:v>
                </c:pt>
                <c:pt idx="21">
                  <c:v>2024-09-15</c:v>
                </c:pt>
                <c:pt idx="22">
                  <c:v>2024-09-22</c:v>
                </c:pt>
                <c:pt idx="23">
                  <c:v>2024-09-29</c:v>
                </c:pt>
                <c:pt idx="24">
                  <c:v>2024-10-13</c:v>
                </c:pt>
                <c:pt idx="25">
                  <c:v>2024-10-20</c:v>
                </c:pt>
                <c:pt idx="26">
                  <c:v>2024-10-27</c:v>
                </c:pt>
                <c:pt idx="27">
                  <c:v>2024-11-03</c:v>
                </c:pt>
                <c:pt idx="28">
                  <c:v>2024-11-10</c:v>
                </c:pt>
                <c:pt idx="29">
                  <c:v>2024-11-17</c:v>
                </c:pt>
                <c:pt idx="30">
                  <c:v>2024-11-24</c:v>
                </c:pt>
                <c:pt idx="31">
                  <c:v>2024-12-01</c:v>
                </c:pt>
                <c:pt idx="32">
                  <c:v>2024-12-08</c:v>
                </c:pt>
                <c:pt idx="33">
                  <c:v>2024-12-15</c:v>
                </c:pt>
                <c:pt idx="34">
                  <c:v>2024-12-22</c:v>
                </c:pt>
                <c:pt idx="35">
                  <c:v>2024-12-29</c:v>
                </c:pt>
                <c:pt idx="36">
                  <c:v>2025-01-05</c:v>
                </c:pt>
                <c:pt idx="37">
                  <c:v>2025-01-12</c:v>
                </c:pt>
                <c:pt idx="38">
                  <c:v>2025-01-19</c:v>
                </c:pt>
                <c:pt idx="39">
                  <c:v>2025-01-26</c:v>
                </c:pt>
              </c:strCache>
            </c:strRef>
          </c:cat>
          <c:val>
            <c:numRef>
              <c:f>Sheet1!$C$2:$C$41</c:f>
              <c:numCache>
                <c:formatCode>General</c:formatCode>
                <c:ptCount val="40"/>
                <c:pt idx="35">
                  <c:v>1.8</c:v>
                </c:pt>
              </c:numCache>
            </c:numRef>
          </c:val>
          <c:smooth val="0"/>
          <c:extLst>
            <c:ext xmlns:c16="http://schemas.microsoft.com/office/drawing/2014/chart" uri="{C3380CC4-5D6E-409C-BE32-E72D297353CC}">
              <c16:uniqueId val="{00000035-B77E-4F29-87DF-0FE64D0B037A}"/>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8830866852403085"/>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dLbls>
            <c:dLbl>
              <c:idx val="0"/>
              <c:tx>
                <c:rich>
                  <a:bodyPr/>
                  <a:lstStyle/>
                  <a:p>
                    <a:fld id="{209173F2-F6DF-4F0F-95A2-36E8D45CF83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738-4A3D-98BB-3D0CBF671497}"/>
                </c:ext>
              </c:extLst>
            </c:dLbl>
            <c:dLbl>
              <c:idx val="1"/>
              <c:tx>
                <c:rich>
                  <a:bodyPr/>
                  <a:lstStyle/>
                  <a:p>
                    <a:fld id="{08A7E620-BA09-461D-9000-C87F2224FDA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738-4A3D-98BB-3D0CBF671497}"/>
                </c:ext>
              </c:extLst>
            </c:dLbl>
            <c:dLbl>
              <c:idx val="2"/>
              <c:tx>
                <c:rich>
                  <a:bodyPr/>
                  <a:lstStyle/>
                  <a:p>
                    <a:fld id="{6D763571-78ED-4B92-8CF5-982CDBAF71C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738-4A3D-98BB-3D0CBF671497}"/>
                </c:ext>
              </c:extLst>
            </c:dLbl>
            <c:dLbl>
              <c:idx val="3"/>
              <c:tx>
                <c:rich>
                  <a:bodyPr/>
                  <a:lstStyle/>
                  <a:p>
                    <a:fld id="{92E1E12A-6966-4E93-BFA7-F24B040ED89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738-4A3D-98BB-3D0CBF671497}"/>
                </c:ext>
              </c:extLst>
            </c:dLbl>
            <c:dLbl>
              <c:idx val="4"/>
              <c:tx>
                <c:rich>
                  <a:bodyPr/>
                  <a:lstStyle/>
                  <a:p>
                    <a:fld id="{4F1E4EA9-D270-42D7-8FDA-DBB41AF003D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C738-4A3D-98BB-3D0CBF671497}"/>
                </c:ext>
              </c:extLst>
            </c:dLbl>
            <c:dLbl>
              <c:idx val="5"/>
              <c:tx>
                <c:rich>
                  <a:bodyPr/>
                  <a:lstStyle/>
                  <a:p>
                    <a:fld id="{8A5316B6-72C0-4250-97BB-EAF45429149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C738-4A3D-98BB-3D0CBF671497}"/>
                </c:ext>
              </c:extLst>
            </c:dLbl>
            <c:dLbl>
              <c:idx val="6"/>
              <c:tx>
                <c:rich>
                  <a:bodyPr/>
                  <a:lstStyle/>
                  <a:p>
                    <a:fld id="{EDABE795-0018-4809-AEA1-216C9E715FF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C738-4A3D-98BB-3D0CBF671497}"/>
                </c:ext>
              </c:extLst>
            </c:dLbl>
            <c:dLbl>
              <c:idx val="7"/>
              <c:tx>
                <c:rich>
                  <a:bodyPr/>
                  <a:lstStyle/>
                  <a:p>
                    <a:fld id="{AB25CBCA-135E-418D-BC11-D3DCB77597F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C738-4A3D-98BB-3D0CBF671497}"/>
                </c:ext>
              </c:extLst>
            </c:dLbl>
            <c:dLbl>
              <c:idx val="8"/>
              <c:tx>
                <c:rich>
                  <a:bodyPr/>
                  <a:lstStyle/>
                  <a:p>
                    <a:fld id="{9A9C2373-4F65-40BF-B20E-7DE07A934D2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C738-4A3D-98BB-3D0CBF671497}"/>
                </c:ext>
              </c:extLst>
            </c:dLbl>
            <c:dLbl>
              <c:idx val="9"/>
              <c:tx>
                <c:rich>
                  <a:bodyPr/>
                  <a:lstStyle/>
                  <a:p>
                    <a:fld id="{9A2A05EF-5630-4523-B4FE-32CAE0A49D2A}"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C738-4A3D-98BB-3D0CBF671497}"/>
                </c:ext>
              </c:extLst>
            </c:dLbl>
            <c:dLbl>
              <c:idx val="1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C738-4A3D-98BB-3D0CBF671497}"/>
                </c:ext>
              </c:extLst>
            </c:dLbl>
            <c:dLbl>
              <c:idx val="1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B-C738-4A3D-98BB-3D0CBF671497}"/>
                </c:ext>
              </c:extLst>
            </c:dLbl>
            <c:dLbl>
              <c:idx val="1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C738-4A3D-98BB-3D0CBF671497}"/>
                </c:ext>
              </c:extLst>
            </c:dLbl>
            <c:dLbl>
              <c:idx val="13"/>
              <c:tx>
                <c:rich>
                  <a:bodyPr/>
                  <a:lstStyle/>
                  <a:p>
                    <a:fld id="{81006510-3E46-4622-99FE-B4202245C1C0}"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C738-4A3D-98BB-3D0CBF671497}"/>
                </c:ext>
              </c:extLst>
            </c:dLbl>
            <c:dLbl>
              <c:idx val="14"/>
              <c:tx>
                <c:rich>
                  <a:bodyPr/>
                  <a:lstStyle/>
                  <a:p>
                    <a:fld id="{778BF049-0C01-4E71-B842-1FC2E3B2D44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C738-4A3D-98BB-3D0CBF671497}"/>
                </c:ext>
              </c:extLst>
            </c:dLbl>
            <c:dLbl>
              <c:idx val="15"/>
              <c:tx>
                <c:rich>
                  <a:bodyPr/>
                  <a:lstStyle/>
                  <a:p>
                    <a:fld id="{24D83030-6758-409E-B939-04BF26CAFFC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C738-4A3D-98BB-3D0CBF671497}"/>
                </c:ext>
              </c:extLst>
            </c:dLbl>
            <c:dLbl>
              <c:idx val="1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C738-4A3D-98BB-3D0CBF671497}"/>
                </c:ext>
              </c:extLst>
            </c:dLbl>
            <c:dLbl>
              <c:idx val="1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C738-4A3D-98BB-3D0CBF671497}"/>
                </c:ext>
              </c:extLst>
            </c:dLbl>
            <c:dLbl>
              <c:idx val="1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2-C738-4A3D-98BB-3D0CBF671497}"/>
                </c:ext>
              </c:extLst>
            </c:dLbl>
            <c:dLbl>
              <c:idx val="19"/>
              <c:tx>
                <c:rich>
                  <a:bodyPr/>
                  <a:lstStyle/>
                  <a:p>
                    <a:fld id="{E9267E56-D15E-4586-AFE1-7797D5F82F0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C738-4A3D-98BB-3D0CBF671497}"/>
                </c:ext>
              </c:extLst>
            </c:dLbl>
            <c:dLbl>
              <c:idx val="20"/>
              <c:tx>
                <c:rich>
                  <a:bodyPr/>
                  <a:lstStyle/>
                  <a:p>
                    <a:fld id="{3C5F9308-FDA2-4A01-A820-19102506537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C738-4A3D-98BB-3D0CBF671497}"/>
                </c:ext>
              </c:extLst>
            </c:dLbl>
            <c:dLbl>
              <c:idx val="21"/>
              <c:tx>
                <c:rich>
                  <a:bodyPr/>
                  <a:lstStyle/>
                  <a:p>
                    <a:fld id="{A98D946F-A5F8-4C02-9DE7-701B74B28BE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C738-4A3D-98BB-3D0CBF671497}"/>
                </c:ext>
              </c:extLst>
            </c:dLbl>
            <c:dLbl>
              <c:idx val="2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C738-4A3D-98BB-3D0CBF671497}"/>
                </c:ext>
              </c:extLst>
            </c:dLbl>
            <c:dLbl>
              <c:idx val="23"/>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C738-4A3D-98BB-3D0CBF671497}"/>
                </c:ext>
              </c:extLst>
            </c:dLbl>
            <c:dLbl>
              <c:idx val="2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C738-4A3D-98BB-3D0CBF671497}"/>
                </c:ext>
              </c:extLst>
            </c:dLbl>
            <c:dLbl>
              <c:idx val="25"/>
              <c:tx>
                <c:rich>
                  <a:bodyPr/>
                  <a:lstStyle/>
                  <a:p>
                    <a:fld id="{7E01A5F2-0AD4-4467-9300-DA3A5F2BB02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C738-4A3D-98BB-3D0CBF671497}"/>
                </c:ext>
              </c:extLst>
            </c:dLbl>
            <c:dLbl>
              <c:idx val="26"/>
              <c:tx>
                <c:rich>
                  <a:bodyPr/>
                  <a:lstStyle/>
                  <a:p>
                    <a:fld id="{C8C352EB-FC5E-4442-BEBA-8CA5EEE349C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C738-4A3D-98BB-3D0CBF671497}"/>
                </c:ext>
              </c:extLst>
            </c:dLbl>
            <c:dLbl>
              <c:idx val="27"/>
              <c:tx>
                <c:rich>
                  <a:bodyPr/>
                  <a:lstStyle/>
                  <a:p>
                    <a:fld id="{4E01D6CC-0078-479E-8C3A-608F2379A73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C738-4A3D-98BB-3D0CBF671497}"/>
                </c:ext>
              </c:extLst>
            </c:dLbl>
            <c:dLbl>
              <c:idx val="28"/>
              <c:tx>
                <c:rich>
                  <a:bodyPr/>
                  <a:lstStyle/>
                  <a:p>
                    <a:fld id="{9D16A5E0-C69E-4BCA-B2ED-3BD0ABF2BD9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C738-4A3D-98BB-3D0CBF671497}"/>
                </c:ext>
              </c:extLst>
            </c:dLbl>
            <c:dLbl>
              <c:idx val="29"/>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C738-4A3D-98BB-3D0CBF671497}"/>
                </c:ext>
              </c:extLst>
            </c:dLbl>
            <c:dLbl>
              <c:idx val="3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C738-4A3D-98BB-3D0CBF671497}"/>
                </c:ext>
              </c:extLst>
            </c:dLbl>
            <c:dLbl>
              <c:idx val="31"/>
              <c:tx>
                <c:rich>
                  <a:bodyPr/>
                  <a:lstStyle/>
                  <a:p>
                    <a:fld id="{5FDBBF02-B216-440D-8257-70F24A9077C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C738-4A3D-98BB-3D0CBF671497}"/>
                </c:ext>
              </c:extLst>
            </c:dLbl>
            <c:dLbl>
              <c:idx val="32"/>
              <c:tx>
                <c:rich>
                  <a:bodyPr/>
                  <a:lstStyle/>
                  <a:p>
                    <a:fld id="{344F9809-5754-4638-93C2-DFDA8CE31AB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C738-4A3D-98BB-3D0CBF671497}"/>
                </c:ext>
              </c:extLst>
            </c:dLbl>
            <c:dLbl>
              <c:idx val="33"/>
              <c:tx>
                <c:rich>
                  <a:bodyPr/>
                  <a:lstStyle/>
                  <a:p>
                    <a:fld id="{A28BB530-7D89-4B7A-82A4-7176B3DF415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C738-4A3D-98BB-3D0CBF671497}"/>
                </c:ext>
              </c:extLst>
            </c:dLbl>
            <c:dLbl>
              <c:idx val="3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C738-4A3D-98BB-3D0CBF671497}"/>
                </c:ext>
              </c:extLst>
            </c:dLbl>
            <c:dLbl>
              <c:idx val="35"/>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C738-4A3D-98BB-3D0CBF671497}"/>
                </c:ext>
              </c:extLst>
            </c:dLbl>
            <c:dLbl>
              <c:idx val="3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C738-4A3D-98BB-3D0CBF671497}"/>
                </c:ext>
              </c:extLst>
            </c:dLbl>
            <c:dLbl>
              <c:idx val="37"/>
              <c:tx>
                <c:rich>
                  <a:bodyPr/>
                  <a:lstStyle/>
                  <a:p>
                    <a:fld id="{27A7B505-F687-4462-81EA-EA56522563D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C738-4A3D-98BB-3D0CBF671497}"/>
                </c:ext>
              </c:extLst>
            </c:dLbl>
            <c:dLbl>
              <c:idx val="38"/>
              <c:tx>
                <c:rich>
                  <a:bodyPr/>
                  <a:lstStyle/>
                  <a:p>
                    <a:fld id="{13144A1B-00EA-41E3-B1E8-60B038E849F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C738-4A3D-98BB-3D0CBF671497}"/>
                </c:ext>
              </c:extLst>
            </c:dLbl>
            <c:dLbl>
              <c:idx val="39"/>
              <c:tx>
                <c:rich>
                  <a:bodyPr/>
                  <a:lstStyle/>
                  <a:p>
                    <a:fld id="{7B6971FA-71C6-467B-8777-3A16D600C14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C738-4A3D-98BB-3D0CBF671497}"/>
                </c:ext>
              </c:extLst>
            </c:dLbl>
            <c:dLbl>
              <c:idx val="4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8-C738-4A3D-98BB-3D0CBF671497}"/>
                </c:ext>
              </c:extLst>
            </c:dLbl>
            <c:dLbl>
              <c:idx val="4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9-C738-4A3D-98BB-3D0CBF671497}"/>
                </c:ext>
              </c:extLst>
            </c:dLbl>
            <c:dLbl>
              <c:idx val="4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C738-4A3D-98BB-3D0CBF671497}"/>
                </c:ext>
              </c:extLst>
            </c:dLbl>
            <c:dLbl>
              <c:idx val="43"/>
              <c:tx>
                <c:rich>
                  <a:bodyPr/>
                  <a:lstStyle/>
                  <a:p>
                    <a:fld id="{14EECF10-890B-42BA-AF9C-04118F29794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C738-4A3D-98BB-3D0CBF671497}"/>
                </c:ext>
              </c:extLst>
            </c:dLbl>
            <c:dLbl>
              <c:idx val="44"/>
              <c:tx>
                <c:rich>
                  <a:bodyPr/>
                  <a:lstStyle/>
                  <a:p>
                    <a:fld id="{93E70552-3E94-4679-8B26-8DB7C7F1B0E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C738-4A3D-98BB-3D0CBF671497}"/>
                </c:ext>
              </c:extLst>
            </c:dLbl>
            <c:dLbl>
              <c:idx val="45"/>
              <c:tx>
                <c:rich>
                  <a:bodyPr/>
                  <a:lstStyle/>
                  <a:p>
                    <a:fld id="{0781E337-DBF4-4EEC-9552-6D19DF46502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C738-4A3D-98BB-3D0CBF671497}"/>
                </c:ext>
              </c:extLst>
            </c:dLbl>
            <c:dLbl>
              <c:idx val="49"/>
              <c:tx>
                <c:rich>
                  <a:bodyPr/>
                  <a:lstStyle/>
                  <a:p>
                    <a:fld id="{F8A558FB-5E01-4DC8-8720-C35C87CAC4D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C738-4A3D-98BB-3D0CBF671497}"/>
                </c:ext>
              </c:extLst>
            </c:dLbl>
            <c:dLbl>
              <c:idx val="50"/>
              <c:tx>
                <c:rich>
                  <a:bodyPr/>
                  <a:lstStyle/>
                  <a:p>
                    <a:fld id="{D3417A95-2B4A-4BC1-8245-8D6C1D2115F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C738-4A3D-98BB-3D0CBF671497}"/>
                </c:ext>
              </c:extLst>
            </c:dLbl>
            <c:dLbl>
              <c:idx val="51"/>
              <c:tx>
                <c:rich>
                  <a:bodyPr/>
                  <a:lstStyle/>
                  <a:p>
                    <a:fld id="{5E6AADC0-47CD-4EEF-BD8E-840815237D5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C738-4A3D-98BB-3D0CBF671497}"/>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dLblPos val="in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4</c:f>
              <c:strCache>
                <c:ptCount val="43"/>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strCache>
            </c:strRef>
          </c:cat>
          <c:val>
            <c:numRef>
              <c:f>Sheet1!$B$2:$B$44</c:f>
              <c:numCache>
                <c:formatCode>General</c:formatCode>
                <c:ptCount val="43"/>
                <c:pt idx="0">
                  <c:v>1</c:v>
                </c:pt>
                <c:pt idx="1">
                  <c:v>1</c:v>
                </c:pt>
                <c:pt idx="2">
                  <c:v>1</c:v>
                </c:pt>
                <c:pt idx="15">
                  <c:v>1</c:v>
                </c:pt>
                <c:pt idx="16">
                  <c:v>1</c:v>
                </c:pt>
                <c:pt idx="27">
                  <c:v>1</c:v>
                </c:pt>
                <c:pt idx="28">
                  <c:v>1</c:v>
                </c:pt>
                <c:pt idx="32">
                  <c:v>1</c:v>
                </c:pt>
                <c:pt idx="33">
                  <c:v>1</c:v>
                </c:pt>
                <c:pt idx="34">
                  <c:v>1</c:v>
                </c:pt>
                <c:pt idx="35">
                  <c:v>1</c:v>
                </c:pt>
                <c:pt idx="36">
                  <c:v>1</c:v>
                </c:pt>
                <c:pt idx="37">
                  <c:v>1</c:v>
                </c:pt>
                <c:pt idx="38">
                  <c:v>1</c:v>
                </c:pt>
                <c:pt idx="39">
                  <c:v>1</c:v>
                </c:pt>
                <c:pt idx="40">
                  <c:v>1</c:v>
                </c:pt>
                <c:pt idx="41">
                  <c:v>1</c:v>
                </c:pt>
                <c:pt idx="42">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C738-4A3D-98BB-3D0CBF671497}"/>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cat>
            <c:strRef>
              <c:f>Sheet1!$A$2:$A$44</c:f>
              <c:strCache>
                <c:ptCount val="43"/>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08</c:v>
                </c:pt>
                <c:pt idx="23">
                  <c:v>2024-09-15</c:v>
                </c:pt>
                <c:pt idx="24">
                  <c:v>2024-09-22</c:v>
                </c:pt>
                <c:pt idx="25">
                  <c:v>2024-09-29</c:v>
                </c:pt>
                <c:pt idx="26">
                  <c:v>2024-10-06</c:v>
                </c:pt>
                <c:pt idx="27">
                  <c:v>2024-10-13</c:v>
                </c:pt>
                <c:pt idx="28">
                  <c:v>2024-10-20</c:v>
                </c:pt>
                <c:pt idx="29">
                  <c:v>2024-10-27</c:v>
                </c:pt>
                <c:pt idx="30">
                  <c:v>2024-11-03</c:v>
                </c:pt>
                <c:pt idx="31">
                  <c:v>2024-11-10</c:v>
                </c:pt>
                <c:pt idx="32">
                  <c:v>2024-11-17</c:v>
                </c:pt>
                <c:pt idx="33">
                  <c:v>2024-11-24</c:v>
                </c:pt>
                <c:pt idx="34">
                  <c:v>2024-12-01</c:v>
                </c:pt>
                <c:pt idx="35">
                  <c:v>2024-12-08</c:v>
                </c:pt>
                <c:pt idx="36">
                  <c:v>2024-12-15</c:v>
                </c:pt>
                <c:pt idx="37">
                  <c:v>2024-12-22</c:v>
                </c:pt>
                <c:pt idx="38">
                  <c:v>2024-12-29</c:v>
                </c:pt>
                <c:pt idx="39">
                  <c:v>2025-01-05</c:v>
                </c:pt>
                <c:pt idx="40">
                  <c:v>2025-01-12</c:v>
                </c:pt>
                <c:pt idx="41">
                  <c:v>2025-01-19</c:v>
                </c:pt>
                <c:pt idx="42">
                  <c:v>2025-01-26</c:v>
                </c:pt>
              </c:strCache>
            </c:strRef>
          </c:cat>
          <c:val>
            <c:numRef>
              <c:f>Sheet1!$C$2:$C$44</c:f>
              <c:numCache>
                <c:formatCode>General</c:formatCode>
                <c:ptCount val="43"/>
                <c:pt idx="37">
                  <c:v>5.5004315004009902E-2</c:v>
                </c:pt>
                <c:pt idx="38">
                  <c:v>1.8958721533759986</c:v>
                </c:pt>
              </c:numCache>
            </c:numRef>
          </c:val>
          <c:smooth val="0"/>
          <c:extLst>
            <c:ext xmlns:c16="http://schemas.microsoft.com/office/drawing/2014/chart" uri="{C3380CC4-5D6E-409C-BE32-E72D297353CC}">
              <c16:uniqueId val="{00000035-C738-4A3D-98BB-3D0CBF671497}"/>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675118651396688"/>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cat>
            <c:strRef>
              <c:f>Sheet1!$A$2:$A$41</c:f>
              <c:strCache>
                <c:ptCount val="40"/>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8-04</c:v>
                </c:pt>
                <c:pt idx="16">
                  <c:v>2024-08-11</c:v>
                </c:pt>
                <c:pt idx="17">
                  <c:v>2024-08-18</c:v>
                </c:pt>
                <c:pt idx="18">
                  <c:v>2024-08-25</c:v>
                </c:pt>
                <c:pt idx="19">
                  <c:v>2024-09-01</c:v>
                </c:pt>
                <c:pt idx="20">
                  <c:v>2024-09-08</c:v>
                </c:pt>
                <c:pt idx="21">
                  <c:v>2024-09-15</c:v>
                </c:pt>
                <c:pt idx="22">
                  <c:v>2024-09-22</c:v>
                </c:pt>
                <c:pt idx="23">
                  <c:v>2024-09-29</c:v>
                </c:pt>
                <c:pt idx="24">
                  <c:v>2024-10-13</c:v>
                </c:pt>
                <c:pt idx="25">
                  <c:v>2024-10-20</c:v>
                </c:pt>
                <c:pt idx="26">
                  <c:v>2024-10-27</c:v>
                </c:pt>
                <c:pt idx="27">
                  <c:v>2024-11-03</c:v>
                </c:pt>
                <c:pt idx="28">
                  <c:v>2024-11-10</c:v>
                </c:pt>
                <c:pt idx="29">
                  <c:v>2024-11-17</c:v>
                </c:pt>
                <c:pt idx="30">
                  <c:v>2024-11-24</c:v>
                </c:pt>
                <c:pt idx="31">
                  <c:v>2024-12-01</c:v>
                </c:pt>
                <c:pt idx="32">
                  <c:v>2024-12-08</c:v>
                </c:pt>
                <c:pt idx="33">
                  <c:v>2024-12-15</c:v>
                </c:pt>
                <c:pt idx="34">
                  <c:v>2024-12-22</c:v>
                </c:pt>
                <c:pt idx="35">
                  <c:v>2024-12-29</c:v>
                </c:pt>
                <c:pt idx="36">
                  <c:v>2025-01-05</c:v>
                </c:pt>
                <c:pt idx="37">
                  <c:v>2025-01-12</c:v>
                </c:pt>
                <c:pt idx="38">
                  <c:v>2025-01-19</c:v>
                </c:pt>
                <c:pt idx="39">
                  <c:v>2025-01-26</c:v>
                </c:pt>
              </c:strCache>
            </c:strRef>
          </c:cat>
          <c:val>
            <c:numRef>
              <c:f>Sheet1!$B$2:$B$41</c:f>
              <c:numCache>
                <c:formatCode>General</c:formatCode>
                <c:ptCount val="40"/>
                <c:pt idx="0">
                  <c:v>1</c:v>
                </c:pt>
                <c:pt idx="1">
                  <c:v>1</c:v>
                </c:pt>
                <c:pt idx="2">
                  <c:v>1</c:v>
                </c:pt>
                <c:pt idx="3">
                  <c:v>1</c:v>
                </c:pt>
                <c:pt idx="4">
                  <c:v>1</c:v>
                </c:pt>
                <c:pt idx="6">
                  <c:v>1</c:v>
                </c:pt>
                <c:pt idx="7">
                  <c:v>1</c:v>
                </c:pt>
                <c:pt idx="8">
                  <c:v>1</c:v>
                </c:pt>
                <c:pt idx="9">
                  <c:v>1</c:v>
                </c:pt>
                <c:pt idx="10">
                  <c:v>1</c:v>
                </c:pt>
                <c:pt idx="11">
                  <c:v>1</c:v>
                </c:pt>
                <c:pt idx="12">
                  <c:v>1</c:v>
                </c:pt>
                <c:pt idx="13">
                  <c:v>1</c:v>
                </c:pt>
                <c:pt idx="15">
                  <c:v>1</c:v>
                </c:pt>
                <c:pt idx="16">
                  <c:v>1</c:v>
                </c:pt>
                <c:pt idx="17">
                  <c:v>1</c:v>
                </c:pt>
                <c:pt idx="18">
                  <c:v>1</c:v>
                </c:pt>
                <c:pt idx="25">
                  <c:v>1</c:v>
                </c:pt>
                <c:pt idx="26">
                  <c:v>1</c:v>
                </c:pt>
                <c:pt idx="27">
                  <c:v>1</c:v>
                </c:pt>
                <c:pt idx="28">
                  <c:v>1</c:v>
                </c:pt>
                <c:pt idx="29">
                  <c:v>1</c:v>
                </c:pt>
                <c:pt idx="30">
                  <c:v>1</c:v>
                </c:pt>
                <c:pt idx="31">
                  <c:v>1</c:v>
                </c:pt>
                <c:pt idx="32">
                  <c:v>1</c:v>
                </c:pt>
                <c:pt idx="33">
                  <c:v>1</c:v>
                </c:pt>
                <c:pt idx="34">
                  <c:v>1</c:v>
                </c:pt>
                <c:pt idx="35">
                  <c:v>1</c:v>
                </c:pt>
                <c:pt idx="36">
                  <c:v>1</c:v>
                </c:pt>
                <c:pt idx="37">
                  <c:v>1</c:v>
                </c:pt>
                <c:pt idx="38">
                  <c:v>1</c:v>
                </c:pt>
                <c:pt idx="39">
                  <c:v>1</c:v>
                </c:pt>
              </c:numCache>
            </c:numRef>
          </c:val>
          <c:extLst>
            <c:ext xmlns:c16="http://schemas.microsoft.com/office/drawing/2014/chart" uri="{C3380CC4-5D6E-409C-BE32-E72D297353CC}">
              <c16:uniqueId val="{00000000-6B0A-4292-A357-CC7FA9851ABC}"/>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cat>
            <c:strRef>
              <c:f>Sheet1!$A$2:$A$41</c:f>
              <c:strCache>
                <c:ptCount val="40"/>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8-04</c:v>
                </c:pt>
                <c:pt idx="16">
                  <c:v>2024-08-11</c:v>
                </c:pt>
                <c:pt idx="17">
                  <c:v>2024-08-18</c:v>
                </c:pt>
                <c:pt idx="18">
                  <c:v>2024-08-25</c:v>
                </c:pt>
                <c:pt idx="19">
                  <c:v>2024-09-01</c:v>
                </c:pt>
                <c:pt idx="20">
                  <c:v>2024-09-08</c:v>
                </c:pt>
                <c:pt idx="21">
                  <c:v>2024-09-15</c:v>
                </c:pt>
                <c:pt idx="22">
                  <c:v>2024-09-22</c:v>
                </c:pt>
                <c:pt idx="23">
                  <c:v>2024-09-29</c:v>
                </c:pt>
                <c:pt idx="24">
                  <c:v>2024-10-13</c:v>
                </c:pt>
                <c:pt idx="25">
                  <c:v>2024-10-20</c:v>
                </c:pt>
                <c:pt idx="26">
                  <c:v>2024-10-27</c:v>
                </c:pt>
                <c:pt idx="27">
                  <c:v>2024-11-03</c:v>
                </c:pt>
                <c:pt idx="28">
                  <c:v>2024-11-10</c:v>
                </c:pt>
                <c:pt idx="29">
                  <c:v>2024-11-17</c:v>
                </c:pt>
                <c:pt idx="30">
                  <c:v>2024-11-24</c:v>
                </c:pt>
                <c:pt idx="31">
                  <c:v>2024-12-01</c:v>
                </c:pt>
                <c:pt idx="32">
                  <c:v>2024-12-08</c:v>
                </c:pt>
                <c:pt idx="33">
                  <c:v>2024-12-15</c:v>
                </c:pt>
                <c:pt idx="34">
                  <c:v>2024-12-22</c:v>
                </c:pt>
                <c:pt idx="35">
                  <c:v>2024-12-29</c:v>
                </c:pt>
                <c:pt idx="36">
                  <c:v>2025-01-05</c:v>
                </c:pt>
                <c:pt idx="37">
                  <c:v>2025-01-12</c:v>
                </c:pt>
                <c:pt idx="38">
                  <c:v>2025-01-19</c:v>
                </c:pt>
                <c:pt idx="39">
                  <c:v>2025-01-26</c:v>
                </c:pt>
              </c:strCache>
            </c:strRef>
          </c:cat>
          <c:val>
            <c:numRef>
              <c:f>Sheet1!$C$2:$C$41</c:f>
              <c:numCache>
                <c:formatCode>General</c:formatCode>
                <c:ptCount val="40"/>
                <c:pt idx="0">
                  <c:v>0.29105171411969782</c:v>
                </c:pt>
                <c:pt idx="1">
                  <c:v>0.26958350561296179</c:v>
                </c:pt>
                <c:pt idx="2">
                  <c:v>0.33402230317329995</c:v>
                </c:pt>
                <c:pt idx="3">
                  <c:v>0.18122054709132235</c:v>
                </c:pt>
                <c:pt idx="9">
                  <c:v>0.1766838586021581</c:v>
                </c:pt>
                <c:pt idx="10">
                  <c:v>0.19749181785499278</c:v>
                </c:pt>
                <c:pt idx="11">
                  <c:v>0.20018518467052601</c:v>
                </c:pt>
                <c:pt idx="12">
                  <c:v>0.3425875453811883</c:v>
                </c:pt>
                <c:pt idx="13">
                  <c:v>0.37551001419060043</c:v>
                </c:pt>
                <c:pt idx="15">
                  <c:v>0.41830334795795177</c:v>
                </c:pt>
                <c:pt idx="16">
                  <c:v>0.54999579513918084</c:v>
                </c:pt>
                <c:pt idx="17">
                  <c:v>0.62837766796341077</c:v>
                </c:pt>
                <c:pt idx="18">
                  <c:v>0.39377982984021581</c:v>
                </c:pt>
                <c:pt idx="25">
                  <c:v>0.16622326818786454</c:v>
                </c:pt>
                <c:pt idx="26">
                  <c:v>0.36911601653059167</c:v>
                </c:pt>
                <c:pt idx="27">
                  <c:v>0.17901745768842692</c:v>
                </c:pt>
                <c:pt idx="28">
                  <c:v>0.35651546521111738</c:v>
                </c:pt>
                <c:pt idx="29">
                  <c:v>0.29145752143413872</c:v>
                </c:pt>
                <c:pt idx="30">
                  <c:v>0.18382230412578296</c:v>
                </c:pt>
                <c:pt idx="32">
                  <c:v>7.3635219324882942E-2</c:v>
                </c:pt>
                <c:pt idx="33">
                  <c:v>0.70051489904676123</c:v>
                </c:pt>
                <c:pt idx="34">
                  <c:v>0.73034245264970343</c:v>
                </c:pt>
                <c:pt idx="35">
                  <c:v>0.5132734912146677</c:v>
                </c:pt>
                <c:pt idx="36">
                  <c:v>8.367974333378031E-2</c:v>
                </c:pt>
                <c:pt idx="37">
                  <c:v>0.39932925920405427</c:v>
                </c:pt>
                <c:pt idx="38">
                  <c:v>0.45419936975201114</c:v>
                </c:pt>
                <c:pt idx="39">
                  <c:v>0.42425202839756593</c:v>
                </c:pt>
              </c:numCache>
            </c:numRef>
          </c:val>
          <c:smooth val="0"/>
          <c:extLst>
            <c:ext xmlns:c16="http://schemas.microsoft.com/office/drawing/2014/chart" uri="{C3380CC4-5D6E-409C-BE32-E72D297353CC}">
              <c16:uniqueId val="{00000001-6B0A-4292-A357-CC7FA9851ABC}"/>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6308329537389168"/>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dLbls>
            <c:dLbl>
              <c:idx val="0"/>
              <c:tx>
                <c:rich>
                  <a:bodyPr/>
                  <a:lstStyle/>
                  <a:p>
                    <a:fld id="{3480D557-61D3-435B-8107-AF6D4BB8A2F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B77E-4F29-87DF-0FE64D0B037A}"/>
                </c:ext>
              </c:extLst>
            </c:dLbl>
            <c:dLbl>
              <c:idx val="1"/>
              <c:tx>
                <c:rich>
                  <a:bodyPr/>
                  <a:lstStyle/>
                  <a:p>
                    <a:fld id="{FC83D05E-8685-4B2B-BD46-532A1DB3E62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77E-4F29-87DF-0FE64D0B037A}"/>
                </c:ext>
              </c:extLst>
            </c:dLbl>
            <c:dLbl>
              <c:idx val="2"/>
              <c:tx>
                <c:rich>
                  <a:bodyPr/>
                  <a:lstStyle/>
                  <a:p>
                    <a:fld id="{82503971-38F9-44B9-BD1D-A9018C7637B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B77E-4F29-87DF-0FE64D0B037A}"/>
                </c:ext>
              </c:extLst>
            </c:dLbl>
            <c:dLbl>
              <c:idx val="3"/>
              <c:tx>
                <c:rich>
                  <a:bodyPr/>
                  <a:lstStyle/>
                  <a:p>
                    <a:fld id="{DA2B22D8-443A-4348-87FF-A4C68FD5C2A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77E-4F29-87DF-0FE64D0B037A}"/>
                </c:ext>
              </c:extLst>
            </c:dLbl>
            <c:dLbl>
              <c:idx val="4"/>
              <c:tx>
                <c:rich>
                  <a:bodyPr/>
                  <a:lstStyle/>
                  <a:p>
                    <a:fld id="{A433161A-02C4-4E42-B8AB-7918A2400A0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B77E-4F29-87DF-0FE64D0B037A}"/>
                </c:ext>
              </c:extLst>
            </c:dLbl>
            <c:dLbl>
              <c:idx val="5"/>
              <c:tx>
                <c:rich>
                  <a:bodyPr/>
                  <a:lstStyle/>
                  <a:p>
                    <a:fld id="{2AA0B1BB-B6B4-459D-B355-E944120FC22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77E-4F29-87DF-0FE64D0B037A}"/>
                </c:ext>
              </c:extLst>
            </c:dLbl>
            <c:dLbl>
              <c:idx val="6"/>
              <c:tx>
                <c:rich>
                  <a:bodyPr/>
                  <a:lstStyle/>
                  <a:p>
                    <a:fld id="{413D5072-C768-4EC5-91B8-7FEF3DCA04F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B77E-4F29-87DF-0FE64D0B037A}"/>
                </c:ext>
              </c:extLst>
            </c:dLbl>
            <c:dLbl>
              <c:idx val="7"/>
              <c:tx>
                <c:rich>
                  <a:bodyPr/>
                  <a:lstStyle/>
                  <a:p>
                    <a:fld id="{EDF9CB0D-7DC0-4807-871F-6E7D588BCD9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77E-4F29-87DF-0FE64D0B037A}"/>
                </c:ext>
              </c:extLst>
            </c:dLbl>
            <c:dLbl>
              <c:idx val="8"/>
              <c:tx>
                <c:rich>
                  <a:bodyPr/>
                  <a:lstStyle/>
                  <a:p>
                    <a:fld id="{FDA52059-0E74-471C-ABA3-548939A7583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B77E-4F29-87DF-0FE64D0B037A}"/>
                </c:ext>
              </c:extLst>
            </c:dLbl>
            <c:dLbl>
              <c:idx val="9"/>
              <c:tx>
                <c:rich>
                  <a:bodyPr/>
                  <a:lstStyle/>
                  <a:p>
                    <a:fld id="{40FDF5E2-7A53-4F95-86E4-BC6FD61E515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77E-4F29-87DF-0FE64D0B037A}"/>
                </c:ext>
              </c:extLst>
            </c:dLbl>
            <c:dLbl>
              <c:idx val="1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77E-4F29-87DF-0FE64D0B037A}"/>
                </c:ext>
              </c:extLst>
            </c:dLbl>
            <c:dLbl>
              <c:idx val="1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B-B77E-4F29-87DF-0FE64D0B037A}"/>
                </c:ext>
              </c:extLst>
            </c:dLbl>
            <c:dLbl>
              <c:idx val="1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B77E-4F29-87DF-0FE64D0B037A}"/>
                </c:ext>
              </c:extLst>
            </c:dLbl>
            <c:dLbl>
              <c:idx val="13"/>
              <c:tx>
                <c:rich>
                  <a:bodyPr/>
                  <a:lstStyle/>
                  <a:p>
                    <a:fld id="{1AF49F65-C52E-4C82-A1D9-B1465F2E2AD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77E-4F29-87DF-0FE64D0B037A}"/>
                </c:ext>
              </c:extLst>
            </c:dLbl>
            <c:dLbl>
              <c:idx val="14"/>
              <c:tx>
                <c:rich>
                  <a:bodyPr/>
                  <a:lstStyle/>
                  <a:p>
                    <a:fld id="{3954B527-46E3-4AC4-B039-1CF9CE51714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B77E-4F29-87DF-0FE64D0B037A}"/>
                </c:ext>
              </c:extLst>
            </c:dLbl>
            <c:dLbl>
              <c:idx val="15"/>
              <c:tx>
                <c:rich>
                  <a:bodyPr/>
                  <a:lstStyle/>
                  <a:p>
                    <a:fld id="{5B84436D-3C3F-48C2-96FF-0E952862E30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77E-4F29-87DF-0FE64D0B037A}"/>
                </c:ext>
              </c:extLst>
            </c:dLbl>
            <c:dLbl>
              <c:idx val="1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0-B77E-4F29-87DF-0FE64D0B037A}"/>
                </c:ext>
              </c:extLst>
            </c:dLbl>
            <c:dLbl>
              <c:idx val="1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B77E-4F29-87DF-0FE64D0B037A}"/>
                </c:ext>
              </c:extLst>
            </c:dLbl>
            <c:dLbl>
              <c:idx val="1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2-B77E-4F29-87DF-0FE64D0B037A}"/>
                </c:ext>
              </c:extLst>
            </c:dLbl>
            <c:dLbl>
              <c:idx val="19"/>
              <c:tx>
                <c:rich>
                  <a:bodyPr/>
                  <a:lstStyle/>
                  <a:p>
                    <a:fld id="{4743DFAD-BF37-4552-BDD0-63D6800AE73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77E-4F29-87DF-0FE64D0B037A}"/>
                </c:ext>
              </c:extLst>
            </c:dLbl>
            <c:dLbl>
              <c:idx val="20"/>
              <c:tx>
                <c:rich>
                  <a:bodyPr/>
                  <a:lstStyle/>
                  <a:p>
                    <a:fld id="{4829D9B4-AFCD-4E62-908C-E675A70DB37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77E-4F29-87DF-0FE64D0B037A}"/>
                </c:ext>
              </c:extLst>
            </c:dLbl>
            <c:dLbl>
              <c:idx val="21"/>
              <c:tx>
                <c:rich>
                  <a:bodyPr/>
                  <a:lstStyle/>
                  <a:p>
                    <a:fld id="{25BAA96F-FECA-417A-800A-0674A8F7281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77E-4F29-87DF-0FE64D0B037A}"/>
                </c:ext>
              </c:extLst>
            </c:dLbl>
            <c:dLbl>
              <c:idx val="2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77E-4F29-87DF-0FE64D0B037A}"/>
                </c:ext>
              </c:extLst>
            </c:dLbl>
            <c:dLbl>
              <c:idx val="23"/>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77E-4F29-87DF-0FE64D0B037A}"/>
                </c:ext>
              </c:extLst>
            </c:dLbl>
            <c:dLbl>
              <c:idx val="2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B77E-4F29-87DF-0FE64D0B037A}"/>
                </c:ext>
              </c:extLst>
            </c:dLbl>
            <c:dLbl>
              <c:idx val="25"/>
              <c:tx>
                <c:rich>
                  <a:bodyPr/>
                  <a:lstStyle/>
                  <a:p>
                    <a:fld id="{8ED27AF9-DF9D-4F3B-8DDE-E98AF80C9D2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77E-4F29-87DF-0FE64D0B037A}"/>
                </c:ext>
              </c:extLst>
            </c:dLbl>
            <c:dLbl>
              <c:idx val="26"/>
              <c:tx>
                <c:rich>
                  <a:bodyPr/>
                  <a:lstStyle/>
                  <a:p>
                    <a:fld id="{6BB2031A-72FE-4C77-A94A-8AAF3C1D0EC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77E-4F29-87DF-0FE64D0B037A}"/>
                </c:ext>
              </c:extLst>
            </c:dLbl>
            <c:dLbl>
              <c:idx val="27"/>
              <c:tx>
                <c:rich>
                  <a:bodyPr/>
                  <a:lstStyle/>
                  <a:p>
                    <a:fld id="{ECB728D0-92F9-4BE5-9050-8F0DE06C910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77E-4F29-87DF-0FE64D0B037A}"/>
                </c:ext>
              </c:extLst>
            </c:dLbl>
            <c:dLbl>
              <c:idx val="28"/>
              <c:tx>
                <c:rich>
                  <a:bodyPr/>
                  <a:lstStyle/>
                  <a:p>
                    <a:fld id="{89865B5B-9739-473C-B68A-502E7C94908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77E-4F29-87DF-0FE64D0B037A}"/>
                </c:ext>
              </c:extLst>
            </c:dLbl>
            <c:dLbl>
              <c:idx val="29"/>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77E-4F29-87DF-0FE64D0B037A}"/>
                </c:ext>
              </c:extLst>
            </c:dLbl>
            <c:dLbl>
              <c:idx val="3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77E-4F29-87DF-0FE64D0B037A}"/>
                </c:ext>
              </c:extLst>
            </c:dLbl>
            <c:dLbl>
              <c:idx val="31"/>
              <c:tx>
                <c:rich>
                  <a:bodyPr/>
                  <a:lstStyle/>
                  <a:p>
                    <a:fld id="{CFF01A83-7598-458C-B6A7-0EE71165961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77E-4F29-87DF-0FE64D0B037A}"/>
                </c:ext>
              </c:extLst>
            </c:dLbl>
            <c:dLbl>
              <c:idx val="32"/>
              <c:tx>
                <c:rich>
                  <a:bodyPr/>
                  <a:lstStyle/>
                  <a:p>
                    <a:fld id="{7C192FCF-F231-4056-9309-9D1D1CA8464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77E-4F29-87DF-0FE64D0B037A}"/>
                </c:ext>
              </c:extLst>
            </c:dLbl>
            <c:dLbl>
              <c:idx val="33"/>
              <c:tx>
                <c:rich>
                  <a:bodyPr/>
                  <a:lstStyle/>
                  <a:p>
                    <a:fld id="{7D7E8839-0AD5-40BB-AACA-63FDA4E6949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77E-4F29-87DF-0FE64D0B037A}"/>
                </c:ext>
              </c:extLst>
            </c:dLbl>
            <c:dLbl>
              <c:idx val="3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B77E-4F29-87DF-0FE64D0B037A}"/>
                </c:ext>
              </c:extLst>
            </c:dLbl>
            <c:dLbl>
              <c:idx val="35"/>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B77E-4F29-87DF-0FE64D0B037A}"/>
                </c:ext>
              </c:extLst>
            </c:dLbl>
            <c:dLbl>
              <c:idx val="3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77E-4F29-87DF-0FE64D0B037A}"/>
                </c:ext>
              </c:extLst>
            </c:dLbl>
            <c:dLbl>
              <c:idx val="37"/>
              <c:tx>
                <c:rich>
                  <a:bodyPr/>
                  <a:lstStyle/>
                  <a:p>
                    <a:fld id="{925E04F3-35B1-4A81-B927-3109E8BAC18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77E-4F29-87DF-0FE64D0B037A}"/>
                </c:ext>
              </c:extLst>
            </c:dLbl>
            <c:dLbl>
              <c:idx val="38"/>
              <c:tx>
                <c:rich>
                  <a:bodyPr/>
                  <a:lstStyle/>
                  <a:p>
                    <a:fld id="{4D320578-4B72-4B14-97B3-FB63300DADB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77E-4F29-87DF-0FE64D0B037A}"/>
                </c:ext>
              </c:extLst>
            </c:dLbl>
            <c:dLbl>
              <c:idx val="39"/>
              <c:tx>
                <c:rich>
                  <a:bodyPr/>
                  <a:lstStyle/>
                  <a:p>
                    <a:fld id="{97C83659-A4BB-487F-9955-4AF773521FC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77E-4F29-87DF-0FE64D0B037A}"/>
                </c:ext>
              </c:extLst>
            </c:dLbl>
            <c:dLbl>
              <c:idx val="43"/>
              <c:tx>
                <c:rich>
                  <a:bodyPr/>
                  <a:lstStyle/>
                  <a:p>
                    <a:fld id="{0F912EC3-F2E5-4355-A369-820616CE724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77E-4F29-87DF-0FE64D0B037A}"/>
                </c:ext>
              </c:extLst>
            </c:dLbl>
            <c:dLbl>
              <c:idx val="44"/>
              <c:tx>
                <c:rich>
                  <a:bodyPr/>
                  <a:lstStyle/>
                  <a:p>
                    <a:fld id="{CACEF3BD-3855-4D5D-BD3D-5D817D7F10A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77E-4F29-87DF-0FE64D0B037A}"/>
                </c:ext>
              </c:extLst>
            </c:dLbl>
            <c:dLbl>
              <c:idx val="45"/>
              <c:tx>
                <c:rich>
                  <a:bodyPr/>
                  <a:lstStyle/>
                  <a:p>
                    <a:fld id="{8C52350A-0113-4409-8FA0-653175388DC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77E-4F29-87DF-0FE64D0B037A}"/>
                </c:ext>
              </c:extLst>
            </c:dLbl>
            <c:dLbl>
              <c:idx val="49"/>
              <c:tx>
                <c:rich>
                  <a:bodyPr/>
                  <a:lstStyle/>
                  <a:p>
                    <a:fld id="{5DA3267E-99FA-4FF6-A28F-30B7141FC5B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77E-4F29-87DF-0FE64D0B037A}"/>
                </c:ext>
              </c:extLst>
            </c:dLbl>
            <c:dLbl>
              <c:idx val="50"/>
              <c:tx>
                <c:rich>
                  <a:bodyPr/>
                  <a:lstStyle/>
                  <a:p>
                    <a:fld id="{F10C9805-62AA-4752-9253-0A8FD140E35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77E-4F29-87DF-0FE64D0B037A}"/>
                </c:ext>
              </c:extLst>
            </c:dLbl>
            <c:dLbl>
              <c:idx val="51"/>
              <c:tx>
                <c:rich>
                  <a:bodyPr/>
                  <a:lstStyle/>
                  <a:p>
                    <a:fld id="{8CCE1995-F2AC-40AE-80EC-66EC03CAC0D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77E-4F29-87DF-0FE64D0B037A}"/>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1</c:f>
              <c:strCache>
                <c:ptCount val="40"/>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8-04</c:v>
                </c:pt>
                <c:pt idx="16">
                  <c:v>2024-08-11</c:v>
                </c:pt>
                <c:pt idx="17">
                  <c:v>2024-08-18</c:v>
                </c:pt>
                <c:pt idx="18">
                  <c:v>2024-08-25</c:v>
                </c:pt>
                <c:pt idx="19">
                  <c:v>2024-09-01</c:v>
                </c:pt>
                <c:pt idx="20">
                  <c:v>2024-09-08</c:v>
                </c:pt>
                <c:pt idx="21">
                  <c:v>2024-09-15</c:v>
                </c:pt>
                <c:pt idx="22">
                  <c:v>2024-09-22</c:v>
                </c:pt>
                <c:pt idx="23">
                  <c:v>2024-09-29</c:v>
                </c:pt>
                <c:pt idx="24">
                  <c:v>2024-10-13</c:v>
                </c:pt>
                <c:pt idx="25">
                  <c:v>2024-10-20</c:v>
                </c:pt>
                <c:pt idx="26">
                  <c:v>2024-10-27</c:v>
                </c:pt>
                <c:pt idx="27">
                  <c:v>2024-11-03</c:v>
                </c:pt>
                <c:pt idx="28">
                  <c:v>2024-11-10</c:v>
                </c:pt>
                <c:pt idx="29">
                  <c:v>2024-11-17</c:v>
                </c:pt>
                <c:pt idx="30">
                  <c:v>2024-11-24</c:v>
                </c:pt>
                <c:pt idx="31">
                  <c:v>2024-12-01</c:v>
                </c:pt>
                <c:pt idx="32">
                  <c:v>2024-12-08</c:v>
                </c:pt>
                <c:pt idx="33">
                  <c:v>2024-12-15</c:v>
                </c:pt>
                <c:pt idx="34">
                  <c:v>2024-12-22</c:v>
                </c:pt>
                <c:pt idx="35">
                  <c:v>2024-12-29</c:v>
                </c:pt>
                <c:pt idx="36">
                  <c:v>2025-01-05</c:v>
                </c:pt>
                <c:pt idx="37">
                  <c:v>2025-01-12</c:v>
                </c:pt>
                <c:pt idx="38">
                  <c:v>2025-01-19</c:v>
                </c:pt>
                <c:pt idx="39">
                  <c:v>2025-01-26</c:v>
                </c:pt>
              </c:strCache>
            </c:strRef>
          </c:cat>
          <c:val>
            <c:numRef>
              <c:f>Sheet1!$B$2:$B$41</c:f>
              <c:numCache>
                <c:formatCode>General</c:formatCode>
                <c:ptCount val="40"/>
                <c:pt idx="24">
                  <c:v>1</c:v>
                </c:pt>
                <c:pt idx="25">
                  <c:v>1</c:v>
                </c:pt>
                <c:pt idx="31">
                  <c:v>1</c:v>
                </c:pt>
                <c:pt idx="32">
                  <c:v>1</c:v>
                </c:pt>
                <c:pt idx="33">
                  <c:v>1</c:v>
                </c:pt>
                <c:pt idx="34">
                  <c:v>1</c:v>
                </c:pt>
                <c:pt idx="35">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B77E-4F29-87DF-0FE64D0B037A}"/>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dPt>
            <c:idx val="35"/>
            <c:marker>
              <c:spPr>
                <a:solidFill>
                  <a:srgbClr val="E6E5E5"/>
                </a:solidFill>
                <a:ln>
                  <a:solidFill>
                    <a:srgbClr val="E6E5E5"/>
                  </a:solidFill>
                </a:ln>
              </c:spPr>
            </c:marker>
            <c:bubble3D val="0"/>
            <c:extLst>
              <c:ext xmlns:c16="http://schemas.microsoft.com/office/drawing/2014/chart" uri="{C3380CC4-5D6E-409C-BE32-E72D297353CC}">
                <c16:uniqueId val="{00000000-B2AD-4265-A908-D1E440AA380D}"/>
              </c:ext>
            </c:extLst>
          </c:dPt>
          <c:dLbls>
            <c:dLbl>
              <c:idx val="35"/>
              <c:tx>
                <c:rich>
                  <a:bodyPr/>
                  <a:lstStyle/>
                  <a:p>
                    <a:r>
                      <a:rPr sz="800">
                        <a:solidFill>
                          <a:srgbClr val="00A097"/>
                        </a:solidFill>
                      </a:rPr>
                      <a:t>419%</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B2AD-4265-A908-D1E440AA380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41</c:f>
              <c:strCache>
                <c:ptCount val="40"/>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8-04</c:v>
                </c:pt>
                <c:pt idx="16">
                  <c:v>2024-08-11</c:v>
                </c:pt>
                <c:pt idx="17">
                  <c:v>2024-08-18</c:v>
                </c:pt>
                <c:pt idx="18">
                  <c:v>2024-08-25</c:v>
                </c:pt>
                <c:pt idx="19">
                  <c:v>2024-09-01</c:v>
                </c:pt>
                <c:pt idx="20">
                  <c:v>2024-09-08</c:v>
                </c:pt>
                <c:pt idx="21">
                  <c:v>2024-09-15</c:v>
                </c:pt>
                <c:pt idx="22">
                  <c:v>2024-09-22</c:v>
                </c:pt>
                <c:pt idx="23">
                  <c:v>2024-09-29</c:v>
                </c:pt>
                <c:pt idx="24">
                  <c:v>2024-10-13</c:v>
                </c:pt>
                <c:pt idx="25">
                  <c:v>2024-10-20</c:v>
                </c:pt>
                <c:pt idx="26">
                  <c:v>2024-10-27</c:v>
                </c:pt>
                <c:pt idx="27">
                  <c:v>2024-11-03</c:v>
                </c:pt>
                <c:pt idx="28">
                  <c:v>2024-11-10</c:v>
                </c:pt>
                <c:pt idx="29">
                  <c:v>2024-11-17</c:v>
                </c:pt>
                <c:pt idx="30">
                  <c:v>2024-11-24</c:v>
                </c:pt>
                <c:pt idx="31">
                  <c:v>2024-12-01</c:v>
                </c:pt>
                <c:pt idx="32">
                  <c:v>2024-12-08</c:v>
                </c:pt>
                <c:pt idx="33">
                  <c:v>2024-12-15</c:v>
                </c:pt>
                <c:pt idx="34">
                  <c:v>2024-12-22</c:v>
                </c:pt>
                <c:pt idx="35">
                  <c:v>2024-12-29</c:v>
                </c:pt>
                <c:pt idx="36">
                  <c:v>2025-01-05</c:v>
                </c:pt>
                <c:pt idx="37">
                  <c:v>2025-01-12</c:v>
                </c:pt>
                <c:pt idx="38">
                  <c:v>2025-01-19</c:v>
                </c:pt>
                <c:pt idx="39">
                  <c:v>2025-01-26</c:v>
                </c:pt>
              </c:strCache>
            </c:strRef>
          </c:cat>
          <c:val>
            <c:numRef>
              <c:f>Sheet1!$C$2:$C$41</c:f>
              <c:numCache>
                <c:formatCode>General</c:formatCode>
                <c:ptCount val="40"/>
                <c:pt idx="35">
                  <c:v>1.8</c:v>
                </c:pt>
              </c:numCache>
            </c:numRef>
          </c:val>
          <c:smooth val="0"/>
          <c:extLst>
            <c:ext xmlns:c16="http://schemas.microsoft.com/office/drawing/2014/chart" uri="{C3380CC4-5D6E-409C-BE32-E72D297353CC}">
              <c16:uniqueId val="{00000035-B77E-4F29-87DF-0FE64D0B037A}"/>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8830866852403085"/>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dLbls>
            <c:dLbl>
              <c:idx val="0"/>
              <c:tx>
                <c:rich>
                  <a:bodyPr/>
                  <a:lstStyle/>
                  <a:p>
                    <a:fld id="{A8E9E8C7-4150-4F35-992C-929F6B11FCC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738-4A3D-98BB-3D0CBF671497}"/>
                </c:ext>
              </c:extLst>
            </c:dLbl>
            <c:dLbl>
              <c:idx val="1"/>
              <c:tx>
                <c:rich>
                  <a:bodyPr/>
                  <a:lstStyle/>
                  <a:p>
                    <a:fld id="{BC478068-7A43-460E-8BBD-53C19165B46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738-4A3D-98BB-3D0CBF671497}"/>
                </c:ext>
              </c:extLst>
            </c:dLbl>
            <c:dLbl>
              <c:idx val="2"/>
              <c:tx>
                <c:rich>
                  <a:bodyPr/>
                  <a:lstStyle/>
                  <a:p>
                    <a:fld id="{80C6F74F-E8FD-468C-9754-9B46FE1E9BB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738-4A3D-98BB-3D0CBF671497}"/>
                </c:ext>
              </c:extLst>
            </c:dLbl>
            <c:dLbl>
              <c:idx val="3"/>
              <c:tx>
                <c:rich>
                  <a:bodyPr/>
                  <a:lstStyle/>
                  <a:p>
                    <a:fld id="{B61B735A-0ADC-486D-BA39-F693DE567D2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738-4A3D-98BB-3D0CBF671497}"/>
                </c:ext>
              </c:extLst>
            </c:dLbl>
            <c:dLbl>
              <c:idx val="4"/>
              <c:tx>
                <c:rich>
                  <a:bodyPr/>
                  <a:lstStyle/>
                  <a:p>
                    <a:fld id="{D10E55FF-9708-4EAC-BF80-25AC86225D6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C738-4A3D-98BB-3D0CBF671497}"/>
                </c:ext>
              </c:extLst>
            </c:dLbl>
            <c:dLbl>
              <c:idx val="5"/>
              <c:tx>
                <c:rich>
                  <a:bodyPr/>
                  <a:lstStyle/>
                  <a:p>
                    <a:fld id="{B2599AC1-9D99-414D-A9BD-D41792698E0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C738-4A3D-98BB-3D0CBF671497}"/>
                </c:ext>
              </c:extLst>
            </c:dLbl>
            <c:dLbl>
              <c:idx val="6"/>
              <c:tx>
                <c:rich>
                  <a:bodyPr/>
                  <a:lstStyle/>
                  <a:p>
                    <a:fld id="{4A63C6C2-B87E-4BAE-A3BB-C9197BC546D0}"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C738-4A3D-98BB-3D0CBF671497}"/>
                </c:ext>
              </c:extLst>
            </c:dLbl>
            <c:dLbl>
              <c:idx val="7"/>
              <c:tx>
                <c:rich>
                  <a:bodyPr/>
                  <a:lstStyle/>
                  <a:p>
                    <a:fld id="{747C4777-D7D2-4E3C-ABEB-F8AA54BC724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C738-4A3D-98BB-3D0CBF671497}"/>
                </c:ext>
              </c:extLst>
            </c:dLbl>
            <c:dLbl>
              <c:idx val="8"/>
              <c:tx>
                <c:rich>
                  <a:bodyPr/>
                  <a:lstStyle/>
                  <a:p>
                    <a:fld id="{A7E54404-E551-4EDA-ABC6-5BF280A1F68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C738-4A3D-98BB-3D0CBF671497}"/>
                </c:ext>
              </c:extLst>
            </c:dLbl>
            <c:dLbl>
              <c:idx val="9"/>
              <c:tx>
                <c:rich>
                  <a:bodyPr/>
                  <a:lstStyle/>
                  <a:p>
                    <a:fld id="{9F5601BB-0235-49D8-9F53-73563216CDE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C738-4A3D-98BB-3D0CBF671497}"/>
                </c:ext>
              </c:extLst>
            </c:dLbl>
            <c:dLbl>
              <c:idx val="1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C738-4A3D-98BB-3D0CBF671497}"/>
                </c:ext>
              </c:extLst>
            </c:dLbl>
            <c:dLbl>
              <c:idx val="1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C738-4A3D-98BB-3D0CBF671497}"/>
                </c:ext>
              </c:extLst>
            </c:dLbl>
            <c:dLbl>
              <c:idx val="1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C738-4A3D-98BB-3D0CBF671497}"/>
                </c:ext>
              </c:extLst>
            </c:dLbl>
            <c:dLbl>
              <c:idx val="13"/>
              <c:tx>
                <c:rich>
                  <a:bodyPr/>
                  <a:lstStyle/>
                  <a:p>
                    <a:fld id="{BF882C49-8C48-4671-953D-52BF36469FE0}"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C738-4A3D-98BB-3D0CBF671497}"/>
                </c:ext>
              </c:extLst>
            </c:dLbl>
            <c:dLbl>
              <c:idx val="14"/>
              <c:tx>
                <c:rich>
                  <a:bodyPr/>
                  <a:lstStyle/>
                  <a:p>
                    <a:fld id="{F7B0D7BF-EA18-49F4-B8BA-B4F4F26F7B1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C738-4A3D-98BB-3D0CBF671497}"/>
                </c:ext>
              </c:extLst>
            </c:dLbl>
            <c:dLbl>
              <c:idx val="15"/>
              <c:tx>
                <c:rich>
                  <a:bodyPr/>
                  <a:lstStyle/>
                  <a:p>
                    <a:fld id="{0244A03E-77C9-4419-ABF8-68F19C93BD7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C738-4A3D-98BB-3D0CBF671497}"/>
                </c:ext>
              </c:extLst>
            </c:dLbl>
            <c:dLbl>
              <c:idx val="1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C738-4A3D-98BB-3D0CBF671497}"/>
                </c:ext>
              </c:extLst>
            </c:dLbl>
            <c:dLbl>
              <c:idx val="1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C738-4A3D-98BB-3D0CBF671497}"/>
                </c:ext>
              </c:extLst>
            </c:dLbl>
            <c:dLbl>
              <c:idx val="1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C738-4A3D-98BB-3D0CBF671497}"/>
                </c:ext>
              </c:extLst>
            </c:dLbl>
            <c:dLbl>
              <c:idx val="19"/>
              <c:tx>
                <c:rich>
                  <a:bodyPr/>
                  <a:lstStyle/>
                  <a:p>
                    <a:fld id="{3690BB8D-EB43-4500-898A-04033D5EBD3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C738-4A3D-98BB-3D0CBF671497}"/>
                </c:ext>
              </c:extLst>
            </c:dLbl>
            <c:dLbl>
              <c:idx val="20"/>
              <c:tx>
                <c:rich>
                  <a:bodyPr/>
                  <a:lstStyle/>
                  <a:p>
                    <a:fld id="{CB93AD78-6B06-48E0-83AD-C0177E19E51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C738-4A3D-98BB-3D0CBF671497}"/>
                </c:ext>
              </c:extLst>
            </c:dLbl>
            <c:dLbl>
              <c:idx val="21"/>
              <c:tx>
                <c:rich>
                  <a:bodyPr/>
                  <a:lstStyle/>
                  <a:p>
                    <a:fld id="{27D0FF02-F7C7-4D17-8729-60E8B3A5412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C738-4A3D-98BB-3D0CBF671497}"/>
                </c:ext>
              </c:extLst>
            </c:dLbl>
            <c:dLbl>
              <c:idx val="25"/>
              <c:tx>
                <c:rich>
                  <a:bodyPr/>
                  <a:lstStyle/>
                  <a:p>
                    <a:fld id="{EB9EE72C-EB40-4820-95DA-91DCE131A84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C738-4A3D-98BB-3D0CBF671497}"/>
                </c:ext>
              </c:extLst>
            </c:dLbl>
            <c:dLbl>
              <c:idx val="26"/>
              <c:tx>
                <c:rich>
                  <a:bodyPr/>
                  <a:lstStyle/>
                  <a:p>
                    <a:fld id="{E30D0247-7BD7-4B14-ACAF-4507A3FF2FE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C738-4A3D-98BB-3D0CBF671497}"/>
                </c:ext>
              </c:extLst>
            </c:dLbl>
            <c:dLbl>
              <c:idx val="27"/>
              <c:tx>
                <c:rich>
                  <a:bodyPr/>
                  <a:lstStyle/>
                  <a:p>
                    <a:fld id="{E0728498-7029-41B9-81B6-5B1DF5962A7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C738-4A3D-98BB-3D0CBF671497}"/>
                </c:ext>
              </c:extLst>
            </c:dLbl>
            <c:dLbl>
              <c:idx val="28"/>
              <c:tx>
                <c:rich>
                  <a:bodyPr/>
                  <a:lstStyle/>
                  <a:p>
                    <a:fld id="{04D05334-FAA6-4C62-AD43-A128AD52CFC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C738-4A3D-98BB-3D0CBF671497}"/>
                </c:ext>
              </c:extLst>
            </c:dLbl>
            <c:dLbl>
              <c:idx val="31"/>
              <c:tx>
                <c:rich>
                  <a:bodyPr/>
                  <a:lstStyle/>
                  <a:p>
                    <a:fld id="{F49DE9F5-7924-489B-8EFE-567175ED83E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C738-4A3D-98BB-3D0CBF671497}"/>
                </c:ext>
              </c:extLst>
            </c:dLbl>
            <c:dLbl>
              <c:idx val="32"/>
              <c:tx>
                <c:rich>
                  <a:bodyPr/>
                  <a:lstStyle/>
                  <a:p>
                    <a:fld id="{3674B1F7-F2E8-4F3F-B827-8BD37835F46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C738-4A3D-98BB-3D0CBF671497}"/>
                </c:ext>
              </c:extLst>
            </c:dLbl>
            <c:dLbl>
              <c:idx val="33"/>
              <c:tx>
                <c:rich>
                  <a:bodyPr/>
                  <a:lstStyle/>
                  <a:p>
                    <a:fld id="{F06A2D35-F0B7-4C82-9551-5D8EBADFDC3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C738-4A3D-98BB-3D0CBF671497}"/>
                </c:ext>
              </c:extLst>
            </c:dLbl>
            <c:dLbl>
              <c:idx val="37"/>
              <c:tx>
                <c:rich>
                  <a:bodyPr/>
                  <a:lstStyle/>
                  <a:p>
                    <a:fld id="{E1607C98-4B7A-45CC-BBC3-8C5F8384B4B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C738-4A3D-98BB-3D0CBF671497}"/>
                </c:ext>
              </c:extLst>
            </c:dLbl>
            <c:dLbl>
              <c:idx val="38"/>
              <c:tx>
                <c:rich>
                  <a:bodyPr/>
                  <a:lstStyle/>
                  <a:p>
                    <a:fld id="{172B91ED-502D-4B42-9645-9BFA0DCBAB2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C738-4A3D-98BB-3D0CBF671497}"/>
                </c:ext>
              </c:extLst>
            </c:dLbl>
            <c:dLbl>
              <c:idx val="39"/>
              <c:tx>
                <c:rich>
                  <a:bodyPr/>
                  <a:lstStyle/>
                  <a:p>
                    <a:fld id="{984B2CA0-E153-4DF1-80ED-B88B2B753C4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C738-4A3D-98BB-3D0CBF671497}"/>
                </c:ext>
              </c:extLst>
            </c:dLbl>
            <c:dLbl>
              <c:idx val="43"/>
              <c:tx>
                <c:rich>
                  <a:bodyPr/>
                  <a:lstStyle/>
                  <a:p>
                    <a:fld id="{C4F9F086-7204-42CC-8BD8-4995E07964A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C738-4A3D-98BB-3D0CBF671497}"/>
                </c:ext>
              </c:extLst>
            </c:dLbl>
            <c:dLbl>
              <c:idx val="44"/>
              <c:tx>
                <c:rich>
                  <a:bodyPr/>
                  <a:lstStyle/>
                  <a:p>
                    <a:fld id="{4BAE8E24-636A-447C-87D5-D9222F9BD0C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C738-4A3D-98BB-3D0CBF671497}"/>
                </c:ext>
              </c:extLst>
            </c:dLbl>
            <c:dLbl>
              <c:idx val="45"/>
              <c:tx>
                <c:rich>
                  <a:bodyPr/>
                  <a:lstStyle/>
                  <a:p>
                    <a:fld id="{A6ED1E72-8646-42B9-8F7C-5DB566D2D81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C738-4A3D-98BB-3D0CBF671497}"/>
                </c:ext>
              </c:extLst>
            </c:dLbl>
            <c:dLbl>
              <c:idx val="49"/>
              <c:tx>
                <c:rich>
                  <a:bodyPr/>
                  <a:lstStyle/>
                  <a:p>
                    <a:fld id="{AC71FD0D-1197-4DB1-9356-B4A0DF3B742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C738-4A3D-98BB-3D0CBF671497}"/>
                </c:ext>
              </c:extLst>
            </c:dLbl>
            <c:dLbl>
              <c:idx val="50"/>
              <c:tx>
                <c:rich>
                  <a:bodyPr/>
                  <a:lstStyle/>
                  <a:p>
                    <a:fld id="{11DA6579-1B99-464C-A915-34DF8D5C6BB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C738-4A3D-98BB-3D0CBF671497}"/>
                </c:ext>
              </c:extLst>
            </c:dLbl>
            <c:dLbl>
              <c:idx val="51"/>
              <c:tx>
                <c:rich>
                  <a:bodyPr/>
                  <a:lstStyle/>
                  <a:p>
                    <a:fld id="{591D3C98-6F22-44F2-A3DB-97B309088A9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C738-4A3D-98BB-3D0CBF671497}"/>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dLblPos val="in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2024-04-14</c:v>
                </c:pt>
                <c:pt idx="1">
                  <c:v>2024-05-26</c:v>
                </c:pt>
                <c:pt idx="2">
                  <c:v>2024-06-02</c:v>
                </c:pt>
                <c:pt idx="3">
                  <c:v>2024-08-11</c:v>
                </c:pt>
                <c:pt idx="4">
                  <c:v>2024-09-08</c:v>
                </c:pt>
                <c:pt idx="5">
                  <c:v>2024-10-13</c:v>
                </c:pt>
                <c:pt idx="6">
                  <c:v>2024-10-20</c:v>
                </c:pt>
                <c:pt idx="7">
                  <c:v>2024-10-27</c:v>
                </c:pt>
                <c:pt idx="8">
                  <c:v>2024-11-03</c:v>
                </c:pt>
                <c:pt idx="9">
                  <c:v>2024-11-10</c:v>
                </c:pt>
                <c:pt idx="10">
                  <c:v>2024-11-17</c:v>
                </c:pt>
                <c:pt idx="11">
                  <c:v>2024-11-24</c:v>
                </c:pt>
                <c:pt idx="12">
                  <c:v>2024-12-01</c:v>
                </c:pt>
                <c:pt idx="13">
                  <c:v>2024-12-08</c:v>
                </c:pt>
                <c:pt idx="14">
                  <c:v>2024-12-15</c:v>
                </c:pt>
                <c:pt idx="15">
                  <c:v>2024-12-22</c:v>
                </c:pt>
                <c:pt idx="16">
                  <c:v>2024-12-29</c:v>
                </c:pt>
                <c:pt idx="17">
                  <c:v>2025-01-05</c:v>
                </c:pt>
                <c:pt idx="18">
                  <c:v>2025-01-12</c:v>
                </c:pt>
                <c:pt idx="19">
                  <c:v>2025-01-19</c:v>
                </c:pt>
              </c:strCache>
            </c:strRef>
          </c:cat>
          <c:val>
            <c:numRef>
              <c:f>Sheet1!$B$2:$B$21</c:f>
              <c:numCache>
                <c:formatCode>General</c:formatCode>
                <c:ptCount val="20"/>
                <c:pt idx="0">
                  <c:v>1</c:v>
                </c:pt>
                <c:pt idx="1">
                  <c:v>1</c:v>
                </c:pt>
                <c:pt idx="5">
                  <c:v>1</c:v>
                </c:pt>
                <c:pt idx="6">
                  <c:v>1</c:v>
                </c:pt>
                <c:pt idx="7">
                  <c:v>1</c:v>
                </c:pt>
                <c:pt idx="8">
                  <c:v>1</c:v>
                </c:pt>
                <c:pt idx="9">
                  <c:v>1</c:v>
                </c:pt>
                <c:pt idx="10">
                  <c:v>1</c:v>
                </c:pt>
                <c:pt idx="11">
                  <c:v>1</c:v>
                </c:pt>
                <c:pt idx="12">
                  <c:v>1</c:v>
                </c:pt>
                <c:pt idx="13">
                  <c:v>1</c:v>
                </c:pt>
                <c:pt idx="14">
                  <c:v>1</c:v>
                </c:pt>
                <c:pt idx="15">
                  <c:v>1</c:v>
                </c:pt>
                <c:pt idx="16">
                  <c:v>1</c:v>
                </c:pt>
                <c:pt idx="17">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C738-4A3D-98BB-3D0CBF671497}"/>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dPt>
            <c:idx val="16"/>
            <c:marker>
              <c:spPr>
                <a:solidFill>
                  <a:srgbClr val="E6E5E5"/>
                </a:solidFill>
                <a:ln>
                  <a:solidFill>
                    <a:srgbClr val="E6E5E5"/>
                  </a:solidFill>
                </a:ln>
              </c:spPr>
            </c:marker>
            <c:bubble3D val="0"/>
            <c:extLst>
              <c:ext xmlns:c16="http://schemas.microsoft.com/office/drawing/2014/chart" uri="{C3380CC4-5D6E-409C-BE32-E72D297353CC}">
                <c16:uniqueId val="{00000000-52FB-450A-BD63-18D11E73BC2A}"/>
              </c:ext>
            </c:extLst>
          </c:dPt>
          <c:dLbls>
            <c:dLbl>
              <c:idx val="16"/>
              <c:tx>
                <c:rich>
                  <a:bodyPr/>
                  <a:lstStyle/>
                  <a:p>
                    <a:r>
                      <a:rPr sz="800">
                        <a:solidFill>
                          <a:srgbClr val="00A097"/>
                        </a:solidFill>
                      </a:rPr>
                      <a:t>753%</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52FB-450A-BD63-18D11E73BC2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1</c:f>
              <c:strCache>
                <c:ptCount val="20"/>
                <c:pt idx="0">
                  <c:v>2024-04-14</c:v>
                </c:pt>
                <c:pt idx="1">
                  <c:v>2024-05-26</c:v>
                </c:pt>
                <c:pt idx="2">
                  <c:v>2024-06-02</c:v>
                </c:pt>
                <c:pt idx="3">
                  <c:v>2024-08-11</c:v>
                </c:pt>
                <c:pt idx="4">
                  <c:v>2024-09-08</c:v>
                </c:pt>
                <c:pt idx="5">
                  <c:v>2024-10-13</c:v>
                </c:pt>
                <c:pt idx="6">
                  <c:v>2024-10-20</c:v>
                </c:pt>
                <c:pt idx="7">
                  <c:v>2024-10-27</c:v>
                </c:pt>
                <c:pt idx="8">
                  <c:v>2024-11-03</c:v>
                </c:pt>
                <c:pt idx="9">
                  <c:v>2024-11-10</c:v>
                </c:pt>
                <c:pt idx="10">
                  <c:v>2024-11-17</c:v>
                </c:pt>
                <c:pt idx="11">
                  <c:v>2024-11-24</c:v>
                </c:pt>
                <c:pt idx="12">
                  <c:v>2024-12-01</c:v>
                </c:pt>
                <c:pt idx="13">
                  <c:v>2024-12-08</c:v>
                </c:pt>
                <c:pt idx="14">
                  <c:v>2024-12-15</c:v>
                </c:pt>
                <c:pt idx="15">
                  <c:v>2024-12-22</c:v>
                </c:pt>
                <c:pt idx="16">
                  <c:v>2024-12-29</c:v>
                </c:pt>
                <c:pt idx="17">
                  <c:v>2025-01-05</c:v>
                </c:pt>
                <c:pt idx="18">
                  <c:v>2025-01-12</c:v>
                </c:pt>
                <c:pt idx="19">
                  <c:v>2025-01-19</c:v>
                </c:pt>
              </c:strCache>
            </c:strRef>
          </c:cat>
          <c:val>
            <c:numRef>
              <c:f>Sheet1!$C$2:$C$21</c:f>
              <c:numCache>
                <c:formatCode>General</c:formatCode>
                <c:ptCount val="20"/>
                <c:pt idx="16">
                  <c:v>1.8</c:v>
                </c:pt>
              </c:numCache>
            </c:numRef>
          </c:val>
          <c:smooth val="0"/>
          <c:extLst>
            <c:ext xmlns:c16="http://schemas.microsoft.com/office/drawing/2014/chart" uri="{C3380CC4-5D6E-409C-BE32-E72D297353CC}">
              <c16:uniqueId val="{00000035-C738-4A3D-98BB-3D0CBF671497}"/>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8830866852403085"/>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dLbls>
            <c:dLbl>
              <c:idx val="0"/>
              <c:tx>
                <c:rich>
                  <a:bodyPr/>
                  <a:lstStyle/>
                  <a:p>
                    <a:fld id="{EFB4CD24-28BB-40A4-9E0D-B212D45EEBFA}"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738-4A3D-98BB-3D0CBF671497}"/>
                </c:ext>
              </c:extLst>
            </c:dLbl>
            <c:dLbl>
              <c:idx val="1"/>
              <c:tx>
                <c:rich>
                  <a:bodyPr/>
                  <a:lstStyle/>
                  <a:p>
                    <a:fld id="{8D020BE6-BACB-4314-807D-76D3D0CCDE8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738-4A3D-98BB-3D0CBF671497}"/>
                </c:ext>
              </c:extLst>
            </c:dLbl>
            <c:dLbl>
              <c:idx val="2"/>
              <c:tx>
                <c:rich>
                  <a:bodyPr/>
                  <a:lstStyle/>
                  <a:p>
                    <a:fld id="{5C523706-D5F4-4E1D-AC28-9DC63AD3A7B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738-4A3D-98BB-3D0CBF671497}"/>
                </c:ext>
              </c:extLst>
            </c:dLbl>
            <c:dLbl>
              <c:idx val="3"/>
              <c:tx>
                <c:rich>
                  <a:bodyPr/>
                  <a:lstStyle/>
                  <a:p>
                    <a:fld id="{8F11CDDE-35F3-460D-9CB5-61730582E54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738-4A3D-98BB-3D0CBF671497}"/>
                </c:ext>
              </c:extLst>
            </c:dLbl>
            <c:dLbl>
              <c:idx val="4"/>
              <c:tx>
                <c:rich>
                  <a:bodyPr/>
                  <a:lstStyle/>
                  <a:p>
                    <a:fld id="{85133F2D-D1DD-45FE-A2B1-356EF12C999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C738-4A3D-98BB-3D0CBF671497}"/>
                </c:ext>
              </c:extLst>
            </c:dLbl>
            <c:dLbl>
              <c:idx val="5"/>
              <c:tx>
                <c:rich>
                  <a:bodyPr/>
                  <a:lstStyle/>
                  <a:p>
                    <a:fld id="{ECAD2811-93AF-4210-9C21-1E52A04EE99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C738-4A3D-98BB-3D0CBF671497}"/>
                </c:ext>
              </c:extLst>
            </c:dLbl>
            <c:dLbl>
              <c:idx val="6"/>
              <c:tx>
                <c:rich>
                  <a:bodyPr/>
                  <a:lstStyle/>
                  <a:p>
                    <a:fld id="{F67C1C6C-BAE6-440D-929D-8803342ECBAA}"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C738-4A3D-98BB-3D0CBF671497}"/>
                </c:ext>
              </c:extLst>
            </c:dLbl>
            <c:dLbl>
              <c:idx val="7"/>
              <c:tx>
                <c:rich>
                  <a:bodyPr/>
                  <a:lstStyle/>
                  <a:p>
                    <a:fld id="{936BD02E-48CC-455F-B151-F164FA9FE5E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C738-4A3D-98BB-3D0CBF671497}"/>
                </c:ext>
              </c:extLst>
            </c:dLbl>
            <c:dLbl>
              <c:idx val="8"/>
              <c:tx>
                <c:rich>
                  <a:bodyPr/>
                  <a:lstStyle/>
                  <a:p>
                    <a:fld id="{98F8BD9E-6DA1-4741-919A-8F0B08B90F8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C738-4A3D-98BB-3D0CBF671497}"/>
                </c:ext>
              </c:extLst>
            </c:dLbl>
            <c:dLbl>
              <c:idx val="9"/>
              <c:tx>
                <c:rich>
                  <a:bodyPr/>
                  <a:lstStyle/>
                  <a:p>
                    <a:fld id="{6FAA569A-25AB-4FCE-B555-64D09C6323B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C738-4A3D-98BB-3D0CBF671497}"/>
                </c:ext>
              </c:extLst>
            </c:dLbl>
            <c:dLbl>
              <c:idx val="1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C738-4A3D-98BB-3D0CBF671497}"/>
                </c:ext>
              </c:extLst>
            </c:dLbl>
            <c:dLbl>
              <c:idx val="1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B-C738-4A3D-98BB-3D0CBF671497}"/>
                </c:ext>
              </c:extLst>
            </c:dLbl>
            <c:dLbl>
              <c:idx val="1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C738-4A3D-98BB-3D0CBF671497}"/>
                </c:ext>
              </c:extLst>
            </c:dLbl>
            <c:dLbl>
              <c:idx val="13"/>
              <c:tx>
                <c:rich>
                  <a:bodyPr/>
                  <a:lstStyle/>
                  <a:p>
                    <a:fld id="{2C6ACD0A-A749-4B0E-AED4-929FAB6EFAD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C738-4A3D-98BB-3D0CBF671497}"/>
                </c:ext>
              </c:extLst>
            </c:dLbl>
            <c:dLbl>
              <c:idx val="14"/>
              <c:tx>
                <c:rich>
                  <a:bodyPr/>
                  <a:lstStyle/>
                  <a:p>
                    <a:fld id="{73D64F33-614C-4BEB-AA05-E0EA29ADD75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C738-4A3D-98BB-3D0CBF671497}"/>
                </c:ext>
              </c:extLst>
            </c:dLbl>
            <c:dLbl>
              <c:idx val="15"/>
              <c:tx>
                <c:rich>
                  <a:bodyPr/>
                  <a:lstStyle/>
                  <a:p>
                    <a:fld id="{07BD9ED8-368E-4CFB-B40D-B7F6B62C051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C738-4A3D-98BB-3D0CBF671497}"/>
                </c:ext>
              </c:extLst>
            </c:dLbl>
            <c:dLbl>
              <c:idx val="1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C738-4A3D-98BB-3D0CBF671497}"/>
                </c:ext>
              </c:extLst>
            </c:dLbl>
            <c:dLbl>
              <c:idx val="1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C738-4A3D-98BB-3D0CBF671497}"/>
                </c:ext>
              </c:extLst>
            </c:dLbl>
            <c:dLbl>
              <c:idx val="1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2-C738-4A3D-98BB-3D0CBF671497}"/>
                </c:ext>
              </c:extLst>
            </c:dLbl>
            <c:dLbl>
              <c:idx val="19"/>
              <c:tx>
                <c:rich>
                  <a:bodyPr/>
                  <a:lstStyle/>
                  <a:p>
                    <a:fld id="{4878345D-9483-4837-9DC8-2CA1A67AD86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C738-4A3D-98BB-3D0CBF671497}"/>
                </c:ext>
              </c:extLst>
            </c:dLbl>
            <c:dLbl>
              <c:idx val="20"/>
              <c:tx>
                <c:rich>
                  <a:bodyPr/>
                  <a:lstStyle/>
                  <a:p>
                    <a:fld id="{A59DCEDA-728B-4DB4-A16F-5A0F8A9FFEC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C738-4A3D-98BB-3D0CBF671497}"/>
                </c:ext>
              </c:extLst>
            </c:dLbl>
            <c:dLbl>
              <c:idx val="21"/>
              <c:tx>
                <c:rich>
                  <a:bodyPr/>
                  <a:lstStyle/>
                  <a:p>
                    <a:fld id="{578CFD56-EC4D-48AE-ABDD-9C681F44AEE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C738-4A3D-98BB-3D0CBF671497}"/>
                </c:ext>
              </c:extLst>
            </c:dLbl>
            <c:dLbl>
              <c:idx val="2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C738-4A3D-98BB-3D0CBF671497}"/>
                </c:ext>
              </c:extLst>
            </c:dLbl>
            <c:dLbl>
              <c:idx val="23"/>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C738-4A3D-98BB-3D0CBF671497}"/>
                </c:ext>
              </c:extLst>
            </c:dLbl>
            <c:dLbl>
              <c:idx val="2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C738-4A3D-98BB-3D0CBF671497}"/>
                </c:ext>
              </c:extLst>
            </c:dLbl>
            <c:dLbl>
              <c:idx val="25"/>
              <c:tx>
                <c:rich>
                  <a:bodyPr/>
                  <a:lstStyle/>
                  <a:p>
                    <a:fld id="{F1BD431F-49DA-47B3-B0CC-D3344876022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C738-4A3D-98BB-3D0CBF671497}"/>
                </c:ext>
              </c:extLst>
            </c:dLbl>
            <c:dLbl>
              <c:idx val="26"/>
              <c:tx>
                <c:rich>
                  <a:bodyPr/>
                  <a:lstStyle/>
                  <a:p>
                    <a:fld id="{B96FA371-60D6-40DE-BB42-48591C304DB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C738-4A3D-98BB-3D0CBF671497}"/>
                </c:ext>
              </c:extLst>
            </c:dLbl>
            <c:dLbl>
              <c:idx val="27"/>
              <c:tx>
                <c:rich>
                  <a:bodyPr/>
                  <a:lstStyle/>
                  <a:p>
                    <a:fld id="{6CFD018C-927E-45D9-9095-6736F0AAE52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C738-4A3D-98BB-3D0CBF671497}"/>
                </c:ext>
              </c:extLst>
            </c:dLbl>
            <c:dLbl>
              <c:idx val="28"/>
              <c:tx>
                <c:rich>
                  <a:bodyPr/>
                  <a:lstStyle/>
                  <a:p>
                    <a:fld id="{AFD11129-B132-462E-967E-654B5661170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C738-4A3D-98BB-3D0CBF671497}"/>
                </c:ext>
              </c:extLst>
            </c:dLbl>
            <c:dLbl>
              <c:idx val="29"/>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C738-4A3D-98BB-3D0CBF671497}"/>
                </c:ext>
              </c:extLst>
            </c:dLbl>
            <c:dLbl>
              <c:idx val="3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E-C738-4A3D-98BB-3D0CBF671497}"/>
                </c:ext>
              </c:extLst>
            </c:dLbl>
            <c:dLbl>
              <c:idx val="31"/>
              <c:tx>
                <c:rich>
                  <a:bodyPr/>
                  <a:lstStyle/>
                  <a:p>
                    <a:fld id="{4719A8E3-BC12-4237-8019-1D4AA49B0DC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C738-4A3D-98BB-3D0CBF671497}"/>
                </c:ext>
              </c:extLst>
            </c:dLbl>
            <c:dLbl>
              <c:idx val="32"/>
              <c:tx>
                <c:rich>
                  <a:bodyPr/>
                  <a:lstStyle/>
                  <a:p>
                    <a:fld id="{E3820956-7506-40B5-9366-4C8E7651B23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C738-4A3D-98BB-3D0CBF671497}"/>
                </c:ext>
              </c:extLst>
            </c:dLbl>
            <c:dLbl>
              <c:idx val="33"/>
              <c:tx>
                <c:rich>
                  <a:bodyPr/>
                  <a:lstStyle/>
                  <a:p>
                    <a:fld id="{465B33B1-1C36-46D8-B596-BFFE9D46328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C738-4A3D-98BB-3D0CBF671497}"/>
                </c:ext>
              </c:extLst>
            </c:dLbl>
            <c:dLbl>
              <c:idx val="3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C738-4A3D-98BB-3D0CBF671497}"/>
                </c:ext>
              </c:extLst>
            </c:dLbl>
            <c:dLbl>
              <c:idx val="35"/>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C738-4A3D-98BB-3D0CBF671497}"/>
                </c:ext>
              </c:extLst>
            </c:dLbl>
            <c:dLbl>
              <c:idx val="3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C738-4A3D-98BB-3D0CBF671497}"/>
                </c:ext>
              </c:extLst>
            </c:dLbl>
            <c:dLbl>
              <c:idx val="37"/>
              <c:tx>
                <c:rich>
                  <a:bodyPr/>
                  <a:lstStyle/>
                  <a:p>
                    <a:fld id="{14501374-2D91-4411-BFDC-1B6DC2FB5E0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C738-4A3D-98BB-3D0CBF671497}"/>
                </c:ext>
              </c:extLst>
            </c:dLbl>
            <c:dLbl>
              <c:idx val="38"/>
              <c:tx>
                <c:rich>
                  <a:bodyPr/>
                  <a:lstStyle/>
                  <a:p>
                    <a:fld id="{DA114C3B-2E28-466A-9E2B-D772F3C5402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C738-4A3D-98BB-3D0CBF671497}"/>
                </c:ext>
              </c:extLst>
            </c:dLbl>
            <c:dLbl>
              <c:idx val="39"/>
              <c:tx>
                <c:rich>
                  <a:bodyPr/>
                  <a:lstStyle/>
                  <a:p>
                    <a:fld id="{CA28421B-DF35-492C-977C-0853DF338A9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C738-4A3D-98BB-3D0CBF671497}"/>
                </c:ext>
              </c:extLst>
            </c:dLbl>
            <c:dLbl>
              <c:idx val="4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8-C738-4A3D-98BB-3D0CBF671497}"/>
                </c:ext>
              </c:extLst>
            </c:dLbl>
            <c:dLbl>
              <c:idx val="43"/>
              <c:tx>
                <c:rich>
                  <a:bodyPr/>
                  <a:lstStyle/>
                  <a:p>
                    <a:fld id="{BFF9D3CB-90BD-47C1-A409-95188A49A22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C738-4A3D-98BB-3D0CBF671497}"/>
                </c:ext>
              </c:extLst>
            </c:dLbl>
            <c:dLbl>
              <c:idx val="44"/>
              <c:tx>
                <c:rich>
                  <a:bodyPr/>
                  <a:lstStyle/>
                  <a:p>
                    <a:fld id="{5957B6B9-DD4F-4527-86B7-63C2F3EE6B4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C738-4A3D-98BB-3D0CBF671497}"/>
                </c:ext>
              </c:extLst>
            </c:dLbl>
            <c:dLbl>
              <c:idx val="45"/>
              <c:tx>
                <c:rich>
                  <a:bodyPr/>
                  <a:lstStyle/>
                  <a:p>
                    <a:fld id="{55A7B9D7-EE48-4E9B-997F-0803BB59205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C738-4A3D-98BB-3D0CBF671497}"/>
                </c:ext>
              </c:extLst>
            </c:dLbl>
            <c:dLbl>
              <c:idx val="49"/>
              <c:tx>
                <c:rich>
                  <a:bodyPr/>
                  <a:lstStyle/>
                  <a:p>
                    <a:fld id="{51D2E413-EAFF-44B9-B454-754A4C5C4CB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C738-4A3D-98BB-3D0CBF671497}"/>
                </c:ext>
              </c:extLst>
            </c:dLbl>
            <c:dLbl>
              <c:idx val="50"/>
              <c:tx>
                <c:rich>
                  <a:bodyPr/>
                  <a:lstStyle/>
                  <a:p>
                    <a:fld id="{3AE14F66-9EA4-408F-BA34-A13F29D60BD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C738-4A3D-98BB-3D0CBF671497}"/>
                </c:ext>
              </c:extLst>
            </c:dLbl>
            <c:dLbl>
              <c:idx val="51"/>
              <c:tx>
                <c:rich>
                  <a:bodyPr/>
                  <a:lstStyle/>
                  <a:p>
                    <a:fld id="{D64C7C42-3F99-4FF3-B90F-E22337F9625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C738-4A3D-98BB-3D0CBF671497}"/>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dLblPos val="in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2</c:f>
              <c:strCache>
                <c:ptCount val="41"/>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15</c:v>
                </c:pt>
                <c:pt idx="23">
                  <c:v>2024-09-29</c:v>
                </c:pt>
                <c:pt idx="24">
                  <c:v>2024-10-06</c:v>
                </c:pt>
                <c:pt idx="25">
                  <c:v>2024-10-13</c:v>
                </c:pt>
                <c:pt idx="26">
                  <c:v>2024-10-20</c:v>
                </c:pt>
                <c:pt idx="27">
                  <c:v>2024-10-27</c:v>
                </c:pt>
                <c:pt idx="28">
                  <c:v>2024-11-03</c:v>
                </c:pt>
                <c:pt idx="29">
                  <c:v>2024-11-10</c:v>
                </c:pt>
                <c:pt idx="30">
                  <c:v>2024-11-17</c:v>
                </c:pt>
                <c:pt idx="31">
                  <c:v>2024-11-24</c:v>
                </c:pt>
                <c:pt idx="32">
                  <c:v>2024-12-01</c:v>
                </c:pt>
                <c:pt idx="33">
                  <c:v>2024-12-08</c:v>
                </c:pt>
                <c:pt idx="34">
                  <c:v>2024-12-15</c:v>
                </c:pt>
                <c:pt idx="35">
                  <c:v>2024-12-22</c:v>
                </c:pt>
                <c:pt idx="36">
                  <c:v>2024-12-29</c:v>
                </c:pt>
                <c:pt idx="37">
                  <c:v>2025-01-05</c:v>
                </c:pt>
                <c:pt idx="38">
                  <c:v>2025-01-12</c:v>
                </c:pt>
                <c:pt idx="39">
                  <c:v>2025-01-19</c:v>
                </c:pt>
                <c:pt idx="40">
                  <c:v>2025-01-26</c:v>
                </c:pt>
              </c:strCache>
            </c:strRef>
          </c:cat>
          <c:val>
            <c:numRef>
              <c:f>Sheet1!$B$2:$B$42</c:f>
              <c:numCache>
                <c:formatCode>General</c:formatCode>
                <c:ptCount val="41"/>
                <c:pt idx="0">
                  <c:v>1</c:v>
                </c:pt>
                <c:pt idx="1">
                  <c:v>1</c:v>
                </c:pt>
                <c:pt idx="2">
                  <c:v>1</c:v>
                </c:pt>
                <c:pt idx="15">
                  <c:v>1</c:v>
                </c:pt>
                <c:pt idx="16">
                  <c:v>1</c:v>
                </c:pt>
                <c:pt idx="25">
                  <c:v>1</c:v>
                </c:pt>
                <c:pt idx="26">
                  <c:v>1</c:v>
                </c:pt>
                <c:pt idx="30">
                  <c:v>1</c:v>
                </c:pt>
                <c:pt idx="31">
                  <c:v>1</c:v>
                </c:pt>
                <c:pt idx="32">
                  <c:v>1</c:v>
                </c:pt>
                <c:pt idx="33">
                  <c:v>1</c:v>
                </c:pt>
                <c:pt idx="34">
                  <c:v>1</c:v>
                </c:pt>
                <c:pt idx="35">
                  <c:v>1</c:v>
                </c:pt>
                <c:pt idx="36">
                  <c:v>1</c:v>
                </c:pt>
                <c:pt idx="37">
                  <c:v>1</c:v>
                </c:pt>
                <c:pt idx="38">
                  <c:v>1</c:v>
                </c:pt>
                <c:pt idx="39">
                  <c:v>1</c:v>
                </c:pt>
                <c:pt idx="40">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C738-4A3D-98BB-3D0CBF671497}"/>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cat>
            <c:strRef>
              <c:f>Sheet1!$A$2:$A$42</c:f>
              <c:strCache>
                <c:ptCount val="41"/>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15</c:v>
                </c:pt>
                <c:pt idx="23">
                  <c:v>2024-09-29</c:v>
                </c:pt>
                <c:pt idx="24">
                  <c:v>2024-10-06</c:v>
                </c:pt>
                <c:pt idx="25">
                  <c:v>2024-10-13</c:v>
                </c:pt>
                <c:pt idx="26">
                  <c:v>2024-10-20</c:v>
                </c:pt>
                <c:pt idx="27">
                  <c:v>2024-10-27</c:v>
                </c:pt>
                <c:pt idx="28">
                  <c:v>2024-11-03</c:v>
                </c:pt>
                <c:pt idx="29">
                  <c:v>2024-11-10</c:v>
                </c:pt>
                <c:pt idx="30">
                  <c:v>2024-11-17</c:v>
                </c:pt>
                <c:pt idx="31">
                  <c:v>2024-11-24</c:v>
                </c:pt>
                <c:pt idx="32">
                  <c:v>2024-12-01</c:v>
                </c:pt>
                <c:pt idx="33">
                  <c:v>2024-12-08</c:v>
                </c:pt>
                <c:pt idx="34">
                  <c:v>2024-12-15</c:v>
                </c:pt>
                <c:pt idx="35">
                  <c:v>2024-12-22</c:v>
                </c:pt>
                <c:pt idx="36">
                  <c:v>2024-12-29</c:v>
                </c:pt>
                <c:pt idx="37">
                  <c:v>2025-01-05</c:v>
                </c:pt>
                <c:pt idx="38">
                  <c:v>2025-01-12</c:v>
                </c:pt>
                <c:pt idx="39">
                  <c:v>2025-01-19</c:v>
                </c:pt>
                <c:pt idx="40">
                  <c:v>2025-01-26</c:v>
                </c:pt>
              </c:strCache>
            </c:strRef>
          </c:cat>
          <c:val>
            <c:numRef>
              <c:f>Sheet1!$C$2:$C$42</c:f>
              <c:numCache>
                <c:formatCode>General</c:formatCode>
                <c:ptCount val="41"/>
                <c:pt idx="35">
                  <c:v>7.4863056253811913E-2</c:v>
                </c:pt>
              </c:numCache>
            </c:numRef>
          </c:val>
          <c:smooth val="0"/>
          <c:extLst>
            <c:ext xmlns:c16="http://schemas.microsoft.com/office/drawing/2014/chart" uri="{C3380CC4-5D6E-409C-BE32-E72D297353CC}">
              <c16:uniqueId val="{00000035-C738-4A3D-98BB-3D0CBF671497}"/>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8830866852403085"/>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dLbls>
            <c:dLbl>
              <c:idx val="0"/>
              <c:tx>
                <c:rich>
                  <a:bodyPr/>
                  <a:lstStyle/>
                  <a:p>
                    <a:fld id="{56019C01-C82E-488E-9C0D-6CFB01540E2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738-4A3D-98BB-3D0CBF671497}"/>
                </c:ext>
              </c:extLst>
            </c:dLbl>
            <c:dLbl>
              <c:idx val="1"/>
              <c:tx>
                <c:rich>
                  <a:bodyPr/>
                  <a:lstStyle/>
                  <a:p>
                    <a:fld id="{0BD21934-D7FD-4235-889C-0CD55559BE9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738-4A3D-98BB-3D0CBF671497}"/>
                </c:ext>
              </c:extLst>
            </c:dLbl>
            <c:dLbl>
              <c:idx val="2"/>
              <c:tx>
                <c:rich>
                  <a:bodyPr/>
                  <a:lstStyle/>
                  <a:p>
                    <a:fld id="{DCC1E342-6DF9-4F3C-A5E8-824A2F04F1DA}"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738-4A3D-98BB-3D0CBF671497}"/>
                </c:ext>
              </c:extLst>
            </c:dLbl>
            <c:dLbl>
              <c:idx val="3"/>
              <c:tx>
                <c:rich>
                  <a:bodyPr/>
                  <a:lstStyle/>
                  <a:p>
                    <a:fld id="{89DD3480-03DB-4F52-BF18-40A859FA63A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738-4A3D-98BB-3D0CBF671497}"/>
                </c:ext>
              </c:extLst>
            </c:dLbl>
            <c:dLbl>
              <c:idx val="4"/>
              <c:tx>
                <c:rich>
                  <a:bodyPr/>
                  <a:lstStyle/>
                  <a:p>
                    <a:fld id="{5324596C-4EFB-43D5-8993-6F38CD18333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C738-4A3D-98BB-3D0CBF671497}"/>
                </c:ext>
              </c:extLst>
            </c:dLbl>
            <c:dLbl>
              <c:idx val="5"/>
              <c:tx>
                <c:rich>
                  <a:bodyPr/>
                  <a:lstStyle/>
                  <a:p>
                    <a:fld id="{FA7D5FE5-4E11-402F-B5D9-67CF889E73CA}"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C738-4A3D-98BB-3D0CBF671497}"/>
                </c:ext>
              </c:extLst>
            </c:dLbl>
            <c:dLbl>
              <c:idx val="6"/>
              <c:tx>
                <c:rich>
                  <a:bodyPr/>
                  <a:lstStyle/>
                  <a:p>
                    <a:fld id="{598D4472-4F7C-47B1-97FC-39460CD5DB5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C738-4A3D-98BB-3D0CBF671497}"/>
                </c:ext>
              </c:extLst>
            </c:dLbl>
            <c:dLbl>
              <c:idx val="7"/>
              <c:tx>
                <c:rich>
                  <a:bodyPr/>
                  <a:lstStyle/>
                  <a:p>
                    <a:fld id="{72FB4F81-F96A-4EBB-87D6-55E035EB498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C738-4A3D-98BB-3D0CBF671497}"/>
                </c:ext>
              </c:extLst>
            </c:dLbl>
            <c:dLbl>
              <c:idx val="8"/>
              <c:tx>
                <c:rich>
                  <a:bodyPr/>
                  <a:lstStyle/>
                  <a:p>
                    <a:fld id="{014AD94E-66CF-472B-B7F4-F3AFAB8CD28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C738-4A3D-98BB-3D0CBF671497}"/>
                </c:ext>
              </c:extLst>
            </c:dLbl>
            <c:dLbl>
              <c:idx val="9"/>
              <c:tx>
                <c:rich>
                  <a:bodyPr/>
                  <a:lstStyle/>
                  <a:p>
                    <a:fld id="{6F5CCF5A-80C5-4D76-A7CA-CCAA305B799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C738-4A3D-98BB-3D0CBF671497}"/>
                </c:ext>
              </c:extLst>
            </c:dLbl>
            <c:dLbl>
              <c:idx val="1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C738-4A3D-98BB-3D0CBF671497}"/>
                </c:ext>
              </c:extLst>
            </c:dLbl>
            <c:dLbl>
              <c:idx val="1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C738-4A3D-98BB-3D0CBF671497}"/>
                </c:ext>
              </c:extLst>
            </c:dLbl>
            <c:dLbl>
              <c:idx val="13"/>
              <c:tx>
                <c:rich>
                  <a:bodyPr/>
                  <a:lstStyle/>
                  <a:p>
                    <a:fld id="{3EABA7D8-2283-46DF-90F4-4DB3F451201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C738-4A3D-98BB-3D0CBF671497}"/>
                </c:ext>
              </c:extLst>
            </c:dLbl>
            <c:dLbl>
              <c:idx val="14"/>
              <c:tx>
                <c:rich>
                  <a:bodyPr/>
                  <a:lstStyle/>
                  <a:p>
                    <a:fld id="{962B1384-B131-4D01-9126-89B985F1EA4A}"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C738-4A3D-98BB-3D0CBF671497}"/>
                </c:ext>
              </c:extLst>
            </c:dLbl>
            <c:dLbl>
              <c:idx val="15"/>
              <c:tx>
                <c:rich>
                  <a:bodyPr/>
                  <a:lstStyle/>
                  <a:p>
                    <a:fld id="{793B729D-C16C-4B66-BE95-63F6C65BF82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C738-4A3D-98BB-3D0CBF671497}"/>
                </c:ext>
              </c:extLst>
            </c:dLbl>
            <c:dLbl>
              <c:idx val="19"/>
              <c:tx>
                <c:rich>
                  <a:bodyPr/>
                  <a:lstStyle/>
                  <a:p>
                    <a:fld id="{B7D4A014-03ED-42DE-8F9B-E5EDB336D8D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C738-4A3D-98BB-3D0CBF671497}"/>
                </c:ext>
              </c:extLst>
            </c:dLbl>
            <c:dLbl>
              <c:idx val="20"/>
              <c:tx>
                <c:rich>
                  <a:bodyPr/>
                  <a:lstStyle/>
                  <a:p>
                    <a:fld id="{4D99EB5F-D6A9-4AF1-9E8D-3480FDA1768A}"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C738-4A3D-98BB-3D0CBF671497}"/>
                </c:ext>
              </c:extLst>
            </c:dLbl>
            <c:dLbl>
              <c:idx val="21"/>
              <c:tx>
                <c:rich>
                  <a:bodyPr/>
                  <a:lstStyle/>
                  <a:p>
                    <a:fld id="{1FD8138E-CEB5-46A6-B845-020156A49D1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C738-4A3D-98BB-3D0CBF671497}"/>
                </c:ext>
              </c:extLst>
            </c:dLbl>
            <c:dLbl>
              <c:idx val="25"/>
              <c:tx>
                <c:rich>
                  <a:bodyPr/>
                  <a:lstStyle/>
                  <a:p>
                    <a:fld id="{A0F1070F-9A51-443D-8F87-E78F4AD85FB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C738-4A3D-98BB-3D0CBF671497}"/>
                </c:ext>
              </c:extLst>
            </c:dLbl>
            <c:dLbl>
              <c:idx val="26"/>
              <c:tx>
                <c:rich>
                  <a:bodyPr/>
                  <a:lstStyle/>
                  <a:p>
                    <a:fld id="{B9911A32-4C8E-4597-AF8A-C1242B34AE1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C738-4A3D-98BB-3D0CBF671497}"/>
                </c:ext>
              </c:extLst>
            </c:dLbl>
            <c:dLbl>
              <c:idx val="27"/>
              <c:tx>
                <c:rich>
                  <a:bodyPr/>
                  <a:lstStyle/>
                  <a:p>
                    <a:fld id="{CC0B3E98-8CEE-4BCB-B82D-52BA6B308C1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C738-4A3D-98BB-3D0CBF671497}"/>
                </c:ext>
              </c:extLst>
            </c:dLbl>
            <c:dLbl>
              <c:idx val="28"/>
              <c:tx>
                <c:rich>
                  <a:bodyPr/>
                  <a:lstStyle/>
                  <a:p>
                    <a:fld id="{C74AAAB2-D647-4745-ABDC-A450A6EFD91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C738-4A3D-98BB-3D0CBF671497}"/>
                </c:ext>
              </c:extLst>
            </c:dLbl>
            <c:dLbl>
              <c:idx val="31"/>
              <c:tx>
                <c:rich>
                  <a:bodyPr/>
                  <a:lstStyle/>
                  <a:p>
                    <a:fld id="{94E4A6CA-F4F1-4A9C-8CFD-88A9CAAD135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C738-4A3D-98BB-3D0CBF671497}"/>
                </c:ext>
              </c:extLst>
            </c:dLbl>
            <c:dLbl>
              <c:idx val="32"/>
              <c:tx>
                <c:rich>
                  <a:bodyPr/>
                  <a:lstStyle/>
                  <a:p>
                    <a:fld id="{98E27136-6B83-4D2E-B708-C6D49CF41CA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C738-4A3D-98BB-3D0CBF671497}"/>
                </c:ext>
              </c:extLst>
            </c:dLbl>
            <c:dLbl>
              <c:idx val="33"/>
              <c:tx>
                <c:rich>
                  <a:bodyPr/>
                  <a:lstStyle/>
                  <a:p>
                    <a:fld id="{E0AB2C7E-A0A4-4CFB-93D3-6ED42BCB0E8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C738-4A3D-98BB-3D0CBF671497}"/>
                </c:ext>
              </c:extLst>
            </c:dLbl>
            <c:dLbl>
              <c:idx val="37"/>
              <c:tx>
                <c:rich>
                  <a:bodyPr/>
                  <a:lstStyle/>
                  <a:p>
                    <a:fld id="{4E9B4F58-6DB8-42D6-8096-D7A196C8FAE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C738-4A3D-98BB-3D0CBF671497}"/>
                </c:ext>
              </c:extLst>
            </c:dLbl>
            <c:dLbl>
              <c:idx val="38"/>
              <c:tx>
                <c:rich>
                  <a:bodyPr/>
                  <a:lstStyle/>
                  <a:p>
                    <a:fld id="{FACDF486-0D3F-4D47-A623-63BCF30012E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C738-4A3D-98BB-3D0CBF671497}"/>
                </c:ext>
              </c:extLst>
            </c:dLbl>
            <c:dLbl>
              <c:idx val="39"/>
              <c:tx>
                <c:rich>
                  <a:bodyPr/>
                  <a:lstStyle/>
                  <a:p>
                    <a:fld id="{4ED9A8C5-CDD3-4372-B358-C4ADA6ABB83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C738-4A3D-98BB-3D0CBF671497}"/>
                </c:ext>
              </c:extLst>
            </c:dLbl>
            <c:dLbl>
              <c:idx val="43"/>
              <c:tx>
                <c:rich>
                  <a:bodyPr/>
                  <a:lstStyle/>
                  <a:p>
                    <a:fld id="{7FC6974D-4E8B-44EA-AFCE-67625FCD536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C738-4A3D-98BB-3D0CBF671497}"/>
                </c:ext>
              </c:extLst>
            </c:dLbl>
            <c:dLbl>
              <c:idx val="44"/>
              <c:tx>
                <c:rich>
                  <a:bodyPr/>
                  <a:lstStyle/>
                  <a:p>
                    <a:fld id="{CD4B8BB0-E74A-4267-8293-90BEAEC8116A}"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C738-4A3D-98BB-3D0CBF671497}"/>
                </c:ext>
              </c:extLst>
            </c:dLbl>
            <c:dLbl>
              <c:idx val="45"/>
              <c:tx>
                <c:rich>
                  <a:bodyPr/>
                  <a:lstStyle/>
                  <a:p>
                    <a:fld id="{EA9BF5C1-73D2-4B03-BB1B-66E77B1611C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C738-4A3D-98BB-3D0CBF671497}"/>
                </c:ext>
              </c:extLst>
            </c:dLbl>
            <c:dLbl>
              <c:idx val="49"/>
              <c:tx>
                <c:rich>
                  <a:bodyPr/>
                  <a:lstStyle/>
                  <a:p>
                    <a:fld id="{A7A227D1-052D-46AE-968A-FE5A50B1AA8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C738-4A3D-98BB-3D0CBF671497}"/>
                </c:ext>
              </c:extLst>
            </c:dLbl>
            <c:dLbl>
              <c:idx val="50"/>
              <c:tx>
                <c:rich>
                  <a:bodyPr/>
                  <a:lstStyle/>
                  <a:p>
                    <a:fld id="{721204E8-411C-4310-BCF2-96676D370A5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C738-4A3D-98BB-3D0CBF671497}"/>
                </c:ext>
              </c:extLst>
            </c:dLbl>
            <c:dLbl>
              <c:idx val="51"/>
              <c:tx>
                <c:rich>
                  <a:bodyPr/>
                  <a:lstStyle/>
                  <a:p>
                    <a:fld id="{17151346-4407-4E52-B290-792AD19811F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C738-4A3D-98BB-3D0CBF671497}"/>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dLblPos val="in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strCache>
            </c:strRef>
          </c:cat>
          <c:val>
            <c:numRef>
              <c:f>Sheet1!$B$2:$B$13</c:f>
              <c:numCache>
                <c:formatCode>General</c:formatCode>
                <c:ptCount val="12"/>
                <c:pt idx="4">
                  <c:v>1</c:v>
                </c:pt>
                <c:pt idx="5">
                  <c:v>1</c:v>
                </c:pt>
                <c:pt idx="6">
                  <c:v>1</c:v>
                </c:pt>
                <c:pt idx="7">
                  <c:v>1</c:v>
                </c:pt>
                <c:pt idx="8">
                  <c:v>1</c:v>
                </c:pt>
                <c:pt idx="9">
                  <c:v>1</c:v>
                </c:pt>
                <c:pt idx="10">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C738-4A3D-98BB-3D0CBF671497}"/>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cat>
            <c:strRef>
              <c:f>Sheet1!$A$2:$A$13</c:f>
              <c:strCache>
                <c:ptCount val="12"/>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strCache>
            </c:strRef>
          </c:cat>
          <c:val>
            <c:numRef>
              <c:f>Sheet1!$C$2:$C$13</c:f>
              <c:numCache>
                <c:formatCode>General</c:formatCode>
                <c:ptCount val="12"/>
                <c:pt idx="4">
                  <c:v>0.22680211279878806</c:v>
                </c:pt>
                <c:pt idx="5">
                  <c:v>0.18786299617503266</c:v>
                </c:pt>
                <c:pt idx="6">
                  <c:v>0.13604560749668201</c:v>
                </c:pt>
                <c:pt idx="7">
                  <c:v>0.20910067712132022</c:v>
                </c:pt>
                <c:pt idx="8">
                  <c:v>0.16867160794838018</c:v>
                </c:pt>
              </c:numCache>
            </c:numRef>
          </c:val>
          <c:smooth val="0"/>
          <c:extLst>
            <c:ext xmlns:c16="http://schemas.microsoft.com/office/drawing/2014/chart" uri="{C3380CC4-5D6E-409C-BE32-E72D297353CC}">
              <c16:uniqueId val="{00000035-C738-4A3D-98BB-3D0CBF671497}"/>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8830866852403085"/>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dLbls>
            <c:dLbl>
              <c:idx val="0"/>
              <c:tx>
                <c:rich>
                  <a:bodyPr/>
                  <a:lstStyle/>
                  <a:p>
                    <a:fld id="{F3A77DEB-A3B7-43F8-B6C7-896E5E69EC0A}"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738-4A3D-98BB-3D0CBF671497}"/>
                </c:ext>
              </c:extLst>
            </c:dLbl>
            <c:dLbl>
              <c:idx val="1"/>
              <c:tx>
                <c:rich>
                  <a:bodyPr/>
                  <a:lstStyle/>
                  <a:p>
                    <a:fld id="{1864A2EA-A706-47F5-99D4-5A6039C418B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738-4A3D-98BB-3D0CBF671497}"/>
                </c:ext>
              </c:extLst>
            </c:dLbl>
            <c:dLbl>
              <c:idx val="2"/>
              <c:tx>
                <c:rich>
                  <a:bodyPr/>
                  <a:lstStyle/>
                  <a:p>
                    <a:fld id="{636CD7D1-9B6D-4B5C-B7A6-22FBED84B69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738-4A3D-98BB-3D0CBF671497}"/>
                </c:ext>
              </c:extLst>
            </c:dLbl>
            <c:dLbl>
              <c:idx val="3"/>
              <c:tx>
                <c:rich>
                  <a:bodyPr/>
                  <a:lstStyle/>
                  <a:p>
                    <a:fld id="{18421DB4-AD39-4348-986D-69184249816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738-4A3D-98BB-3D0CBF671497}"/>
                </c:ext>
              </c:extLst>
            </c:dLbl>
            <c:dLbl>
              <c:idx val="4"/>
              <c:tx>
                <c:rich>
                  <a:bodyPr/>
                  <a:lstStyle/>
                  <a:p>
                    <a:fld id="{97602039-9CFF-47E1-8E2B-A147C1A6549A}"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C738-4A3D-98BB-3D0CBF671497}"/>
                </c:ext>
              </c:extLst>
            </c:dLbl>
            <c:dLbl>
              <c:idx val="5"/>
              <c:tx>
                <c:rich>
                  <a:bodyPr/>
                  <a:lstStyle/>
                  <a:p>
                    <a:fld id="{B1168E43-8AD3-4C6F-A7CB-1C769905C9B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C738-4A3D-98BB-3D0CBF671497}"/>
                </c:ext>
              </c:extLst>
            </c:dLbl>
            <c:dLbl>
              <c:idx val="6"/>
              <c:tx>
                <c:rich>
                  <a:bodyPr/>
                  <a:lstStyle/>
                  <a:p>
                    <a:fld id="{E2190818-7824-4FFB-A3D2-B60962F8ADD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C738-4A3D-98BB-3D0CBF671497}"/>
                </c:ext>
              </c:extLst>
            </c:dLbl>
            <c:dLbl>
              <c:idx val="7"/>
              <c:tx>
                <c:rich>
                  <a:bodyPr/>
                  <a:lstStyle/>
                  <a:p>
                    <a:fld id="{1F1893AD-03BA-48EC-BD44-3EC7454CBDF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C738-4A3D-98BB-3D0CBF671497}"/>
                </c:ext>
              </c:extLst>
            </c:dLbl>
            <c:dLbl>
              <c:idx val="8"/>
              <c:tx>
                <c:rich>
                  <a:bodyPr/>
                  <a:lstStyle/>
                  <a:p>
                    <a:fld id="{D2A9D5F2-40A6-47DA-9FF2-5474BE0B312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C738-4A3D-98BB-3D0CBF671497}"/>
                </c:ext>
              </c:extLst>
            </c:dLbl>
            <c:dLbl>
              <c:idx val="9"/>
              <c:tx>
                <c:rich>
                  <a:bodyPr/>
                  <a:lstStyle/>
                  <a:p>
                    <a:fld id="{29719521-F52E-4391-BB76-62C0FB6D166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C738-4A3D-98BB-3D0CBF671497}"/>
                </c:ext>
              </c:extLst>
            </c:dLbl>
            <c:dLbl>
              <c:idx val="13"/>
              <c:tx>
                <c:rich>
                  <a:bodyPr/>
                  <a:lstStyle/>
                  <a:p>
                    <a:fld id="{122950DC-D52F-4069-8E3D-C0A8E3AAAE4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C738-4A3D-98BB-3D0CBF671497}"/>
                </c:ext>
              </c:extLst>
            </c:dLbl>
            <c:dLbl>
              <c:idx val="14"/>
              <c:tx>
                <c:rich>
                  <a:bodyPr/>
                  <a:lstStyle/>
                  <a:p>
                    <a:fld id="{E2C105B8-8547-477A-894D-E61E553F879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C738-4A3D-98BB-3D0CBF671497}"/>
                </c:ext>
              </c:extLst>
            </c:dLbl>
            <c:dLbl>
              <c:idx val="15"/>
              <c:tx>
                <c:rich>
                  <a:bodyPr/>
                  <a:lstStyle/>
                  <a:p>
                    <a:fld id="{F0056BFE-EF0B-4AD7-847F-E091D91AAE0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C738-4A3D-98BB-3D0CBF671497}"/>
                </c:ext>
              </c:extLst>
            </c:dLbl>
            <c:dLbl>
              <c:idx val="19"/>
              <c:tx>
                <c:rich>
                  <a:bodyPr/>
                  <a:lstStyle/>
                  <a:p>
                    <a:fld id="{D9112C3F-E14F-42B0-8599-342E62C9911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C738-4A3D-98BB-3D0CBF671497}"/>
                </c:ext>
              </c:extLst>
            </c:dLbl>
            <c:dLbl>
              <c:idx val="20"/>
              <c:tx>
                <c:rich>
                  <a:bodyPr/>
                  <a:lstStyle/>
                  <a:p>
                    <a:fld id="{10F6038E-0A9A-467E-87E4-2D5C414B8D2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C738-4A3D-98BB-3D0CBF671497}"/>
                </c:ext>
              </c:extLst>
            </c:dLbl>
            <c:dLbl>
              <c:idx val="21"/>
              <c:tx>
                <c:rich>
                  <a:bodyPr/>
                  <a:lstStyle/>
                  <a:p>
                    <a:fld id="{BA60E39B-9E87-4F5A-B120-2D07E1F1965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C738-4A3D-98BB-3D0CBF671497}"/>
                </c:ext>
              </c:extLst>
            </c:dLbl>
            <c:dLbl>
              <c:idx val="25"/>
              <c:tx>
                <c:rich>
                  <a:bodyPr/>
                  <a:lstStyle/>
                  <a:p>
                    <a:fld id="{D0DA45BB-832A-4EE6-9DD1-106671CB4A1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C738-4A3D-98BB-3D0CBF671497}"/>
                </c:ext>
              </c:extLst>
            </c:dLbl>
            <c:dLbl>
              <c:idx val="26"/>
              <c:tx>
                <c:rich>
                  <a:bodyPr/>
                  <a:lstStyle/>
                  <a:p>
                    <a:fld id="{D4F52D70-F1C3-4021-B27B-17DC6D77FBB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C738-4A3D-98BB-3D0CBF671497}"/>
                </c:ext>
              </c:extLst>
            </c:dLbl>
            <c:dLbl>
              <c:idx val="27"/>
              <c:tx>
                <c:rich>
                  <a:bodyPr/>
                  <a:lstStyle/>
                  <a:p>
                    <a:fld id="{746455DF-AA88-46FB-90EE-390223A558F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C738-4A3D-98BB-3D0CBF671497}"/>
                </c:ext>
              </c:extLst>
            </c:dLbl>
            <c:dLbl>
              <c:idx val="28"/>
              <c:tx>
                <c:rich>
                  <a:bodyPr/>
                  <a:lstStyle/>
                  <a:p>
                    <a:fld id="{0BA08AA0-6CA3-4568-A69B-9823A7C3761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C738-4A3D-98BB-3D0CBF671497}"/>
                </c:ext>
              </c:extLst>
            </c:dLbl>
            <c:dLbl>
              <c:idx val="31"/>
              <c:tx>
                <c:rich>
                  <a:bodyPr/>
                  <a:lstStyle/>
                  <a:p>
                    <a:fld id="{BCF49015-AA4B-402C-AC4E-C0EC7BA2B93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C738-4A3D-98BB-3D0CBF671497}"/>
                </c:ext>
              </c:extLst>
            </c:dLbl>
            <c:dLbl>
              <c:idx val="32"/>
              <c:tx>
                <c:rich>
                  <a:bodyPr/>
                  <a:lstStyle/>
                  <a:p>
                    <a:fld id="{229F98FB-217A-4B3D-8DC8-11E57E9BE11A}"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C738-4A3D-98BB-3D0CBF671497}"/>
                </c:ext>
              </c:extLst>
            </c:dLbl>
            <c:dLbl>
              <c:idx val="33"/>
              <c:tx>
                <c:rich>
                  <a:bodyPr/>
                  <a:lstStyle/>
                  <a:p>
                    <a:fld id="{E872AC4E-C830-43C0-B516-15CCF1F874D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C738-4A3D-98BB-3D0CBF671497}"/>
                </c:ext>
              </c:extLst>
            </c:dLbl>
            <c:dLbl>
              <c:idx val="37"/>
              <c:tx>
                <c:rich>
                  <a:bodyPr/>
                  <a:lstStyle/>
                  <a:p>
                    <a:fld id="{CC9D3563-30DC-4DA4-A069-26A90C8FF53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C738-4A3D-98BB-3D0CBF671497}"/>
                </c:ext>
              </c:extLst>
            </c:dLbl>
            <c:dLbl>
              <c:idx val="38"/>
              <c:tx>
                <c:rich>
                  <a:bodyPr/>
                  <a:lstStyle/>
                  <a:p>
                    <a:fld id="{02186814-1F16-4C37-B92C-B8D07589457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C738-4A3D-98BB-3D0CBF671497}"/>
                </c:ext>
              </c:extLst>
            </c:dLbl>
            <c:dLbl>
              <c:idx val="39"/>
              <c:tx>
                <c:rich>
                  <a:bodyPr/>
                  <a:lstStyle/>
                  <a:p>
                    <a:fld id="{A435E785-A573-45FC-B020-B67A0F8D07C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C738-4A3D-98BB-3D0CBF671497}"/>
                </c:ext>
              </c:extLst>
            </c:dLbl>
            <c:dLbl>
              <c:idx val="43"/>
              <c:tx>
                <c:rich>
                  <a:bodyPr/>
                  <a:lstStyle/>
                  <a:p>
                    <a:fld id="{79C69937-C8C0-49ED-A2A3-44F82FC94CA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C738-4A3D-98BB-3D0CBF671497}"/>
                </c:ext>
              </c:extLst>
            </c:dLbl>
            <c:dLbl>
              <c:idx val="44"/>
              <c:tx>
                <c:rich>
                  <a:bodyPr/>
                  <a:lstStyle/>
                  <a:p>
                    <a:fld id="{D132204D-C94F-4DAD-B959-43EC511479F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C738-4A3D-98BB-3D0CBF671497}"/>
                </c:ext>
              </c:extLst>
            </c:dLbl>
            <c:dLbl>
              <c:idx val="45"/>
              <c:tx>
                <c:rich>
                  <a:bodyPr/>
                  <a:lstStyle/>
                  <a:p>
                    <a:fld id="{A0858644-BB0E-4DDF-98A8-E7426E70A44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C738-4A3D-98BB-3D0CBF671497}"/>
                </c:ext>
              </c:extLst>
            </c:dLbl>
            <c:dLbl>
              <c:idx val="49"/>
              <c:tx>
                <c:rich>
                  <a:bodyPr/>
                  <a:lstStyle/>
                  <a:p>
                    <a:fld id="{53A2BAEC-CCCE-403A-B017-6CA5B64FF65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C738-4A3D-98BB-3D0CBF671497}"/>
                </c:ext>
              </c:extLst>
            </c:dLbl>
            <c:dLbl>
              <c:idx val="50"/>
              <c:tx>
                <c:rich>
                  <a:bodyPr/>
                  <a:lstStyle/>
                  <a:p>
                    <a:fld id="{1FC36678-1CC2-4C62-9AC0-4FBF2638FEE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C738-4A3D-98BB-3D0CBF671497}"/>
                </c:ext>
              </c:extLst>
            </c:dLbl>
            <c:dLbl>
              <c:idx val="51"/>
              <c:tx>
                <c:rich>
                  <a:bodyPr/>
                  <a:lstStyle/>
                  <a:p>
                    <a:fld id="{02DD6265-BEA5-4783-B6A6-D0DE69BA0A4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C738-4A3D-98BB-3D0CBF671497}"/>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dLblPos val="in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2024-09-29</c:v>
                </c:pt>
                <c:pt idx="1">
                  <c:v>2024-12-15</c:v>
                </c:pt>
                <c:pt idx="2">
                  <c:v>2024-12-22</c:v>
                </c:pt>
                <c:pt idx="3">
                  <c:v>2024-12-29</c:v>
                </c:pt>
                <c:pt idx="4">
                  <c:v>2025-01-05</c:v>
                </c:pt>
                <c:pt idx="5">
                  <c:v>2025-01-12</c:v>
                </c:pt>
                <c:pt idx="6">
                  <c:v>2025-01-19</c:v>
                </c:pt>
                <c:pt idx="7">
                  <c:v>2025-01-26</c:v>
                </c:pt>
              </c:strCache>
            </c:strRef>
          </c:cat>
          <c:val>
            <c:numRef>
              <c:f>Sheet1!$B$2:$B$9</c:f>
              <c:numCache>
                <c:formatCode>General</c:formatCode>
                <c:ptCount val="8"/>
                <c:pt idx="1">
                  <c:v>1</c:v>
                </c:pt>
                <c:pt idx="2">
                  <c:v>1</c:v>
                </c:pt>
                <c:pt idx="3">
                  <c:v>1</c:v>
                </c:pt>
                <c:pt idx="4">
                  <c:v>1</c:v>
                </c:pt>
                <c:pt idx="5">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C738-4A3D-98BB-3D0CBF671497}"/>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cat>
            <c:strRef>
              <c:f>Sheet1!$A$2:$A$9</c:f>
              <c:strCache>
                <c:ptCount val="8"/>
                <c:pt idx="0">
                  <c:v>2024-09-29</c:v>
                </c:pt>
                <c:pt idx="1">
                  <c:v>2024-12-15</c:v>
                </c:pt>
                <c:pt idx="2">
                  <c:v>2024-12-22</c:v>
                </c:pt>
                <c:pt idx="3">
                  <c:v>2024-12-29</c:v>
                </c:pt>
                <c:pt idx="4">
                  <c:v>2025-01-05</c:v>
                </c:pt>
                <c:pt idx="5">
                  <c:v>2025-01-12</c:v>
                </c:pt>
                <c:pt idx="6">
                  <c:v>2025-01-19</c:v>
                </c:pt>
                <c:pt idx="7">
                  <c:v>2025-01-26</c:v>
                </c:pt>
              </c:strCache>
            </c:strRef>
          </c:cat>
          <c:val>
            <c:numRef>
              <c:f>Sheet1!$C$2:$C$9</c:f>
              <c:numCache>
                <c:formatCode>General</c:formatCode>
                <c:ptCount val="8"/>
                <c:pt idx="1">
                  <c:v>0.27286427004034669</c:v>
                </c:pt>
                <c:pt idx="2">
                  <c:v>0.17408391397041403</c:v>
                </c:pt>
              </c:numCache>
            </c:numRef>
          </c:val>
          <c:smooth val="0"/>
          <c:extLst>
            <c:ext xmlns:c16="http://schemas.microsoft.com/office/drawing/2014/chart" uri="{C3380CC4-5D6E-409C-BE32-E72D297353CC}">
              <c16:uniqueId val="{00000035-C738-4A3D-98BB-3D0CBF671497}"/>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675118651396688"/>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cat>
            <c:strRef>
              <c:f>Sheet1!$A$2:$A$41</c:f>
              <c:strCache>
                <c:ptCount val="40"/>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8-04</c:v>
                </c:pt>
                <c:pt idx="16">
                  <c:v>2024-08-11</c:v>
                </c:pt>
                <c:pt idx="17">
                  <c:v>2024-08-18</c:v>
                </c:pt>
                <c:pt idx="18">
                  <c:v>2024-08-25</c:v>
                </c:pt>
                <c:pt idx="19">
                  <c:v>2024-09-01</c:v>
                </c:pt>
                <c:pt idx="20">
                  <c:v>2024-09-08</c:v>
                </c:pt>
                <c:pt idx="21">
                  <c:v>2024-09-15</c:v>
                </c:pt>
                <c:pt idx="22">
                  <c:v>2024-09-22</c:v>
                </c:pt>
                <c:pt idx="23">
                  <c:v>2024-09-29</c:v>
                </c:pt>
                <c:pt idx="24">
                  <c:v>2024-10-13</c:v>
                </c:pt>
                <c:pt idx="25">
                  <c:v>2024-10-20</c:v>
                </c:pt>
                <c:pt idx="26">
                  <c:v>2024-10-27</c:v>
                </c:pt>
                <c:pt idx="27">
                  <c:v>2024-11-03</c:v>
                </c:pt>
                <c:pt idx="28">
                  <c:v>2024-11-10</c:v>
                </c:pt>
                <c:pt idx="29">
                  <c:v>2024-11-17</c:v>
                </c:pt>
                <c:pt idx="30">
                  <c:v>2024-11-24</c:v>
                </c:pt>
                <c:pt idx="31">
                  <c:v>2024-12-01</c:v>
                </c:pt>
                <c:pt idx="32">
                  <c:v>2024-12-08</c:v>
                </c:pt>
                <c:pt idx="33">
                  <c:v>2024-12-15</c:v>
                </c:pt>
                <c:pt idx="34">
                  <c:v>2024-12-22</c:v>
                </c:pt>
                <c:pt idx="35">
                  <c:v>2024-12-29</c:v>
                </c:pt>
                <c:pt idx="36">
                  <c:v>2025-01-05</c:v>
                </c:pt>
                <c:pt idx="37">
                  <c:v>2025-01-12</c:v>
                </c:pt>
                <c:pt idx="38">
                  <c:v>2025-01-19</c:v>
                </c:pt>
                <c:pt idx="39">
                  <c:v>2025-01-26</c:v>
                </c:pt>
              </c:strCache>
            </c:strRef>
          </c:cat>
          <c:val>
            <c:numRef>
              <c:f>Sheet1!$B$2:$B$41</c:f>
              <c:numCache>
                <c:formatCode>General</c:formatCode>
                <c:ptCount val="40"/>
                <c:pt idx="0">
                  <c:v>1</c:v>
                </c:pt>
                <c:pt idx="1">
                  <c:v>1</c:v>
                </c:pt>
                <c:pt idx="2">
                  <c:v>1</c:v>
                </c:pt>
                <c:pt idx="3">
                  <c:v>1</c:v>
                </c:pt>
                <c:pt idx="4">
                  <c:v>1</c:v>
                </c:pt>
                <c:pt idx="6">
                  <c:v>1</c:v>
                </c:pt>
                <c:pt idx="7">
                  <c:v>1</c:v>
                </c:pt>
                <c:pt idx="8">
                  <c:v>1</c:v>
                </c:pt>
                <c:pt idx="9">
                  <c:v>1</c:v>
                </c:pt>
                <c:pt idx="10">
                  <c:v>1</c:v>
                </c:pt>
                <c:pt idx="11">
                  <c:v>1</c:v>
                </c:pt>
                <c:pt idx="12">
                  <c:v>1</c:v>
                </c:pt>
                <c:pt idx="13">
                  <c:v>1</c:v>
                </c:pt>
                <c:pt idx="15">
                  <c:v>1</c:v>
                </c:pt>
                <c:pt idx="16">
                  <c:v>1</c:v>
                </c:pt>
                <c:pt idx="17">
                  <c:v>1</c:v>
                </c:pt>
                <c:pt idx="18">
                  <c:v>1</c:v>
                </c:pt>
                <c:pt idx="25">
                  <c:v>1</c:v>
                </c:pt>
                <c:pt idx="26">
                  <c:v>1</c:v>
                </c:pt>
                <c:pt idx="27">
                  <c:v>1</c:v>
                </c:pt>
                <c:pt idx="28">
                  <c:v>1</c:v>
                </c:pt>
                <c:pt idx="29">
                  <c:v>1</c:v>
                </c:pt>
                <c:pt idx="30">
                  <c:v>1</c:v>
                </c:pt>
                <c:pt idx="31">
                  <c:v>1</c:v>
                </c:pt>
                <c:pt idx="32">
                  <c:v>1</c:v>
                </c:pt>
                <c:pt idx="33">
                  <c:v>1</c:v>
                </c:pt>
                <c:pt idx="34">
                  <c:v>1</c:v>
                </c:pt>
                <c:pt idx="35">
                  <c:v>1</c:v>
                </c:pt>
                <c:pt idx="36">
                  <c:v>1</c:v>
                </c:pt>
                <c:pt idx="37">
                  <c:v>1</c:v>
                </c:pt>
                <c:pt idx="38">
                  <c:v>1</c:v>
                </c:pt>
                <c:pt idx="39">
                  <c:v>1</c:v>
                </c:pt>
              </c:numCache>
            </c:numRef>
          </c:val>
          <c:extLst>
            <c:ext xmlns:c16="http://schemas.microsoft.com/office/drawing/2014/chart" uri="{C3380CC4-5D6E-409C-BE32-E72D297353CC}">
              <c16:uniqueId val="{00000000-6B0A-4292-A357-CC7FA9851ABC}"/>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cat>
            <c:strRef>
              <c:f>Sheet1!$A$2:$A$41</c:f>
              <c:strCache>
                <c:ptCount val="40"/>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8-04</c:v>
                </c:pt>
                <c:pt idx="16">
                  <c:v>2024-08-11</c:v>
                </c:pt>
                <c:pt idx="17">
                  <c:v>2024-08-18</c:v>
                </c:pt>
                <c:pt idx="18">
                  <c:v>2024-08-25</c:v>
                </c:pt>
                <c:pt idx="19">
                  <c:v>2024-09-01</c:v>
                </c:pt>
                <c:pt idx="20">
                  <c:v>2024-09-08</c:v>
                </c:pt>
                <c:pt idx="21">
                  <c:v>2024-09-15</c:v>
                </c:pt>
                <c:pt idx="22">
                  <c:v>2024-09-22</c:v>
                </c:pt>
                <c:pt idx="23">
                  <c:v>2024-09-29</c:v>
                </c:pt>
                <c:pt idx="24">
                  <c:v>2024-10-13</c:v>
                </c:pt>
                <c:pt idx="25">
                  <c:v>2024-10-20</c:v>
                </c:pt>
                <c:pt idx="26">
                  <c:v>2024-10-27</c:v>
                </c:pt>
                <c:pt idx="27">
                  <c:v>2024-11-03</c:v>
                </c:pt>
                <c:pt idx="28">
                  <c:v>2024-11-10</c:v>
                </c:pt>
                <c:pt idx="29">
                  <c:v>2024-11-17</c:v>
                </c:pt>
                <c:pt idx="30">
                  <c:v>2024-11-24</c:v>
                </c:pt>
                <c:pt idx="31">
                  <c:v>2024-12-01</c:v>
                </c:pt>
                <c:pt idx="32">
                  <c:v>2024-12-08</c:v>
                </c:pt>
                <c:pt idx="33">
                  <c:v>2024-12-15</c:v>
                </c:pt>
                <c:pt idx="34">
                  <c:v>2024-12-22</c:v>
                </c:pt>
                <c:pt idx="35">
                  <c:v>2024-12-29</c:v>
                </c:pt>
                <c:pt idx="36">
                  <c:v>2025-01-05</c:v>
                </c:pt>
                <c:pt idx="37">
                  <c:v>2025-01-12</c:v>
                </c:pt>
                <c:pt idx="38">
                  <c:v>2025-01-19</c:v>
                </c:pt>
                <c:pt idx="39">
                  <c:v>2025-01-26</c:v>
                </c:pt>
              </c:strCache>
            </c:strRef>
          </c:cat>
          <c:val>
            <c:numRef>
              <c:f>Sheet1!$C$2:$C$41</c:f>
              <c:numCache>
                <c:formatCode>General</c:formatCode>
                <c:ptCount val="40"/>
                <c:pt idx="0">
                  <c:v>0.29105171411969782</c:v>
                </c:pt>
                <c:pt idx="1">
                  <c:v>0.26958350561296179</c:v>
                </c:pt>
                <c:pt idx="2">
                  <c:v>0.33402230317329995</c:v>
                </c:pt>
                <c:pt idx="3">
                  <c:v>0.18122054709132235</c:v>
                </c:pt>
                <c:pt idx="9">
                  <c:v>0.1766838586021581</c:v>
                </c:pt>
                <c:pt idx="10">
                  <c:v>0.19749181785499278</c:v>
                </c:pt>
                <c:pt idx="11">
                  <c:v>0.20018518467052601</c:v>
                </c:pt>
                <c:pt idx="12">
                  <c:v>0.3425875453811883</c:v>
                </c:pt>
                <c:pt idx="13">
                  <c:v>0.37551001419060043</c:v>
                </c:pt>
                <c:pt idx="15">
                  <c:v>0.41830334795795177</c:v>
                </c:pt>
                <c:pt idx="16">
                  <c:v>0.54999579513918084</c:v>
                </c:pt>
                <c:pt idx="17">
                  <c:v>0.62837766796341077</c:v>
                </c:pt>
                <c:pt idx="18">
                  <c:v>0.39377982984021581</c:v>
                </c:pt>
                <c:pt idx="25">
                  <c:v>0.16622326818786454</c:v>
                </c:pt>
                <c:pt idx="26">
                  <c:v>0.36911601653059167</c:v>
                </c:pt>
                <c:pt idx="27">
                  <c:v>0.17901745768842692</c:v>
                </c:pt>
                <c:pt idx="28">
                  <c:v>0.35651546521111738</c:v>
                </c:pt>
                <c:pt idx="29">
                  <c:v>0.29145752143413872</c:v>
                </c:pt>
                <c:pt idx="30">
                  <c:v>0.18382230412578296</c:v>
                </c:pt>
                <c:pt idx="32">
                  <c:v>7.3635219324882942E-2</c:v>
                </c:pt>
                <c:pt idx="33">
                  <c:v>0.70051489904676123</c:v>
                </c:pt>
                <c:pt idx="34">
                  <c:v>0.73034245264970343</c:v>
                </c:pt>
                <c:pt idx="35">
                  <c:v>0.5132734912146677</c:v>
                </c:pt>
                <c:pt idx="36">
                  <c:v>8.367974333378031E-2</c:v>
                </c:pt>
                <c:pt idx="37">
                  <c:v>0.39932925920405427</c:v>
                </c:pt>
                <c:pt idx="38">
                  <c:v>0.45419936975201114</c:v>
                </c:pt>
                <c:pt idx="39">
                  <c:v>0.42425202839756593</c:v>
                </c:pt>
              </c:numCache>
            </c:numRef>
          </c:val>
          <c:smooth val="0"/>
          <c:extLst>
            <c:ext xmlns:c16="http://schemas.microsoft.com/office/drawing/2014/chart" uri="{C3380CC4-5D6E-409C-BE32-E72D297353CC}">
              <c16:uniqueId val="{00000001-6B0A-4292-A357-CC7FA9851ABC}"/>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spPr>
              <a:solidFill>
                <a:srgbClr val="FFBFBF"/>
              </a:solidFill>
            </c:spPr>
            <c:extLst>
              <c:ext xmlns:c16="http://schemas.microsoft.com/office/drawing/2014/chart" uri="{C3380CC4-5D6E-409C-BE32-E72D297353CC}">
                <c16:uniqueId val="{00000003-B1F3-4B1C-B6BD-D7555A955EE3}"/>
              </c:ext>
            </c:extLst>
          </c:dPt>
          <c:dPt>
            <c:idx val="3"/>
            <c:invertIfNegative val="0"/>
            <c:bubble3D val="0"/>
            <c:spPr>
              <a:solidFill>
                <a:srgbClr val="FFBFBF"/>
              </a:solidFill>
            </c:spPr>
            <c:extLst>
              <c:ext xmlns:c16="http://schemas.microsoft.com/office/drawing/2014/chart" uri="{C3380CC4-5D6E-409C-BE32-E72D297353CC}">
                <c16:uniqueId val="{00000001-1D88-4E66-AA3A-770CA96ED1E8}"/>
              </c:ext>
            </c:extLst>
          </c:dPt>
          <c:dPt>
            <c:idx val="4"/>
            <c:invertIfNegative val="0"/>
            <c:bubble3D val="0"/>
            <c:extLst>
              <c:ext xmlns:c16="http://schemas.microsoft.com/office/drawing/2014/chart" uri="{C3380CC4-5D6E-409C-BE32-E72D297353CC}">
                <c16:uniqueId val="{00000004-B1F3-4B1C-B6BD-D7555A955EE3}"/>
              </c:ext>
            </c:extLst>
          </c:dPt>
          <c:dPt>
            <c:idx val="5"/>
            <c:invertIfNegative val="0"/>
            <c:bubble3D val="0"/>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dLbl>
              <c:idx val="4"/>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B1F3-4B1C-B6BD-D7555A955EE3}"/>
                </c:ext>
              </c:extLst>
            </c:dLbl>
            <c:dLbl>
              <c:idx val="5"/>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6D8A-4B36-B874-4E9C8B692C25}"/>
                </c:ext>
              </c:extLst>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c:v>
                </c:pt>
                <c:pt idx="1">
                  <c:v>Schick</c:v>
                </c:pt>
                <c:pt idx="2">
                  <c:v>Dollar Shave Club</c:v>
                </c:pt>
                <c:pt idx="3">
                  <c:v>Equate</c:v>
                </c:pt>
                <c:pt idx="4">
                  <c:v>Harry's</c:v>
                </c:pt>
                <c:pt idx="5">
                  <c:v>Van Der Hagen</c:v>
                </c:pt>
              </c:strCache>
            </c:strRef>
          </c:cat>
          <c:val>
            <c:numRef>
              <c:f>Sheet1!$B$2:$B$7</c:f>
              <c:numCache>
                <c:formatCode>General</c:formatCode>
                <c:ptCount val="6"/>
                <c:pt idx="0">
                  <c:v>4.3110918061391574</c:v>
                </c:pt>
                <c:pt idx="1">
                  <c:v>-0.54199151078099717</c:v>
                </c:pt>
                <c:pt idx="2">
                  <c:v>-0.64558707894090683</c:v>
                </c:pt>
                <c:pt idx="3">
                  <c:v>-0.83333633432079912</c:v>
                </c:pt>
                <c:pt idx="4">
                  <c:v>0</c:v>
                </c:pt>
                <c:pt idx="5">
                  <c:v>0</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6308329537389168"/>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dLbls>
            <c:dLbl>
              <c:idx val="0"/>
              <c:tx>
                <c:rich>
                  <a:bodyPr/>
                  <a:lstStyle/>
                  <a:p>
                    <a:fld id="{6B5DEE75-73A1-4589-80A7-A6A1F8C1D15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B77E-4F29-87DF-0FE64D0B037A}"/>
                </c:ext>
              </c:extLst>
            </c:dLbl>
            <c:dLbl>
              <c:idx val="1"/>
              <c:tx>
                <c:rich>
                  <a:bodyPr/>
                  <a:lstStyle/>
                  <a:p>
                    <a:fld id="{1277576F-0D93-44CD-8705-98BFA7CE7A9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77E-4F29-87DF-0FE64D0B037A}"/>
                </c:ext>
              </c:extLst>
            </c:dLbl>
            <c:dLbl>
              <c:idx val="2"/>
              <c:tx>
                <c:rich>
                  <a:bodyPr/>
                  <a:lstStyle/>
                  <a:p>
                    <a:fld id="{2C875CEC-A135-4B8B-BDFD-7A313CCD8D9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B77E-4F29-87DF-0FE64D0B037A}"/>
                </c:ext>
              </c:extLst>
            </c:dLbl>
            <c:dLbl>
              <c:idx val="3"/>
              <c:tx>
                <c:rich>
                  <a:bodyPr/>
                  <a:lstStyle/>
                  <a:p>
                    <a:fld id="{F88AE771-9506-432A-91DA-421CD97D859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77E-4F29-87DF-0FE64D0B037A}"/>
                </c:ext>
              </c:extLst>
            </c:dLbl>
            <c:dLbl>
              <c:idx val="4"/>
              <c:tx>
                <c:rich>
                  <a:bodyPr/>
                  <a:lstStyle/>
                  <a:p>
                    <a:fld id="{2EC7A3CD-B43F-4459-AA8C-3E787076CD2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B77E-4F29-87DF-0FE64D0B037A}"/>
                </c:ext>
              </c:extLst>
            </c:dLbl>
            <c:dLbl>
              <c:idx val="5"/>
              <c:tx>
                <c:rich>
                  <a:bodyPr/>
                  <a:lstStyle/>
                  <a:p>
                    <a:fld id="{7DA411D4-934C-450E-AF5A-67AC1ED4331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77E-4F29-87DF-0FE64D0B037A}"/>
                </c:ext>
              </c:extLst>
            </c:dLbl>
            <c:dLbl>
              <c:idx val="6"/>
              <c:tx>
                <c:rich>
                  <a:bodyPr/>
                  <a:lstStyle/>
                  <a:p>
                    <a:fld id="{F4975A1A-326A-4E5C-B0EB-126B5C052BC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B77E-4F29-87DF-0FE64D0B037A}"/>
                </c:ext>
              </c:extLst>
            </c:dLbl>
            <c:dLbl>
              <c:idx val="7"/>
              <c:tx>
                <c:rich>
                  <a:bodyPr/>
                  <a:lstStyle/>
                  <a:p>
                    <a:fld id="{206F9314-F34B-4FEC-ABC9-00330187E10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77E-4F29-87DF-0FE64D0B037A}"/>
                </c:ext>
              </c:extLst>
            </c:dLbl>
            <c:dLbl>
              <c:idx val="8"/>
              <c:tx>
                <c:rich>
                  <a:bodyPr/>
                  <a:lstStyle/>
                  <a:p>
                    <a:fld id="{49E4300A-312E-402C-818A-FB4B5AB16FC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B77E-4F29-87DF-0FE64D0B037A}"/>
                </c:ext>
              </c:extLst>
            </c:dLbl>
            <c:dLbl>
              <c:idx val="9"/>
              <c:tx>
                <c:rich>
                  <a:bodyPr/>
                  <a:lstStyle/>
                  <a:p>
                    <a:fld id="{48CFA63B-D1CA-43F8-9F66-FE2E9FCF41E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77E-4F29-87DF-0FE64D0B037A}"/>
                </c:ext>
              </c:extLst>
            </c:dLbl>
            <c:dLbl>
              <c:idx val="1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77E-4F29-87DF-0FE64D0B037A}"/>
                </c:ext>
              </c:extLst>
            </c:dLbl>
            <c:dLbl>
              <c:idx val="1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B-B77E-4F29-87DF-0FE64D0B037A}"/>
                </c:ext>
              </c:extLst>
            </c:dLbl>
            <c:dLbl>
              <c:idx val="1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B77E-4F29-87DF-0FE64D0B037A}"/>
                </c:ext>
              </c:extLst>
            </c:dLbl>
            <c:dLbl>
              <c:idx val="13"/>
              <c:tx>
                <c:rich>
                  <a:bodyPr/>
                  <a:lstStyle/>
                  <a:p>
                    <a:fld id="{AE2148D8-D55C-4A81-8B35-5F9A6DD83B9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77E-4F29-87DF-0FE64D0B037A}"/>
                </c:ext>
              </c:extLst>
            </c:dLbl>
            <c:dLbl>
              <c:idx val="14"/>
              <c:tx>
                <c:rich>
                  <a:bodyPr/>
                  <a:lstStyle/>
                  <a:p>
                    <a:fld id="{D6298FA2-7D53-475F-B6C2-C3665A4D12A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B77E-4F29-87DF-0FE64D0B037A}"/>
                </c:ext>
              </c:extLst>
            </c:dLbl>
            <c:dLbl>
              <c:idx val="15"/>
              <c:tx>
                <c:rich>
                  <a:bodyPr/>
                  <a:lstStyle/>
                  <a:p>
                    <a:fld id="{A600B5D3-18C2-406E-98F0-6E4013C7FD0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77E-4F29-87DF-0FE64D0B037A}"/>
                </c:ext>
              </c:extLst>
            </c:dLbl>
            <c:dLbl>
              <c:idx val="1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0-B77E-4F29-87DF-0FE64D0B037A}"/>
                </c:ext>
              </c:extLst>
            </c:dLbl>
            <c:dLbl>
              <c:idx val="1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B77E-4F29-87DF-0FE64D0B037A}"/>
                </c:ext>
              </c:extLst>
            </c:dLbl>
            <c:dLbl>
              <c:idx val="1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2-B77E-4F29-87DF-0FE64D0B037A}"/>
                </c:ext>
              </c:extLst>
            </c:dLbl>
            <c:dLbl>
              <c:idx val="19"/>
              <c:tx>
                <c:rich>
                  <a:bodyPr/>
                  <a:lstStyle/>
                  <a:p>
                    <a:fld id="{539A042D-B237-4E75-BC8C-82C56C50E6C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77E-4F29-87DF-0FE64D0B037A}"/>
                </c:ext>
              </c:extLst>
            </c:dLbl>
            <c:dLbl>
              <c:idx val="20"/>
              <c:tx>
                <c:rich>
                  <a:bodyPr/>
                  <a:lstStyle/>
                  <a:p>
                    <a:fld id="{81125DE5-EC03-49C0-96CD-6587381181F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77E-4F29-87DF-0FE64D0B037A}"/>
                </c:ext>
              </c:extLst>
            </c:dLbl>
            <c:dLbl>
              <c:idx val="21"/>
              <c:tx>
                <c:rich>
                  <a:bodyPr/>
                  <a:lstStyle/>
                  <a:p>
                    <a:fld id="{DA119BC8-2363-468D-AA59-51A2D1983EC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77E-4F29-87DF-0FE64D0B037A}"/>
                </c:ext>
              </c:extLst>
            </c:dLbl>
            <c:dLbl>
              <c:idx val="2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77E-4F29-87DF-0FE64D0B037A}"/>
                </c:ext>
              </c:extLst>
            </c:dLbl>
            <c:dLbl>
              <c:idx val="23"/>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77E-4F29-87DF-0FE64D0B037A}"/>
                </c:ext>
              </c:extLst>
            </c:dLbl>
            <c:dLbl>
              <c:idx val="2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B77E-4F29-87DF-0FE64D0B037A}"/>
                </c:ext>
              </c:extLst>
            </c:dLbl>
            <c:dLbl>
              <c:idx val="25"/>
              <c:tx>
                <c:rich>
                  <a:bodyPr/>
                  <a:lstStyle/>
                  <a:p>
                    <a:fld id="{81529786-410F-423D-A9B3-B5F9942218C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77E-4F29-87DF-0FE64D0B037A}"/>
                </c:ext>
              </c:extLst>
            </c:dLbl>
            <c:dLbl>
              <c:idx val="26"/>
              <c:tx>
                <c:rich>
                  <a:bodyPr/>
                  <a:lstStyle/>
                  <a:p>
                    <a:fld id="{28E52826-F7CB-44D2-B868-89B3D314663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77E-4F29-87DF-0FE64D0B037A}"/>
                </c:ext>
              </c:extLst>
            </c:dLbl>
            <c:dLbl>
              <c:idx val="27"/>
              <c:tx>
                <c:rich>
                  <a:bodyPr/>
                  <a:lstStyle/>
                  <a:p>
                    <a:fld id="{5EE0B60E-281B-41D7-97A4-AB37C7242C9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77E-4F29-87DF-0FE64D0B037A}"/>
                </c:ext>
              </c:extLst>
            </c:dLbl>
            <c:dLbl>
              <c:idx val="28"/>
              <c:tx>
                <c:rich>
                  <a:bodyPr/>
                  <a:lstStyle/>
                  <a:p>
                    <a:fld id="{E6D12D71-6727-40B9-AC5F-FECF104503A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77E-4F29-87DF-0FE64D0B037A}"/>
                </c:ext>
              </c:extLst>
            </c:dLbl>
            <c:dLbl>
              <c:idx val="29"/>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77E-4F29-87DF-0FE64D0B037A}"/>
                </c:ext>
              </c:extLst>
            </c:dLbl>
            <c:dLbl>
              <c:idx val="3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77E-4F29-87DF-0FE64D0B037A}"/>
                </c:ext>
              </c:extLst>
            </c:dLbl>
            <c:dLbl>
              <c:idx val="31"/>
              <c:tx>
                <c:rich>
                  <a:bodyPr/>
                  <a:lstStyle/>
                  <a:p>
                    <a:fld id="{0EF4EE01-062D-4395-8283-E167951CC55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77E-4F29-87DF-0FE64D0B037A}"/>
                </c:ext>
              </c:extLst>
            </c:dLbl>
            <c:dLbl>
              <c:idx val="32"/>
              <c:tx>
                <c:rich>
                  <a:bodyPr/>
                  <a:lstStyle/>
                  <a:p>
                    <a:fld id="{03D48324-9DE2-4257-96B3-7EC7A0A639D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77E-4F29-87DF-0FE64D0B037A}"/>
                </c:ext>
              </c:extLst>
            </c:dLbl>
            <c:dLbl>
              <c:idx val="33"/>
              <c:tx>
                <c:rich>
                  <a:bodyPr/>
                  <a:lstStyle/>
                  <a:p>
                    <a:fld id="{5372239C-AD34-42E8-BC93-7982E02325C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77E-4F29-87DF-0FE64D0B037A}"/>
                </c:ext>
              </c:extLst>
            </c:dLbl>
            <c:dLbl>
              <c:idx val="3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B77E-4F29-87DF-0FE64D0B037A}"/>
                </c:ext>
              </c:extLst>
            </c:dLbl>
            <c:dLbl>
              <c:idx val="35"/>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B77E-4F29-87DF-0FE64D0B037A}"/>
                </c:ext>
              </c:extLst>
            </c:dLbl>
            <c:dLbl>
              <c:idx val="3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77E-4F29-87DF-0FE64D0B037A}"/>
                </c:ext>
              </c:extLst>
            </c:dLbl>
            <c:dLbl>
              <c:idx val="37"/>
              <c:tx>
                <c:rich>
                  <a:bodyPr/>
                  <a:lstStyle/>
                  <a:p>
                    <a:fld id="{1CD5818A-EF73-4514-B704-E4800495748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77E-4F29-87DF-0FE64D0B037A}"/>
                </c:ext>
              </c:extLst>
            </c:dLbl>
            <c:dLbl>
              <c:idx val="38"/>
              <c:tx>
                <c:rich>
                  <a:bodyPr/>
                  <a:lstStyle/>
                  <a:p>
                    <a:fld id="{98448798-96EE-4278-A9A9-97B2E23FADC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77E-4F29-87DF-0FE64D0B037A}"/>
                </c:ext>
              </c:extLst>
            </c:dLbl>
            <c:dLbl>
              <c:idx val="39"/>
              <c:tx>
                <c:rich>
                  <a:bodyPr/>
                  <a:lstStyle/>
                  <a:p>
                    <a:fld id="{3AF1399D-4E69-4567-BE28-7B088054F02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77E-4F29-87DF-0FE64D0B037A}"/>
                </c:ext>
              </c:extLst>
            </c:dLbl>
            <c:dLbl>
              <c:idx val="43"/>
              <c:tx>
                <c:rich>
                  <a:bodyPr/>
                  <a:lstStyle/>
                  <a:p>
                    <a:fld id="{D71EA275-8352-415B-8050-20D33245AD7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77E-4F29-87DF-0FE64D0B037A}"/>
                </c:ext>
              </c:extLst>
            </c:dLbl>
            <c:dLbl>
              <c:idx val="44"/>
              <c:tx>
                <c:rich>
                  <a:bodyPr/>
                  <a:lstStyle/>
                  <a:p>
                    <a:fld id="{9286E3E0-442B-4AC4-9023-4561176D828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77E-4F29-87DF-0FE64D0B037A}"/>
                </c:ext>
              </c:extLst>
            </c:dLbl>
            <c:dLbl>
              <c:idx val="45"/>
              <c:tx>
                <c:rich>
                  <a:bodyPr/>
                  <a:lstStyle/>
                  <a:p>
                    <a:fld id="{6CC47F46-59F7-4012-BE94-AFC13ACBF76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77E-4F29-87DF-0FE64D0B037A}"/>
                </c:ext>
              </c:extLst>
            </c:dLbl>
            <c:dLbl>
              <c:idx val="49"/>
              <c:tx>
                <c:rich>
                  <a:bodyPr/>
                  <a:lstStyle/>
                  <a:p>
                    <a:fld id="{FBC163E7-EB56-4298-96B3-8D5A2913A8E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77E-4F29-87DF-0FE64D0B037A}"/>
                </c:ext>
              </c:extLst>
            </c:dLbl>
            <c:dLbl>
              <c:idx val="50"/>
              <c:tx>
                <c:rich>
                  <a:bodyPr/>
                  <a:lstStyle/>
                  <a:p>
                    <a:fld id="{4ACD51F4-AB8A-4281-B0C5-3F6847473EE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77E-4F29-87DF-0FE64D0B037A}"/>
                </c:ext>
              </c:extLst>
            </c:dLbl>
            <c:dLbl>
              <c:idx val="51"/>
              <c:tx>
                <c:rich>
                  <a:bodyPr/>
                  <a:lstStyle/>
                  <a:p>
                    <a:fld id="{E871F94A-5093-48C4-B676-1524AC18FE5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77E-4F29-87DF-0FE64D0B037A}"/>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1</c:f>
              <c:strCache>
                <c:ptCount val="40"/>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8-04</c:v>
                </c:pt>
                <c:pt idx="16">
                  <c:v>2024-08-11</c:v>
                </c:pt>
                <c:pt idx="17">
                  <c:v>2024-08-18</c:v>
                </c:pt>
                <c:pt idx="18">
                  <c:v>2024-08-25</c:v>
                </c:pt>
                <c:pt idx="19">
                  <c:v>2024-09-01</c:v>
                </c:pt>
                <c:pt idx="20">
                  <c:v>2024-09-08</c:v>
                </c:pt>
                <c:pt idx="21">
                  <c:v>2024-09-15</c:v>
                </c:pt>
                <c:pt idx="22">
                  <c:v>2024-09-22</c:v>
                </c:pt>
                <c:pt idx="23">
                  <c:v>2024-09-29</c:v>
                </c:pt>
                <c:pt idx="24">
                  <c:v>2024-10-13</c:v>
                </c:pt>
                <c:pt idx="25">
                  <c:v>2024-10-20</c:v>
                </c:pt>
                <c:pt idx="26">
                  <c:v>2024-10-27</c:v>
                </c:pt>
                <c:pt idx="27">
                  <c:v>2024-11-03</c:v>
                </c:pt>
                <c:pt idx="28">
                  <c:v>2024-11-10</c:v>
                </c:pt>
                <c:pt idx="29">
                  <c:v>2024-11-17</c:v>
                </c:pt>
                <c:pt idx="30">
                  <c:v>2024-11-24</c:v>
                </c:pt>
                <c:pt idx="31">
                  <c:v>2024-12-01</c:v>
                </c:pt>
                <c:pt idx="32">
                  <c:v>2024-12-08</c:v>
                </c:pt>
                <c:pt idx="33">
                  <c:v>2024-12-15</c:v>
                </c:pt>
                <c:pt idx="34">
                  <c:v>2024-12-22</c:v>
                </c:pt>
                <c:pt idx="35">
                  <c:v>2024-12-29</c:v>
                </c:pt>
                <c:pt idx="36">
                  <c:v>2025-01-05</c:v>
                </c:pt>
                <c:pt idx="37">
                  <c:v>2025-01-12</c:v>
                </c:pt>
                <c:pt idx="38">
                  <c:v>2025-01-19</c:v>
                </c:pt>
                <c:pt idx="39">
                  <c:v>2025-01-26</c:v>
                </c:pt>
              </c:strCache>
            </c:strRef>
          </c:cat>
          <c:val>
            <c:numRef>
              <c:f>Sheet1!$B$2:$B$41</c:f>
              <c:numCache>
                <c:formatCode>General</c:formatCode>
                <c:ptCount val="40"/>
                <c:pt idx="24">
                  <c:v>1</c:v>
                </c:pt>
                <c:pt idx="25">
                  <c:v>1</c:v>
                </c:pt>
                <c:pt idx="31">
                  <c:v>1</c:v>
                </c:pt>
                <c:pt idx="32">
                  <c:v>1</c:v>
                </c:pt>
                <c:pt idx="33">
                  <c:v>1</c:v>
                </c:pt>
                <c:pt idx="34">
                  <c:v>1</c:v>
                </c:pt>
                <c:pt idx="35">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B77E-4F29-87DF-0FE64D0B037A}"/>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dPt>
            <c:idx val="35"/>
            <c:marker>
              <c:spPr>
                <a:solidFill>
                  <a:srgbClr val="E6E5E5"/>
                </a:solidFill>
                <a:ln>
                  <a:solidFill>
                    <a:srgbClr val="E6E5E5"/>
                  </a:solidFill>
                </a:ln>
              </c:spPr>
            </c:marker>
            <c:bubble3D val="0"/>
            <c:extLst>
              <c:ext xmlns:c16="http://schemas.microsoft.com/office/drawing/2014/chart" uri="{C3380CC4-5D6E-409C-BE32-E72D297353CC}">
                <c16:uniqueId val="{00000000-6B53-4542-A02C-9D0A949B77EC}"/>
              </c:ext>
            </c:extLst>
          </c:dPt>
          <c:dLbls>
            <c:dLbl>
              <c:idx val="35"/>
              <c:tx>
                <c:rich>
                  <a:bodyPr/>
                  <a:lstStyle/>
                  <a:p>
                    <a:r>
                      <a:rPr sz="800">
                        <a:solidFill>
                          <a:srgbClr val="00A097"/>
                        </a:solidFill>
                      </a:rPr>
                      <a:t>419%</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6B53-4542-A02C-9D0A949B77E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41</c:f>
              <c:strCache>
                <c:ptCount val="40"/>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8-04</c:v>
                </c:pt>
                <c:pt idx="16">
                  <c:v>2024-08-11</c:v>
                </c:pt>
                <c:pt idx="17">
                  <c:v>2024-08-18</c:v>
                </c:pt>
                <c:pt idx="18">
                  <c:v>2024-08-25</c:v>
                </c:pt>
                <c:pt idx="19">
                  <c:v>2024-09-01</c:v>
                </c:pt>
                <c:pt idx="20">
                  <c:v>2024-09-08</c:v>
                </c:pt>
                <c:pt idx="21">
                  <c:v>2024-09-15</c:v>
                </c:pt>
                <c:pt idx="22">
                  <c:v>2024-09-22</c:v>
                </c:pt>
                <c:pt idx="23">
                  <c:v>2024-09-29</c:v>
                </c:pt>
                <c:pt idx="24">
                  <c:v>2024-10-13</c:v>
                </c:pt>
                <c:pt idx="25">
                  <c:v>2024-10-20</c:v>
                </c:pt>
                <c:pt idx="26">
                  <c:v>2024-10-27</c:v>
                </c:pt>
                <c:pt idx="27">
                  <c:v>2024-11-03</c:v>
                </c:pt>
                <c:pt idx="28">
                  <c:v>2024-11-10</c:v>
                </c:pt>
                <c:pt idx="29">
                  <c:v>2024-11-17</c:v>
                </c:pt>
                <c:pt idx="30">
                  <c:v>2024-11-24</c:v>
                </c:pt>
                <c:pt idx="31">
                  <c:v>2024-12-01</c:v>
                </c:pt>
                <c:pt idx="32">
                  <c:v>2024-12-08</c:v>
                </c:pt>
                <c:pt idx="33">
                  <c:v>2024-12-15</c:v>
                </c:pt>
                <c:pt idx="34">
                  <c:v>2024-12-22</c:v>
                </c:pt>
                <c:pt idx="35">
                  <c:v>2024-12-29</c:v>
                </c:pt>
                <c:pt idx="36">
                  <c:v>2025-01-05</c:v>
                </c:pt>
                <c:pt idx="37">
                  <c:v>2025-01-12</c:v>
                </c:pt>
                <c:pt idx="38">
                  <c:v>2025-01-19</c:v>
                </c:pt>
                <c:pt idx="39">
                  <c:v>2025-01-26</c:v>
                </c:pt>
              </c:strCache>
            </c:strRef>
          </c:cat>
          <c:val>
            <c:numRef>
              <c:f>Sheet1!$C$2:$C$41</c:f>
              <c:numCache>
                <c:formatCode>General</c:formatCode>
                <c:ptCount val="40"/>
                <c:pt idx="35">
                  <c:v>1.8</c:v>
                </c:pt>
              </c:numCache>
            </c:numRef>
          </c:val>
          <c:smooth val="0"/>
          <c:extLst>
            <c:ext xmlns:c16="http://schemas.microsoft.com/office/drawing/2014/chart" uri="{C3380CC4-5D6E-409C-BE32-E72D297353CC}">
              <c16:uniqueId val="{00000035-B77E-4F29-87DF-0FE64D0B037A}"/>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8830866852403085"/>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dLbls>
            <c:dLbl>
              <c:idx val="0"/>
              <c:tx>
                <c:rich>
                  <a:bodyPr/>
                  <a:lstStyle/>
                  <a:p>
                    <a:fld id="{BF79E34F-F58E-43C7-A737-3610393BFC7A}"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738-4A3D-98BB-3D0CBF671497}"/>
                </c:ext>
              </c:extLst>
            </c:dLbl>
            <c:dLbl>
              <c:idx val="1"/>
              <c:tx>
                <c:rich>
                  <a:bodyPr/>
                  <a:lstStyle/>
                  <a:p>
                    <a:fld id="{292D28FC-14A5-450F-B5A4-27397CD1853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738-4A3D-98BB-3D0CBF671497}"/>
                </c:ext>
              </c:extLst>
            </c:dLbl>
            <c:dLbl>
              <c:idx val="2"/>
              <c:tx>
                <c:rich>
                  <a:bodyPr/>
                  <a:lstStyle/>
                  <a:p>
                    <a:fld id="{D38474FE-1F2B-4621-A0DB-6E3AD2BCCB3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738-4A3D-98BB-3D0CBF671497}"/>
                </c:ext>
              </c:extLst>
            </c:dLbl>
            <c:dLbl>
              <c:idx val="3"/>
              <c:tx>
                <c:rich>
                  <a:bodyPr/>
                  <a:lstStyle/>
                  <a:p>
                    <a:fld id="{EB6D75BD-7D4C-4971-9498-4C8014B0C3A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738-4A3D-98BB-3D0CBF671497}"/>
                </c:ext>
              </c:extLst>
            </c:dLbl>
            <c:dLbl>
              <c:idx val="4"/>
              <c:tx>
                <c:rich>
                  <a:bodyPr/>
                  <a:lstStyle/>
                  <a:p>
                    <a:fld id="{D6FDEE28-6DCB-414C-A455-6C4E1898403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C738-4A3D-98BB-3D0CBF671497}"/>
                </c:ext>
              </c:extLst>
            </c:dLbl>
            <c:dLbl>
              <c:idx val="5"/>
              <c:tx>
                <c:rich>
                  <a:bodyPr/>
                  <a:lstStyle/>
                  <a:p>
                    <a:fld id="{98F27F79-CC5B-4CE2-A0E9-6AE372A06FF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C738-4A3D-98BB-3D0CBF671497}"/>
                </c:ext>
              </c:extLst>
            </c:dLbl>
            <c:dLbl>
              <c:idx val="6"/>
              <c:tx>
                <c:rich>
                  <a:bodyPr/>
                  <a:lstStyle/>
                  <a:p>
                    <a:fld id="{CF1C7D5F-7710-436D-8C40-E5B138A58FC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C738-4A3D-98BB-3D0CBF671497}"/>
                </c:ext>
              </c:extLst>
            </c:dLbl>
            <c:dLbl>
              <c:idx val="7"/>
              <c:tx>
                <c:rich>
                  <a:bodyPr/>
                  <a:lstStyle/>
                  <a:p>
                    <a:fld id="{CB0AE0C2-62A6-432A-81C1-B69D613CA51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C738-4A3D-98BB-3D0CBF671497}"/>
                </c:ext>
              </c:extLst>
            </c:dLbl>
            <c:dLbl>
              <c:idx val="8"/>
              <c:tx>
                <c:rich>
                  <a:bodyPr/>
                  <a:lstStyle/>
                  <a:p>
                    <a:fld id="{2F5B0B5A-18F7-45E7-8CB3-7DA5BE9F593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C738-4A3D-98BB-3D0CBF671497}"/>
                </c:ext>
              </c:extLst>
            </c:dLbl>
            <c:dLbl>
              <c:idx val="9"/>
              <c:tx>
                <c:rich>
                  <a:bodyPr/>
                  <a:lstStyle/>
                  <a:p>
                    <a:fld id="{C122E6FC-9954-4744-B763-93F03A199F6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C738-4A3D-98BB-3D0CBF671497}"/>
                </c:ext>
              </c:extLst>
            </c:dLbl>
            <c:dLbl>
              <c:idx val="1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C738-4A3D-98BB-3D0CBF671497}"/>
                </c:ext>
              </c:extLst>
            </c:dLbl>
            <c:dLbl>
              <c:idx val="1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C738-4A3D-98BB-3D0CBF671497}"/>
                </c:ext>
              </c:extLst>
            </c:dLbl>
            <c:dLbl>
              <c:idx val="1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C738-4A3D-98BB-3D0CBF671497}"/>
                </c:ext>
              </c:extLst>
            </c:dLbl>
            <c:dLbl>
              <c:idx val="13"/>
              <c:tx>
                <c:rich>
                  <a:bodyPr/>
                  <a:lstStyle/>
                  <a:p>
                    <a:fld id="{D1D69611-A3D2-44E9-BC18-58B9D0C3D1B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C738-4A3D-98BB-3D0CBF671497}"/>
                </c:ext>
              </c:extLst>
            </c:dLbl>
            <c:dLbl>
              <c:idx val="14"/>
              <c:tx>
                <c:rich>
                  <a:bodyPr/>
                  <a:lstStyle/>
                  <a:p>
                    <a:fld id="{F359A64C-D81F-4C6B-AE22-D9698AB58320}"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C738-4A3D-98BB-3D0CBF671497}"/>
                </c:ext>
              </c:extLst>
            </c:dLbl>
            <c:dLbl>
              <c:idx val="15"/>
              <c:tx>
                <c:rich>
                  <a:bodyPr/>
                  <a:lstStyle/>
                  <a:p>
                    <a:fld id="{14984697-913B-439D-8B20-916A4CD7ACE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C738-4A3D-98BB-3D0CBF671497}"/>
                </c:ext>
              </c:extLst>
            </c:dLbl>
            <c:dLbl>
              <c:idx val="1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C738-4A3D-98BB-3D0CBF671497}"/>
                </c:ext>
              </c:extLst>
            </c:dLbl>
            <c:dLbl>
              <c:idx val="1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C738-4A3D-98BB-3D0CBF671497}"/>
                </c:ext>
              </c:extLst>
            </c:dLbl>
            <c:dLbl>
              <c:idx val="1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C738-4A3D-98BB-3D0CBF671497}"/>
                </c:ext>
              </c:extLst>
            </c:dLbl>
            <c:dLbl>
              <c:idx val="19"/>
              <c:tx>
                <c:rich>
                  <a:bodyPr/>
                  <a:lstStyle/>
                  <a:p>
                    <a:fld id="{3F8D0DF6-4029-4D80-9F2E-AC7F9AB61AE0}"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C738-4A3D-98BB-3D0CBF671497}"/>
                </c:ext>
              </c:extLst>
            </c:dLbl>
            <c:dLbl>
              <c:idx val="20"/>
              <c:tx>
                <c:rich>
                  <a:bodyPr/>
                  <a:lstStyle/>
                  <a:p>
                    <a:fld id="{5DCD221A-9DF5-4495-9B85-60202952F17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C738-4A3D-98BB-3D0CBF671497}"/>
                </c:ext>
              </c:extLst>
            </c:dLbl>
            <c:dLbl>
              <c:idx val="21"/>
              <c:tx>
                <c:rich>
                  <a:bodyPr/>
                  <a:lstStyle/>
                  <a:p>
                    <a:fld id="{FF9B04F0-642D-43A7-B2F4-F4969B5FEE3A}"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C738-4A3D-98BB-3D0CBF671497}"/>
                </c:ext>
              </c:extLst>
            </c:dLbl>
            <c:dLbl>
              <c:idx val="25"/>
              <c:tx>
                <c:rich>
                  <a:bodyPr/>
                  <a:lstStyle/>
                  <a:p>
                    <a:fld id="{5C4EF337-B8A5-4216-8531-6D370902000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C738-4A3D-98BB-3D0CBF671497}"/>
                </c:ext>
              </c:extLst>
            </c:dLbl>
            <c:dLbl>
              <c:idx val="26"/>
              <c:tx>
                <c:rich>
                  <a:bodyPr/>
                  <a:lstStyle/>
                  <a:p>
                    <a:fld id="{3BDB8533-49B6-4D6B-86CA-806C0F67B7B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C738-4A3D-98BB-3D0CBF671497}"/>
                </c:ext>
              </c:extLst>
            </c:dLbl>
            <c:dLbl>
              <c:idx val="27"/>
              <c:tx>
                <c:rich>
                  <a:bodyPr/>
                  <a:lstStyle/>
                  <a:p>
                    <a:fld id="{F8CA7A21-E1E5-4A42-84F4-2FCE3D5A37EA}"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C738-4A3D-98BB-3D0CBF671497}"/>
                </c:ext>
              </c:extLst>
            </c:dLbl>
            <c:dLbl>
              <c:idx val="28"/>
              <c:tx>
                <c:rich>
                  <a:bodyPr/>
                  <a:lstStyle/>
                  <a:p>
                    <a:fld id="{C73AFC6B-0D49-4654-96D3-4C6317C609D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C738-4A3D-98BB-3D0CBF671497}"/>
                </c:ext>
              </c:extLst>
            </c:dLbl>
            <c:dLbl>
              <c:idx val="31"/>
              <c:tx>
                <c:rich>
                  <a:bodyPr/>
                  <a:lstStyle/>
                  <a:p>
                    <a:fld id="{35884E01-7507-45E3-BB31-F33FBE97B5A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C738-4A3D-98BB-3D0CBF671497}"/>
                </c:ext>
              </c:extLst>
            </c:dLbl>
            <c:dLbl>
              <c:idx val="32"/>
              <c:tx>
                <c:rich>
                  <a:bodyPr/>
                  <a:lstStyle/>
                  <a:p>
                    <a:fld id="{F337102A-482E-4823-9D31-9554CFF516F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C738-4A3D-98BB-3D0CBF671497}"/>
                </c:ext>
              </c:extLst>
            </c:dLbl>
            <c:dLbl>
              <c:idx val="33"/>
              <c:tx>
                <c:rich>
                  <a:bodyPr/>
                  <a:lstStyle/>
                  <a:p>
                    <a:fld id="{B1800B67-F9CE-4FA7-B032-D2BAC88BEB4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C738-4A3D-98BB-3D0CBF671497}"/>
                </c:ext>
              </c:extLst>
            </c:dLbl>
            <c:dLbl>
              <c:idx val="37"/>
              <c:tx>
                <c:rich>
                  <a:bodyPr/>
                  <a:lstStyle/>
                  <a:p>
                    <a:fld id="{9D6DACF0-FCA9-4043-9C13-ECFE78516740}"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C738-4A3D-98BB-3D0CBF671497}"/>
                </c:ext>
              </c:extLst>
            </c:dLbl>
            <c:dLbl>
              <c:idx val="38"/>
              <c:tx>
                <c:rich>
                  <a:bodyPr/>
                  <a:lstStyle/>
                  <a:p>
                    <a:fld id="{BEAAE9C8-D48A-43B8-B3EA-10AE4B68947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C738-4A3D-98BB-3D0CBF671497}"/>
                </c:ext>
              </c:extLst>
            </c:dLbl>
            <c:dLbl>
              <c:idx val="39"/>
              <c:tx>
                <c:rich>
                  <a:bodyPr/>
                  <a:lstStyle/>
                  <a:p>
                    <a:fld id="{A2955DAD-BB0D-4D92-A359-C2F87207073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C738-4A3D-98BB-3D0CBF671497}"/>
                </c:ext>
              </c:extLst>
            </c:dLbl>
            <c:dLbl>
              <c:idx val="43"/>
              <c:tx>
                <c:rich>
                  <a:bodyPr/>
                  <a:lstStyle/>
                  <a:p>
                    <a:fld id="{B8C93BD6-AD35-40F3-8D82-8343F9E0589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C738-4A3D-98BB-3D0CBF671497}"/>
                </c:ext>
              </c:extLst>
            </c:dLbl>
            <c:dLbl>
              <c:idx val="44"/>
              <c:tx>
                <c:rich>
                  <a:bodyPr/>
                  <a:lstStyle/>
                  <a:p>
                    <a:fld id="{2AE34E6D-6CBC-4987-BC57-6ED47F69C09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C738-4A3D-98BB-3D0CBF671497}"/>
                </c:ext>
              </c:extLst>
            </c:dLbl>
            <c:dLbl>
              <c:idx val="45"/>
              <c:tx>
                <c:rich>
                  <a:bodyPr/>
                  <a:lstStyle/>
                  <a:p>
                    <a:fld id="{03E6FB75-C514-4656-A3D1-5BA947FCC06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C738-4A3D-98BB-3D0CBF671497}"/>
                </c:ext>
              </c:extLst>
            </c:dLbl>
            <c:dLbl>
              <c:idx val="49"/>
              <c:tx>
                <c:rich>
                  <a:bodyPr/>
                  <a:lstStyle/>
                  <a:p>
                    <a:fld id="{E39FCE1D-CA99-44C9-AC40-2729AB702BEA}"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C738-4A3D-98BB-3D0CBF671497}"/>
                </c:ext>
              </c:extLst>
            </c:dLbl>
            <c:dLbl>
              <c:idx val="50"/>
              <c:tx>
                <c:rich>
                  <a:bodyPr/>
                  <a:lstStyle/>
                  <a:p>
                    <a:fld id="{50827839-E702-48D8-B870-E9563042F4A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C738-4A3D-98BB-3D0CBF671497}"/>
                </c:ext>
              </c:extLst>
            </c:dLbl>
            <c:dLbl>
              <c:idx val="51"/>
              <c:tx>
                <c:rich>
                  <a:bodyPr/>
                  <a:lstStyle/>
                  <a:p>
                    <a:fld id="{C0BA49DF-1094-414A-8F8D-9D30B118624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C738-4A3D-98BB-3D0CBF671497}"/>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dLblPos val="in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2024-04-14</c:v>
                </c:pt>
                <c:pt idx="1">
                  <c:v>2024-05-26</c:v>
                </c:pt>
                <c:pt idx="2">
                  <c:v>2024-06-02</c:v>
                </c:pt>
                <c:pt idx="3">
                  <c:v>2024-08-11</c:v>
                </c:pt>
                <c:pt idx="4">
                  <c:v>2024-09-08</c:v>
                </c:pt>
                <c:pt idx="5">
                  <c:v>2024-10-13</c:v>
                </c:pt>
                <c:pt idx="6">
                  <c:v>2024-10-20</c:v>
                </c:pt>
                <c:pt idx="7">
                  <c:v>2024-10-27</c:v>
                </c:pt>
                <c:pt idx="8">
                  <c:v>2024-11-03</c:v>
                </c:pt>
                <c:pt idx="9">
                  <c:v>2024-11-10</c:v>
                </c:pt>
                <c:pt idx="10">
                  <c:v>2024-11-17</c:v>
                </c:pt>
                <c:pt idx="11">
                  <c:v>2024-11-24</c:v>
                </c:pt>
                <c:pt idx="12">
                  <c:v>2024-12-01</c:v>
                </c:pt>
                <c:pt idx="13">
                  <c:v>2024-12-08</c:v>
                </c:pt>
                <c:pt idx="14">
                  <c:v>2024-12-15</c:v>
                </c:pt>
                <c:pt idx="15">
                  <c:v>2024-12-22</c:v>
                </c:pt>
                <c:pt idx="16">
                  <c:v>2024-12-29</c:v>
                </c:pt>
                <c:pt idx="17">
                  <c:v>2025-01-05</c:v>
                </c:pt>
                <c:pt idx="18">
                  <c:v>2025-01-12</c:v>
                </c:pt>
                <c:pt idx="19">
                  <c:v>2025-01-19</c:v>
                </c:pt>
              </c:strCache>
            </c:strRef>
          </c:cat>
          <c:val>
            <c:numRef>
              <c:f>Sheet1!$B$2:$B$21</c:f>
              <c:numCache>
                <c:formatCode>General</c:formatCode>
                <c:ptCount val="20"/>
                <c:pt idx="0">
                  <c:v>1</c:v>
                </c:pt>
                <c:pt idx="1">
                  <c:v>1</c:v>
                </c:pt>
                <c:pt idx="5">
                  <c:v>1</c:v>
                </c:pt>
                <c:pt idx="6">
                  <c:v>1</c:v>
                </c:pt>
                <c:pt idx="7">
                  <c:v>1</c:v>
                </c:pt>
                <c:pt idx="8">
                  <c:v>1</c:v>
                </c:pt>
                <c:pt idx="9">
                  <c:v>1</c:v>
                </c:pt>
                <c:pt idx="10">
                  <c:v>1</c:v>
                </c:pt>
                <c:pt idx="11">
                  <c:v>1</c:v>
                </c:pt>
                <c:pt idx="12">
                  <c:v>1</c:v>
                </c:pt>
                <c:pt idx="13">
                  <c:v>1</c:v>
                </c:pt>
                <c:pt idx="14">
                  <c:v>1</c:v>
                </c:pt>
                <c:pt idx="15">
                  <c:v>1</c:v>
                </c:pt>
                <c:pt idx="16">
                  <c:v>1</c:v>
                </c:pt>
                <c:pt idx="17">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C738-4A3D-98BB-3D0CBF671497}"/>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dPt>
            <c:idx val="16"/>
            <c:marker>
              <c:spPr>
                <a:solidFill>
                  <a:srgbClr val="E6E5E5"/>
                </a:solidFill>
                <a:ln>
                  <a:solidFill>
                    <a:srgbClr val="E6E5E5"/>
                  </a:solidFill>
                </a:ln>
              </c:spPr>
            </c:marker>
            <c:bubble3D val="0"/>
            <c:extLst>
              <c:ext xmlns:c16="http://schemas.microsoft.com/office/drawing/2014/chart" uri="{C3380CC4-5D6E-409C-BE32-E72D297353CC}">
                <c16:uniqueId val="{00000000-5422-4FA2-9321-81FA4CFB6DF3}"/>
              </c:ext>
            </c:extLst>
          </c:dPt>
          <c:dLbls>
            <c:dLbl>
              <c:idx val="16"/>
              <c:tx>
                <c:rich>
                  <a:bodyPr/>
                  <a:lstStyle/>
                  <a:p>
                    <a:r>
                      <a:rPr sz="800">
                        <a:solidFill>
                          <a:srgbClr val="00A097"/>
                        </a:solidFill>
                      </a:rPr>
                      <a:t>753%</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5422-4FA2-9321-81FA4CFB6DF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1</c:f>
              <c:strCache>
                <c:ptCount val="20"/>
                <c:pt idx="0">
                  <c:v>2024-04-14</c:v>
                </c:pt>
                <c:pt idx="1">
                  <c:v>2024-05-26</c:v>
                </c:pt>
                <c:pt idx="2">
                  <c:v>2024-06-02</c:v>
                </c:pt>
                <c:pt idx="3">
                  <c:v>2024-08-11</c:v>
                </c:pt>
                <c:pt idx="4">
                  <c:v>2024-09-08</c:v>
                </c:pt>
                <c:pt idx="5">
                  <c:v>2024-10-13</c:v>
                </c:pt>
                <c:pt idx="6">
                  <c:v>2024-10-20</c:v>
                </c:pt>
                <c:pt idx="7">
                  <c:v>2024-10-27</c:v>
                </c:pt>
                <c:pt idx="8">
                  <c:v>2024-11-03</c:v>
                </c:pt>
                <c:pt idx="9">
                  <c:v>2024-11-10</c:v>
                </c:pt>
                <c:pt idx="10">
                  <c:v>2024-11-17</c:v>
                </c:pt>
                <c:pt idx="11">
                  <c:v>2024-11-24</c:v>
                </c:pt>
                <c:pt idx="12">
                  <c:v>2024-12-01</c:v>
                </c:pt>
                <c:pt idx="13">
                  <c:v>2024-12-08</c:v>
                </c:pt>
                <c:pt idx="14">
                  <c:v>2024-12-15</c:v>
                </c:pt>
                <c:pt idx="15">
                  <c:v>2024-12-22</c:v>
                </c:pt>
                <c:pt idx="16">
                  <c:v>2024-12-29</c:v>
                </c:pt>
                <c:pt idx="17">
                  <c:v>2025-01-05</c:v>
                </c:pt>
                <c:pt idx="18">
                  <c:v>2025-01-12</c:v>
                </c:pt>
                <c:pt idx="19">
                  <c:v>2025-01-19</c:v>
                </c:pt>
              </c:strCache>
            </c:strRef>
          </c:cat>
          <c:val>
            <c:numRef>
              <c:f>Sheet1!$C$2:$C$21</c:f>
              <c:numCache>
                <c:formatCode>General</c:formatCode>
                <c:ptCount val="20"/>
                <c:pt idx="16">
                  <c:v>1.8</c:v>
                </c:pt>
              </c:numCache>
            </c:numRef>
          </c:val>
          <c:smooth val="0"/>
          <c:extLst>
            <c:ext xmlns:c16="http://schemas.microsoft.com/office/drawing/2014/chart" uri="{C3380CC4-5D6E-409C-BE32-E72D297353CC}">
              <c16:uniqueId val="{00000035-C738-4A3D-98BB-3D0CBF671497}"/>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8830866852403085"/>
        </c:manualLayout>
      </c:layout>
      <c:barChart>
        <c:barDir val="col"/>
        <c:grouping val="percentStacked"/>
        <c:varyColors val="0"/>
        <c:ser>
          <c:idx val="1"/>
          <c:order val="1"/>
          <c:tx>
            <c:strRef>
              <c:f>Sheet1!$B$1</c:f>
              <c:strCache>
                <c:ptCount val="1"/>
                <c:pt idx="0">
                  <c:v>Weekly VSOD</c:v>
                </c:pt>
              </c:strCache>
            </c:strRef>
          </c:tx>
          <c:spPr>
            <a:solidFill>
              <a:schemeClr val="bg2"/>
            </a:solidFill>
            <a:ln>
              <a:noFill/>
            </a:ln>
            <a:effectLst/>
          </c:spPr>
          <c:invertIfNegative val="0"/>
          <c:dLbls>
            <c:dLbl>
              <c:idx val="0"/>
              <c:tx>
                <c:rich>
                  <a:bodyPr/>
                  <a:lstStyle/>
                  <a:p>
                    <a:fld id="{65650072-43D3-4B7F-9728-5855EBDF87B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738-4A3D-98BB-3D0CBF671497}"/>
                </c:ext>
              </c:extLst>
            </c:dLbl>
            <c:dLbl>
              <c:idx val="1"/>
              <c:tx>
                <c:rich>
                  <a:bodyPr/>
                  <a:lstStyle/>
                  <a:p>
                    <a:fld id="{B068EF04-5E8E-4DEA-A4B1-701DCC2DDBF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738-4A3D-98BB-3D0CBF671497}"/>
                </c:ext>
              </c:extLst>
            </c:dLbl>
            <c:dLbl>
              <c:idx val="2"/>
              <c:tx>
                <c:rich>
                  <a:bodyPr/>
                  <a:lstStyle/>
                  <a:p>
                    <a:fld id="{105C4954-9FEF-4291-934C-CFFDD11B364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738-4A3D-98BB-3D0CBF671497}"/>
                </c:ext>
              </c:extLst>
            </c:dLbl>
            <c:dLbl>
              <c:idx val="3"/>
              <c:tx>
                <c:rich>
                  <a:bodyPr/>
                  <a:lstStyle/>
                  <a:p>
                    <a:fld id="{2CC5BFFF-8867-4AA7-BFDA-27CD0E65BB2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738-4A3D-98BB-3D0CBF671497}"/>
                </c:ext>
              </c:extLst>
            </c:dLbl>
            <c:dLbl>
              <c:idx val="4"/>
              <c:tx>
                <c:rich>
                  <a:bodyPr/>
                  <a:lstStyle/>
                  <a:p>
                    <a:fld id="{4336FEC8-ED5B-408C-8BCE-924EAE8833B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C738-4A3D-98BB-3D0CBF671497}"/>
                </c:ext>
              </c:extLst>
            </c:dLbl>
            <c:dLbl>
              <c:idx val="5"/>
              <c:tx>
                <c:rich>
                  <a:bodyPr/>
                  <a:lstStyle/>
                  <a:p>
                    <a:fld id="{32048ABD-ACA0-4A6A-9FA7-8F639015ACC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C738-4A3D-98BB-3D0CBF671497}"/>
                </c:ext>
              </c:extLst>
            </c:dLbl>
            <c:dLbl>
              <c:idx val="6"/>
              <c:tx>
                <c:rich>
                  <a:bodyPr/>
                  <a:lstStyle/>
                  <a:p>
                    <a:fld id="{9B3552F7-EBA6-490F-B697-EB877BC6FC9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C738-4A3D-98BB-3D0CBF671497}"/>
                </c:ext>
              </c:extLst>
            </c:dLbl>
            <c:dLbl>
              <c:idx val="7"/>
              <c:tx>
                <c:rich>
                  <a:bodyPr/>
                  <a:lstStyle/>
                  <a:p>
                    <a:fld id="{01DF2DEA-8055-42F0-B863-30AB6426D7C0}"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C738-4A3D-98BB-3D0CBF671497}"/>
                </c:ext>
              </c:extLst>
            </c:dLbl>
            <c:dLbl>
              <c:idx val="8"/>
              <c:tx>
                <c:rich>
                  <a:bodyPr/>
                  <a:lstStyle/>
                  <a:p>
                    <a:fld id="{C419F5E7-7E6D-4965-A868-38EAFDE85B8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C738-4A3D-98BB-3D0CBF671497}"/>
                </c:ext>
              </c:extLst>
            </c:dLbl>
            <c:dLbl>
              <c:idx val="9"/>
              <c:tx>
                <c:rich>
                  <a:bodyPr/>
                  <a:lstStyle/>
                  <a:p>
                    <a:fld id="{17D1C58C-8EB2-4511-A44D-D5AF71B9E1C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C738-4A3D-98BB-3D0CBF671497}"/>
                </c:ext>
              </c:extLst>
            </c:dLbl>
            <c:dLbl>
              <c:idx val="1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C738-4A3D-98BB-3D0CBF671497}"/>
                </c:ext>
              </c:extLst>
            </c:dLbl>
            <c:dLbl>
              <c:idx val="1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B-C738-4A3D-98BB-3D0CBF671497}"/>
                </c:ext>
              </c:extLst>
            </c:dLbl>
            <c:dLbl>
              <c:idx val="1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C738-4A3D-98BB-3D0CBF671497}"/>
                </c:ext>
              </c:extLst>
            </c:dLbl>
            <c:dLbl>
              <c:idx val="13"/>
              <c:tx>
                <c:rich>
                  <a:bodyPr/>
                  <a:lstStyle/>
                  <a:p>
                    <a:fld id="{22A6AEFD-29A6-4154-A711-C4D10E76DA1A}"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C738-4A3D-98BB-3D0CBF671497}"/>
                </c:ext>
              </c:extLst>
            </c:dLbl>
            <c:dLbl>
              <c:idx val="14"/>
              <c:tx>
                <c:rich>
                  <a:bodyPr/>
                  <a:lstStyle/>
                  <a:p>
                    <a:fld id="{89A7A585-1D49-4E11-9EB8-1CCF03591A40}"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C738-4A3D-98BB-3D0CBF671497}"/>
                </c:ext>
              </c:extLst>
            </c:dLbl>
            <c:dLbl>
              <c:idx val="15"/>
              <c:tx>
                <c:rich>
                  <a:bodyPr/>
                  <a:lstStyle/>
                  <a:p>
                    <a:fld id="{7BECE696-1967-4BD7-B08E-572582A0C33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C738-4A3D-98BB-3D0CBF671497}"/>
                </c:ext>
              </c:extLst>
            </c:dLbl>
            <c:dLbl>
              <c:idx val="1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C738-4A3D-98BB-3D0CBF671497}"/>
                </c:ext>
              </c:extLst>
            </c:dLbl>
            <c:dLbl>
              <c:idx val="1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C738-4A3D-98BB-3D0CBF671497}"/>
                </c:ext>
              </c:extLst>
            </c:dLbl>
            <c:dLbl>
              <c:idx val="1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2-C738-4A3D-98BB-3D0CBF671497}"/>
                </c:ext>
              </c:extLst>
            </c:dLbl>
            <c:dLbl>
              <c:idx val="19"/>
              <c:tx>
                <c:rich>
                  <a:bodyPr/>
                  <a:lstStyle/>
                  <a:p>
                    <a:fld id="{FCD368AF-1055-4117-B95C-D1D5781EED3A}"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C738-4A3D-98BB-3D0CBF671497}"/>
                </c:ext>
              </c:extLst>
            </c:dLbl>
            <c:dLbl>
              <c:idx val="20"/>
              <c:tx>
                <c:rich>
                  <a:bodyPr/>
                  <a:lstStyle/>
                  <a:p>
                    <a:fld id="{810C8FAD-DB3A-4F0F-AC47-F87E07197E6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C738-4A3D-98BB-3D0CBF671497}"/>
                </c:ext>
              </c:extLst>
            </c:dLbl>
            <c:dLbl>
              <c:idx val="21"/>
              <c:tx>
                <c:rich>
                  <a:bodyPr/>
                  <a:lstStyle/>
                  <a:p>
                    <a:fld id="{35F73794-B276-4346-BD89-60203126F5D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C738-4A3D-98BB-3D0CBF671497}"/>
                </c:ext>
              </c:extLst>
            </c:dLbl>
            <c:dLbl>
              <c:idx val="2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C738-4A3D-98BB-3D0CBF671497}"/>
                </c:ext>
              </c:extLst>
            </c:dLbl>
            <c:dLbl>
              <c:idx val="23"/>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C738-4A3D-98BB-3D0CBF671497}"/>
                </c:ext>
              </c:extLst>
            </c:dLbl>
            <c:dLbl>
              <c:idx val="2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C738-4A3D-98BB-3D0CBF671497}"/>
                </c:ext>
              </c:extLst>
            </c:dLbl>
            <c:dLbl>
              <c:idx val="25"/>
              <c:tx>
                <c:rich>
                  <a:bodyPr/>
                  <a:lstStyle/>
                  <a:p>
                    <a:fld id="{A717EFB4-F7F4-4102-BEA8-98318C44215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C738-4A3D-98BB-3D0CBF671497}"/>
                </c:ext>
              </c:extLst>
            </c:dLbl>
            <c:dLbl>
              <c:idx val="26"/>
              <c:tx>
                <c:rich>
                  <a:bodyPr/>
                  <a:lstStyle/>
                  <a:p>
                    <a:fld id="{9006225A-A87D-4ABC-ADA1-4C3D1E0124B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C738-4A3D-98BB-3D0CBF671497}"/>
                </c:ext>
              </c:extLst>
            </c:dLbl>
            <c:dLbl>
              <c:idx val="27"/>
              <c:tx>
                <c:rich>
                  <a:bodyPr/>
                  <a:lstStyle/>
                  <a:p>
                    <a:fld id="{D1E835FF-1C0C-41A0-9931-96A08D66295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C738-4A3D-98BB-3D0CBF671497}"/>
                </c:ext>
              </c:extLst>
            </c:dLbl>
            <c:dLbl>
              <c:idx val="28"/>
              <c:tx>
                <c:rich>
                  <a:bodyPr/>
                  <a:lstStyle/>
                  <a:p>
                    <a:fld id="{B758903B-8C5C-4570-9291-91D51DB9079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C738-4A3D-98BB-3D0CBF671497}"/>
                </c:ext>
              </c:extLst>
            </c:dLbl>
            <c:dLbl>
              <c:idx val="29"/>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C738-4A3D-98BB-3D0CBF671497}"/>
                </c:ext>
              </c:extLst>
            </c:dLbl>
            <c:dLbl>
              <c:idx val="3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E-C738-4A3D-98BB-3D0CBF671497}"/>
                </c:ext>
              </c:extLst>
            </c:dLbl>
            <c:dLbl>
              <c:idx val="31"/>
              <c:tx>
                <c:rich>
                  <a:bodyPr/>
                  <a:lstStyle/>
                  <a:p>
                    <a:fld id="{558D8C15-9B21-41E3-BC9E-4746BBEAB25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C738-4A3D-98BB-3D0CBF671497}"/>
                </c:ext>
              </c:extLst>
            </c:dLbl>
            <c:dLbl>
              <c:idx val="32"/>
              <c:tx>
                <c:rich>
                  <a:bodyPr/>
                  <a:lstStyle/>
                  <a:p>
                    <a:fld id="{4B4C63AF-018F-4992-8AE6-88383826C3D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C738-4A3D-98BB-3D0CBF671497}"/>
                </c:ext>
              </c:extLst>
            </c:dLbl>
            <c:dLbl>
              <c:idx val="33"/>
              <c:tx>
                <c:rich>
                  <a:bodyPr/>
                  <a:lstStyle/>
                  <a:p>
                    <a:fld id="{13CE4790-2E49-4419-9094-5B36513BC3B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C738-4A3D-98BB-3D0CBF671497}"/>
                </c:ext>
              </c:extLst>
            </c:dLbl>
            <c:dLbl>
              <c:idx val="3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C738-4A3D-98BB-3D0CBF671497}"/>
                </c:ext>
              </c:extLst>
            </c:dLbl>
            <c:dLbl>
              <c:idx val="35"/>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C738-4A3D-98BB-3D0CBF671497}"/>
                </c:ext>
              </c:extLst>
            </c:dLbl>
            <c:dLbl>
              <c:idx val="3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C738-4A3D-98BB-3D0CBF671497}"/>
                </c:ext>
              </c:extLst>
            </c:dLbl>
            <c:dLbl>
              <c:idx val="37"/>
              <c:tx>
                <c:rich>
                  <a:bodyPr/>
                  <a:lstStyle/>
                  <a:p>
                    <a:fld id="{7E75C6A6-3599-439A-B2F2-F36BE704984A}"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C738-4A3D-98BB-3D0CBF671497}"/>
                </c:ext>
              </c:extLst>
            </c:dLbl>
            <c:dLbl>
              <c:idx val="38"/>
              <c:tx>
                <c:rich>
                  <a:bodyPr/>
                  <a:lstStyle/>
                  <a:p>
                    <a:fld id="{2BD03962-CF0E-4422-A2E7-7DF09AE5F5F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C738-4A3D-98BB-3D0CBF671497}"/>
                </c:ext>
              </c:extLst>
            </c:dLbl>
            <c:dLbl>
              <c:idx val="39"/>
              <c:tx>
                <c:rich>
                  <a:bodyPr/>
                  <a:lstStyle/>
                  <a:p>
                    <a:fld id="{FFA3A752-9FB8-482D-9854-EBAC7FBF163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C738-4A3D-98BB-3D0CBF671497}"/>
                </c:ext>
              </c:extLst>
            </c:dLbl>
            <c:dLbl>
              <c:idx val="4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8-C738-4A3D-98BB-3D0CBF671497}"/>
                </c:ext>
              </c:extLst>
            </c:dLbl>
            <c:dLbl>
              <c:idx val="43"/>
              <c:tx>
                <c:rich>
                  <a:bodyPr/>
                  <a:lstStyle/>
                  <a:p>
                    <a:fld id="{70770992-4DBB-44AA-936B-EFDE9F8CF74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C738-4A3D-98BB-3D0CBF671497}"/>
                </c:ext>
              </c:extLst>
            </c:dLbl>
            <c:dLbl>
              <c:idx val="44"/>
              <c:tx>
                <c:rich>
                  <a:bodyPr/>
                  <a:lstStyle/>
                  <a:p>
                    <a:fld id="{8E1FFDAB-F933-4B8D-8A82-97AF2F12BB8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C738-4A3D-98BB-3D0CBF671497}"/>
                </c:ext>
              </c:extLst>
            </c:dLbl>
            <c:dLbl>
              <c:idx val="45"/>
              <c:tx>
                <c:rich>
                  <a:bodyPr/>
                  <a:lstStyle/>
                  <a:p>
                    <a:fld id="{814570B1-DFC9-4F0A-B202-FC1D6C8E6E6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C738-4A3D-98BB-3D0CBF671497}"/>
                </c:ext>
              </c:extLst>
            </c:dLbl>
            <c:dLbl>
              <c:idx val="49"/>
              <c:tx>
                <c:rich>
                  <a:bodyPr/>
                  <a:lstStyle/>
                  <a:p>
                    <a:fld id="{317CFAFA-4493-4C1F-8B8F-01EFE829583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C738-4A3D-98BB-3D0CBF671497}"/>
                </c:ext>
              </c:extLst>
            </c:dLbl>
            <c:dLbl>
              <c:idx val="50"/>
              <c:tx>
                <c:rich>
                  <a:bodyPr/>
                  <a:lstStyle/>
                  <a:p>
                    <a:fld id="{4127AE80-EED0-4ED8-AD36-BF01F5CEC02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C738-4A3D-98BB-3D0CBF671497}"/>
                </c:ext>
              </c:extLst>
            </c:dLbl>
            <c:dLbl>
              <c:idx val="51"/>
              <c:tx>
                <c:rich>
                  <a:bodyPr/>
                  <a:lstStyle/>
                  <a:p>
                    <a:fld id="{AABA8130-B316-499D-B8A1-CD7FA56C2CB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C738-4A3D-98BB-3D0CBF671497}"/>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dLblPos val="in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2</c:f>
              <c:strCache>
                <c:ptCount val="41"/>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15</c:v>
                </c:pt>
                <c:pt idx="23">
                  <c:v>2024-09-29</c:v>
                </c:pt>
                <c:pt idx="24">
                  <c:v>2024-10-06</c:v>
                </c:pt>
                <c:pt idx="25">
                  <c:v>2024-10-13</c:v>
                </c:pt>
                <c:pt idx="26">
                  <c:v>2024-10-20</c:v>
                </c:pt>
                <c:pt idx="27">
                  <c:v>2024-10-27</c:v>
                </c:pt>
                <c:pt idx="28">
                  <c:v>2024-11-03</c:v>
                </c:pt>
                <c:pt idx="29">
                  <c:v>2024-11-10</c:v>
                </c:pt>
                <c:pt idx="30">
                  <c:v>2024-11-17</c:v>
                </c:pt>
                <c:pt idx="31">
                  <c:v>2024-11-24</c:v>
                </c:pt>
                <c:pt idx="32">
                  <c:v>2024-12-01</c:v>
                </c:pt>
                <c:pt idx="33">
                  <c:v>2024-12-08</c:v>
                </c:pt>
                <c:pt idx="34">
                  <c:v>2024-12-15</c:v>
                </c:pt>
                <c:pt idx="35">
                  <c:v>2024-12-22</c:v>
                </c:pt>
                <c:pt idx="36">
                  <c:v>2024-12-29</c:v>
                </c:pt>
                <c:pt idx="37">
                  <c:v>2025-01-05</c:v>
                </c:pt>
                <c:pt idx="38">
                  <c:v>2025-01-12</c:v>
                </c:pt>
                <c:pt idx="39">
                  <c:v>2025-01-19</c:v>
                </c:pt>
                <c:pt idx="40">
                  <c:v>2025-01-26</c:v>
                </c:pt>
              </c:strCache>
            </c:strRef>
          </c:cat>
          <c:val>
            <c:numRef>
              <c:f>Sheet1!$B$2:$B$42</c:f>
              <c:numCache>
                <c:formatCode>General</c:formatCode>
                <c:ptCount val="41"/>
                <c:pt idx="0">
                  <c:v>1</c:v>
                </c:pt>
                <c:pt idx="1">
                  <c:v>1</c:v>
                </c:pt>
                <c:pt idx="2">
                  <c:v>1</c:v>
                </c:pt>
                <c:pt idx="15">
                  <c:v>1</c:v>
                </c:pt>
                <c:pt idx="16">
                  <c:v>1</c:v>
                </c:pt>
                <c:pt idx="25">
                  <c:v>1</c:v>
                </c:pt>
                <c:pt idx="26">
                  <c:v>1</c:v>
                </c:pt>
                <c:pt idx="30">
                  <c:v>1</c:v>
                </c:pt>
                <c:pt idx="31">
                  <c:v>1</c:v>
                </c:pt>
                <c:pt idx="32">
                  <c:v>1</c:v>
                </c:pt>
                <c:pt idx="33">
                  <c:v>1</c:v>
                </c:pt>
                <c:pt idx="34">
                  <c:v>1</c:v>
                </c:pt>
                <c:pt idx="35">
                  <c:v>1</c:v>
                </c:pt>
                <c:pt idx="36">
                  <c:v>1</c:v>
                </c:pt>
                <c:pt idx="37">
                  <c:v>1</c:v>
                </c:pt>
                <c:pt idx="38">
                  <c:v>1</c:v>
                </c:pt>
                <c:pt idx="39">
                  <c:v>1</c:v>
                </c:pt>
                <c:pt idx="40">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C738-4A3D-98BB-3D0CBF671497}"/>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C$1</c:f>
              <c:strCache>
                <c:ptCount val="1"/>
                <c:pt idx="0">
                  <c:v>New Uplift</c:v>
                </c:pt>
              </c:strCache>
            </c:strRef>
          </c:tx>
          <c:spPr>
            <a:ln w="28575" cap="rnd">
              <a:noFill/>
              <a:round/>
            </a:ln>
            <a:effectLst/>
          </c:spPr>
          <c:marker>
            <c:symbol val="circle"/>
            <c:size val="8"/>
            <c:spPr>
              <a:solidFill>
                <a:schemeClr val="accent3"/>
              </a:solidFill>
              <a:ln w="9525">
                <a:solidFill>
                  <a:schemeClr val="bg1"/>
                </a:solidFill>
              </a:ln>
              <a:effectLst/>
            </c:spPr>
          </c:marker>
          <c:cat>
            <c:strRef>
              <c:f>Sheet1!$A$2:$A$42</c:f>
              <c:strCache>
                <c:ptCount val="41"/>
                <c:pt idx="0">
                  <c:v>2024-04-07</c:v>
                </c:pt>
                <c:pt idx="1">
                  <c:v>2024-04-14</c:v>
                </c:pt>
                <c:pt idx="2">
                  <c:v>2024-04-21</c:v>
                </c:pt>
                <c:pt idx="3">
                  <c:v>2024-04-28</c:v>
                </c:pt>
                <c:pt idx="4">
                  <c:v>2024-05-05</c:v>
                </c:pt>
                <c:pt idx="5">
                  <c:v>2024-05-12</c:v>
                </c:pt>
                <c:pt idx="6">
                  <c:v>2024-05-19</c:v>
                </c:pt>
                <c:pt idx="7">
                  <c:v>2024-05-26</c:v>
                </c:pt>
                <c:pt idx="8">
                  <c:v>2024-06-02</c:v>
                </c:pt>
                <c:pt idx="9">
                  <c:v>2024-06-09</c:v>
                </c:pt>
                <c:pt idx="10">
                  <c:v>2024-06-16</c:v>
                </c:pt>
                <c:pt idx="11">
                  <c:v>2024-06-23</c:v>
                </c:pt>
                <c:pt idx="12">
                  <c:v>2024-06-30</c:v>
                </c:pt>
                <c:pt idx="13">
                  <c:v>2024-07-07</c:v>
                </c:pt>
                <c:pt idx="14">
                  <c:v>2024-07-14</c:v>
                </c:pt>
                <c:pt idx="15">
                  <c:v>2024-07-21</c:v>
                </c:pt>
                <c:pt idx="16">
                  <c:v>2024-07-28</c:v>
                </c:pt>
                <c:pt idx="17">
                  <c:v>2024-08-04</c:v>
                </c:pt>
                <c:pt idx="18">
                  <c:v>2024-08-11</c:v>
                </c:pt>
                <c:pt idx="19">
                  <c:v>2024-08-18</c:v>
                </c:pt>
                <c:pt idx="20">
                  <c:v>2024-08-25</c:v>
                </c:pt>
                <c:pt idx="21">
                  <c:v>2024-09-01</c:v>
                </c:pt>
                <c:pt idx="22">
                  <c:v>2024-09-15</c:v>
                </c:pt>
                <c:pt idx="23">
                  <c:v>2024-09-29</c:v>
                </c:pt>
                <c:pt idx="24">
                  <c:v>2024-10-06</c:v>
                </c:pt>
                <c:pt idx="25">
                  <c:v>2024-10-13</c:v>
                </c:pt>
                <c:pt idx="26">
                  <c:v>2024-10-20</c:v>
                </c:pt>
                <c:pt idx="27">
                  <c:v>2024-10-27</c:v>
                </c:pt>
                <c:pt idx="28">
                  <c:v>2024-11-03</c:v>
                </c:pt>
                <c:pt idx="29">
                  <c:v>2024-11-10</c:v>
                </c:pt>
                <c:pt idx="30">
                  <c:v>2024-11-17</c:v>
                </c:pt>
                <c:pt idx="31">
                  <c:v>2024-11-24</c:v>
                </c:pt>
                <c:pt idx="32">
                  <c:v>2024-12-01</c:v>
                </c:pt>
                <c:pt idx="33">
                  <c:v>2024-12-08</c:v>
                </c:pt>
                <c:pt idx="34">
                  <c:v>2024-12-15</c:v>
                </c:pt>
                <c:pt idx="35">
                  <c:v>2024-12-22</c:v>
                </c:pt>
                <c:pt idx="36">
                  <c:v>2024-12-29</c:v>
                </c:pt>
                <c:pt idx="37">
                  <c:v>2025-01-05</c:v>
                </c:pt>
                <c:pt idx="38">
                  <c:v>2025-01-12</c:v>
                </c:pt>
                <c:pt idx="39">
                  <c:v>2025-01-19</c:v>
                </c:pt>
                <c:pt idx="40">
                  <c:v>2025-01-26</c:v>
                </c:pt>
              </c:strCache>
            </c:strRef>
          </c:cat>
          <c:val>
            <c:numRef>
              <c:f>Sheet1!$C$2:$C$42</c:f>
              <c:numCache>
                <c:formatCode>General</c:formatCode>
                <c:ptCount val="41"/>
                <c:pt idx="35">
                  <c:v>7.4909598010585873E-2</c:v>
                </c:pt>
              </c:numCache>
            </c:numRef>
          </c:val>
          <c:smooth val="0"/>
          <c:extLst>
            <c:ext xmlns:c16="http://schemas.microsoft.com/office/drawing/2014/chart" uri="{C3380CC4-5D6E-409C-BE32-E72D297353CC}">
              <c16:uniqueId val="{00000035-C738-4A3D-98BB-3D0CBF671497}"/>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3-3C16-4125-B97A-D0EBA9D0B1CF}"/>
              </c:ext>
            </c:extLst>
          </c:dPt>
          <c:dPt>
            <c:idx val="1"/>
            <c:invertIfNegative val="0"/>
            <c:bubble3D val="0"/>
            <c:extLst>
              <c:ext xmlns:c16="http://schemas.microsoft.com/office/drawing/2014/chart" uri="{C3380CC4-5D6E-409C-BE32-E72D297353CC}">
                <c16:uniqueId val="{00000001-615A-458F-B49B-C3992C8CBC6B}"/>
              </c:ext>
            </c:extLst>
          </c:dPt>
          <c:dPt>
            <c:idx val="2"/>
            <c:invertIfNegative val="0"/>
            <c:bubble3D val="0"/>
            <c:spPr>
              <a:solidFill>
                <a:srgbClr val="FF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c:v>
                </c:pt>
                <c:pt idx="1">
                  <c:v>Schick</c:v>
                </c:pt>
                <c:pt idx="2">
                  <c:v>Harry's</c:v>
                </c:pt>
              </c:strCache>
            </c:strRef>
          </c:cat>
          <c:val>
            <c:numRef>
              <c:f>Sheet1!$B$2:$B$4</c:f>
              <c:numCache>
                <c:formatCode>General</c:formatCode>
                <c:ptCount val="3"/>
                <c:pt idx="0">
                  <c:v>3.8000000000000034E-2</c:v>
                </c:pt>
                <c:pt idx="1">
                  <c:v>0.38100000000000001</c:v>
                </c:pt>
                <c:pt idx="2">
                  <c:v>-0.48899999999999999</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spPr>
              <a:solidFill>
                <a:srgbClr val="FF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c:v>
                </c:pt>
                <c:pt idx="1">
                  <c:v>Schick</c:v>
                </c:pt>
                <c:pt idx="2">
                  <c:v>Harry's</c:v>
                </c:pt>
              </c:strCache>
            </c:strRef>
          </c:cat>
          <c:val>
            <c:numRef>
              <c:f>Sheet1!$B$2:$B$4</c:f>
              <c:numCache>
                <c:formatCode>General</c:formatCode>
                <c:ptCount val="3"/>
                <c:pt idx="0">
                  <c:v>7.2813806754910226E-2</c:v>
                </c:pt>
                <c:pt idx="1">
                  <c:v>-4.9221830676291156E-2</c:v>
                </c:pt>
                <c:pt idx="2">
                  <c:v>-4.22224791875216</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3-3C16-4125-B97A-D0EBA9D0B1CF}"/>
              </c:ext>
            </c:extLst>
          </c:dPt>
          <c:dPt>
            <c:idx val="1"/>
            <c:invertIfNegative val="0"/>
            <c:bubble3D val="0"/>
            <c:spPr>
              <a:solidFill>
                <a:srgbClr val="FFBFBF"/>
              </a:solidFill>
            </c:spPr>
            <c:extLst>
              <c:ext xmlns:c16="http://schemas.microsoft.com/office/drawing/2014/chart" uri="{C3380CC4-5D6E-409C-BE32-E72D297353CC}">
                <c16:uniqueId val="{00000001-615A-458F-B49B-C3992C8CBC6B}"/>
              </c:ext>
            </c:extLst>
          </c:dPt>
          <c:dPt>
            <c:idx val="2"/>
            <c:invertIfNegative val="0"/>
            <c:bubble3D val="0"/>
            <c:extLst>
              <c:ext xmlns:c16="http://schemas.microsoft.com/office/drawing/2014/chart" uri="{C3380CC4-5D6E-409C-BE32-E72D297353CC}">
                <c16:uniqueId val="{00000004-3C16-4125-B97A-D0EBA9D0B1CF}"/>
              </c:ext>
            </c:extLst>
          </c:dPt>
          <c:dPt>
            <c:idx val="3"/>
            <c:invertIfNegative val="0"/>
            <c:bubble3D val="0"/>
            <c:extLst>
              <c:ext xmlns:c16="http://schemas.microsoft.com/office/drawing/2014/chart" uri="{C3380CC4-5D6E-409C-BE32-E72D297353CC}">
                <c16:uniqueId val="{00000002-615A-458F-B49B-C3992C8CBC6B}"/>
              </c:ext>
            </c:extLst>
          </c:dPt>
          <c:dPt>
            <c:idx val="4"/>
            <c:invertIfNegative val="0"/>
            <c:bubble3D val="0"/>
            <c:extLst>
              <c:ext xmlns:c16="http://schemas.microsoft.com/office/drawing/2014/chart" uri="{C3380CC4-5D6E-409C-BE32-E72D297353CC}">
                <c16:uniqueId val="{00000002-3C16-4125-B97A-D0EBA9D0B1CF}"/>
              </c:ext>
            </c:extLst>
          </c:dPt>
          <c:dPt>
            <c:idx val="5"/>
            <c:invertIfNegative val="0"/>
            <c:bubble3D val="0"/>
            <c:extLst>
              <c:ext xmlns:c16="http://schemas.microsoft.com/office/drawing/2014/chart" uri="{C3380CC4-5D6E-409C-BE32-E72D297353CC}">
                <c16:uniqueId val="{0000000B-9B05-4EC0-B6C5-883B60DE7730}"/>
              </c:ext>
            </c:extLst>
          </c:dPt>
          <c:dPt>
            <c:idx val="6"/>
            <c:invertIfNegative val="0"/>
            <c:bubble3D val="0"/>
            <c:spPr>
              <a:solidFill>
                <a:srgbClr val="FFBFBF"/>
              </a:solidFill>
            </c:spPr>
            <c:extLst>
              <c:ext xmlns:c16="http://schemas.microsoft.com/office/drawing/2014/chart" uri="{C3380CC4-5D6E-409C-BE32-E72D297353CC}">
                <c16:uniqueId val="{0000000D-9B05-4EC0-B6C5-883B60DE7730}"/>
              </c:ext>
            </c:extLst>
          </c:dPt>
          <c:dPt>
            <c:idx val="7"/>
            <c:invertIfNegative val="0"/>
            <c:bubble3D val="0"/>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dLbl>
              <c:idx val="0"/>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C16-4125-B97A-D0EBA9D0B1CF}"/>
                </c:ext>
              </c:extLst>
            </c:dLbl>
            <c:dLbl>
              <c:idx val="7"/>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B05-4EC0-B6C5-883B60DE7730}"/>
                </c:ext>
              </c:extLst>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c:v>
                </c:pt>
                <c:pt idx="1">
                  <c:v>Schick</c:v>
                </c:pt>
                <c:pt idx="2">
                  <c:v>Bic</c:v>
                </c:pt>
                <c:pt idx="3">
                  <c:v>Dollar Shave Club</c:v>
                </c:pt>
                <c:pt idx="4">
                  <c:v>Equate</c:v>
                </c:pt>
                <c:pt idx="5">
                  <c:v>Comfort 3</c:v>
                </c:pt>
                <c:pt idx="6">
                  <c:v>Harry's</c:v>
                </c:pt>
                <c:pt idx="7">
                  <c:v>Van Der Hagen</c:v>
                </c:pt>
              </c:strCache>
            </c:strRef>
          </c:cat>
          <c:val>
            <c:numRef>
              <c:f>Sheet1!$B$2:$B$9</c:f>
              <c:numCache>
                <c:formatCode>General</c:formatCode>
                <c:ptCount val="8"/>
                <c:pt idx="0">
                  <c:v>0</c:v>
                </c:pt>
                <c:pt idx="1">
                  <c:v>-0.42900000000000005</c:v>
                </c:pt>
                <c:pt idx="2">
                  <c:v>0.125</c:v>
                </c:pt>
                <c:pt idx="3">
                  <c:v>0.55600000000000005</c:v>
                </c:pt>
                <c:pt idx="4">
                  <c:v>5</c:v>
                </c:pt>
                <c:pt idx="5">
                  <c:v>6.5</c:v>
                </c:pt>
                <c:pt idx="6">
                  <c:v>-0.8</c:v>
                </c:pt>
                <c:pt idx="7">
                  <c:v>0</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2-B1F3-4B1C-B6BD-D7555A955EE3}"/>
              </c:ext>
            </c:extLst>
          </c:dPt>
          <c:dPt>
            <c:idx val="1"/>
            <c:invertIfNegative val="0"/>
            <c:bubble3D val="0"/>
            <c:extLst>
              <c:ext xmlns:c16="http://schemas.microsoft.com/office/drawing/2014/chart" uri="{C3380CC4-5D6E-409C-BE32-E72D297353CC}">
                <c16:uniqueId val="{00000000-1D88-4E66-AA3A-770CA96ED1E8}"/>
              </c:ext>
            </c:extLst>
          </c:dPt>
          <c:dPt>
            <c:idx val="2"/>
            <c:invertIfNegative val="0"/>
            <c:bubble3D val="0"/>
            <c:extLst>
              <c:ext xmlns:c16="http://schemas.microsoft.com/office/drawing/2014/chart" uri="{C3380CC4-5D6E-409C-BE32-E72D297353CC}">
                <c16:uniqueId val="{00000003-B1F3-4B1C-B6BD-D7555A955EE3}"/>
              </c:ext>
            </c:extLst>
          </c:dPt>
          <c:dPt>
            <c:idx val="3"/>
            <c:invertIfNegative val="0"/>
            <c:bubble3D val="0"/>
            <c:spPr>
              <a:solidFill>
                <a:srgbClr val="FFBFBF"/>
              </a:solidFill>
            </c:spPr>
            <c:extLst>
              <c:ext xmlns:c16="http://schemas.microsoft.com/office/drawing/2014/chart" uri="{C3380CC4-5D6E-409C-BE32-E72D297353CC}">
                <c16:uniqueId val="{00000001-1D88-4E66-AA3A-770CA96ED1E8}"/>
              </c:ext>
            </c:extLst>
          </c:dPt>
          <c:dPt>
            <c:idx val="4"/>
            <c:invertIfNegative val="0"/>
            <c:bubble3D val="0"/>
            <c:spPr>
              <a:solidFill>
                <a:srgbClr val="FFBFBF"/>
              </a:solidFill>
            </c:spPr>
            <c:extLst>
              <c:ext xmlns:c16="http://schemas.microsoft.com/office/drawing/2014/chart" uri="{C3380CC4-5D6E-409C-BE32-E72D297353CC}">
                <c16:uniqueId val="{00000004-B1F3-4B1C-B6BD-D7555A955EE3}"/>
              </c:ext>
            </c:extLst>
          </c:dPt>
          <c:dPt>
            <c:idx val="5"/>
            <c:invertIfNegative val="0"/>
            <c:bubble3D val="0"/>
            <c:extLst>
              <c:ext xmlns:c16="http://schemas.microsoft.com/office/drawing/2014/chart" uri="{C3380CC4-5D6E-409C-BE32-E72D297353CC}">
                <c16:uniqueId val="{0000000B-6D8A-4B36-B874-4E9C8B692C25}"/>
              </c:ext>
            </c:extLst>
          </c:dPt>
          <c:dPt>
            <c:idx val="6"/>
            <c:invertIfNegative val="0"/>
            <c:bubble3D val="0"/>
            <c:spPr>
              <a:solidFill>
                <a:srgbClr val="FFBFBF"/>
              </a:solidFill>
            </c:spPr>
            <c:extLst>
              <c:ext xmlns:c16="http://schemas.microsoft.com/office/drawing/2014/chart" uri="{C3380CC4-5D6E-409C-BE32-E72D297353CC}">
                <c16:uniqueId val="{0000000D-6D8A-4B36-B874-4E9C8B692C25}"/>
              </c:ext>
            </c:extLst>
          </c:dPt>
          <c:dPt>
            <c:idx val="7"/>
            <c:invertIfNegative val="0"/>
            <c:bubble3D val="0"/>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dLbl>
              <c:idx val="5"/>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6D8A-4B36-B874-4E9C8B692C25}"/>
                </c:ext>
              </c:extLst>
            </c:dLbl>
            <c:dLbl>
              <c:idx val="7"/>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6D8A-4B36-B874-4E9C8B692C25}"/>
                </c:ext>
              </c:extLst>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c:v>
                </c:pt>
                <c:pt idx="1">
                  <c:v>Schick</c:v>
                </c:pt>
                <c:pt idx="2">
                  <c:v>Bic</c:v>
                </c:pt>
                <c:pt idx="3">
                  <c:v>Dollar Shave Club</c:v>
                </c:pt>
                <c:pt idx="4">
                  <c:v>Equate</c:v>
                </c:pt>
                <c:pt idx="5">
                  <c:v>Comfort 3</c:v>
                </c:pt>
                <c:pt idx="6">
                  <c:v>Harry's</c:v>
                </c:pt>
                <c:pt idx="7">
                  <c:v>Van Der Hagen</c:v>
                </c:pt>
              </c:strCache>
            </c:strRef>
          </c:cat>
          <c:val>
            <c:numRef>
              <c:f>Sheet1!$B$2:$B$9</c:f>
              <c:numCache>
                <c:formatCode>General</c:formatCode>
                <c:ptCount val="8"/>
                <c:pt idx="0">
                  <c:v>-0.41376343811654592</c:v>
                </c:pt>
                <c:pt idx="1">
                  <c:v>20.480047443050726</c:v>
                </c:pt>
                <c:pt idx="2">
                  <c:v>2.0059564876972766</c:v>
                </c:pt>
                <c:pt idx="3">
                  <c:v>-0.56487203090736471</c:v>
                </c:pt>
                <c:pt idx="4">
                  <c:v>-0.9658625105445503</c:v>
                </c:pt>
                <c:pt idx="5">
                  <c:v>0</c:v>
                </c:pt>
                <c:pt idx="6">
                  <c:v>-1</c:v>
                </c:pt>
                <c:pt idx="7">
                  <c:v>0</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3-3C16-4125-B97A-D0EBA9D0B1CF}"/>
              </c:ext>
            </c:extLst>
          </c:dPt>
          <c:dPt>
            <c:idx val="1"/>
            <c:invertIfNegative val="0"/>
            <c:bubble3D val="0"/>
            <c:spPr>
              <a:solidFill>
                <a:srgbClr val="FFBFBF"/>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c:v>
                </c:pt>
                <c:pt idx="1">
                  <c:v>Harry's</c:v>
                </c:pt>
              </c:strCache>
            </c:strRef>
          </c:cat>
          <c:val>
            <c:numRef>
              <c:f>Sheet1!$B$2:$B$3</c:f>
              <c:numCache>
                <c:formatCode>General</c:formatCode>
                <c:ptCount val="2"/>
                <c:pt idx="0">
                  <c:v>-9.6999999999999975E-2</c:v>
                </c:pt>
                <c:pt idx="1">
                  <c:v>-0.52</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c:v>
                </c:pt>
                <c:pt idx="1">
                  <c:v>Harry's</c:v>
                </c:pt>
              </c:strCache>
            </c:strRef>
          </c:cat>
          <c:val>
            <c:numRef>
              <c:f>Sheet1!$B$2:$B$3</c:f>
              <c:numCache>
                <c:formatCode>General</c:formatCode>
                <c:ptCount val="2"/>
                <c:pt idx="0">
                  <c:v>-6.4190005156177232E-3</c:v>
                </c:pt>
                <c:pt idx="1">
                  <c:v>-4.132381541819993</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3-3C16-4125-B97A-D0EBA9D0B1CF}"/>
              </c:ext>
            </c:extLst>
          </c:dPt>
          <c:dPt>
            <c:idx val="1"/>
            <c:invertIfNegative val="0"/>
            <c:bubble3D val="0"/>
            <c:extLst>
              <c:ext xmlns:c16="http://schemas.microsoft.com/office/drawing/2014/chart" uri="{C3380CC4-5D6E-409C-BE32-E72D297353CC}">
                <c16:uniqueId val="{00000001-615A-458F-B49B-C3992C8CBC6B}"/>
              </c:ext>
            </c:extLst>
          </c:dPt>
          <c:dPt>
            <c:idx val="2"/>
            <c:invertIfNegative val="0"/>
            <c:bubble3D val="0"/>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c:v>
                </c:pt>
                <c:pt idx="1">
                  <c:v>Schick</c:v>
                </c:pt>
                <c:pt idx="2">
                  <c:v>Bic</c:v>
                </c:pt>
              </c:strCache>
            </c:strRef>
          </c:cat>
          <c:val>
            <c:numRef>
              <c:f>Sheet1!$B$2:$B$4</c:f>
              <c:numCache>
                <c:formatCode>General</c:formatCode>
                <c:ptCount val="3"/>
                <c:pt idx="0">
                  <c:v>0.35000000000000009</c:v>
                </c:pt>
                <c:pt idx="1">
                  <c:v>0.38100000000000001</c:v>
                </c:pt>
                <c:pt idx="2">
                  <c:v>0.1519999999999999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64864197530864"/>
          <c:y val="0.12152940918360107"/>
          <c:w val="0.83974691358024689"/>
          <c:h val="0.72254306602702423"/>
        </c:manualLayout>
      </c:layout>
      <c:bubbleChart>
        <c:varyColors val="0"/>
        <c:ser>
          <c:idx val="0"/>
          <c:order val="0"/>
          <c:tx>
            <c:strRef>
              <c:f>Sheet1!$B$1</c:f>
              <c:strCache>
                <c:ptCount val="1"/>
                <c:pt idx="0">
                  <c:v>Average Value Uplift</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26FB-4B52-8D72-D56D618E8EAF}"/>
              </c:ext>
            </c:extLst>
          </c:dPt>
          <c:dPt>
            <c:idx val="1"/>
            <c:invertIfNegative val="0"/>
            <c:bubble3D val="0"/>
            <c:spPr>
              <a:solidFill>
                <a:srgbClr val="E6E5E5"/>
              </a:solidFill>
              <a:ln>
                <a:noFill/>
              </a:ln>
              <a:effectLst/>
            </c:spPr>
            <c:extLst>
              <c:ext xmlns:c16="http://schemas.microsoft.com/office/drawing/2014/chart" uri="{C3380CC4-5D6E-409C-BE32-E72D297353CC}">
                <c16:uniqueId val="{00000003-26FB-4B52-8D72-D56D618E8EAF}"/>
              </c:ext>
            </c:extLst>
          </c:dPt>
          <c:dPt>
            <c:idx val="2"/>
            <c:invertIfNegative val="0"/>
            <c:bubble3D val="0"/>
            <c:spPr>
              <a:solidFill>
                <a:srgbClr val="7ECAC4"/>
              </a:solidFill>
              <a:ln>
                <a:noFill/>
              </a:ln>
              <a:effectLst/>
            </c:spPr>
            <c:extLst>
              <c:ext xmlns:c16="http://schemas.microsoft.com/office/drawing/2014/chart" uri="{C3380CC4-5D6E-409C-BE32-E72D297353CC}">
                <c16:uniqueId val="{00000005-26FB-4B52-8D72-D56D618E8EAF}"/>
              </c:ext>
            </c:extLst>
          </c:dPt>
          <c:dPt>
            <c:idx val="3"/>
            <c:invertIfNegative val="0"/>
            <c:bubble3D val="0"/>
            <c:spPr>
              <a:solidFill>
                <a:srgbClr val="E6E5E5"/>
              </a:solidFill>
              <a:ln>
                <a:noFill/>
              </a:ln>
              <a:effectLst/>
            </c:spPr>
            <c:extLst>
              <c:ext xmlns:c16="http://schemas.microsoft.com/office/drawing/2014/chart" uri="{C3380CC4-5D6E-409C-BE32-E72D297353CC}">
                <c16:uniqueId val="{00000007-26FB-4B52-8D72-D56D618E8EAF}"/>
              </c:ext>
            </c:extLst>
          </c:dPt>
          <c:dPt>
            <c:idx val="4"/>
            <c:invertIfNegative val="0"/>
            <c:bubble3D val="0"/>
            <c:spPr>
              <a:solidFill>
                <a:srgbClr val="E6E5E5"/>
              </a:solidFill>
              <a:ln>
                <a:noFill/>
              </a:ln>
              <a:effectLst/>
            </c:spPr>
            <c:extLst>
              <c:ext xmlns:c16="http://schemas.microsoft.com/office/drawing/2014/chart" uri="{C3380CC4-5D6E-409C-BE32-E72D297353CC}">
                <c16:uniqueId val="{00000009-26FB-4B52-8D72-D56D618E8EAF}"/>
              </c:ext>
            </c:extLst>
          </c:dPt>
          <c:dPt>
            <c:idx val="5"/>
            <c:invertIfNegative val="0"/>
            <c:bubble3D val="0"/>
            <c:spPr>
              <a:solidFill>
                <a:srgbClr val="E6E5E5"/>
              </a:solidFill>
              <a:ln>
                <a:noFill/>
              </a:ln>
              <a:effectLst/>
            </c:spPr>
            <c:extLst>
              <c:ext xmlns:c16="http://schemas.microsoft.com/office/drawing/2014/chart" uri="{C3380CC4-5D6E-409C-BE32-E72D297353CC}">
                <c16:uniqueId val="{0000000B-26FB-4B52-8D72-D56D618E8EAF}"/>
              </c:ext>
            </c:extLst>
          </c:dPt>
          <c:dPt>
            <c:idx val="6"/>
            <c:invertIfNegative val="0"/>
            <c:bubble3D val="0"/>
            <c:spPr>
              <a:solidFill>
                <a:srgbClr val="E6E5E5"/>
              </a:solidFill>
              <a:ln>
                <a:noFill/>
              </a:ln>
              <a:effectLst/>
            </c:spPr>
            <c:extLst>
              <c:ext xmlns:c16="http://schemas.microsoft.com/office/drawing/2014/chart" uri="{C3380CC4-5D6E-409C-BE32-E72D297353CC}">
                <c16:uniqueId val="{0000000D-26FB-4B52-8D72-D56D618E8EAF}"/>
              </c:ext>
            </c:extLst>
          </c:dPt>
          <c:dPt>
            <c:idx val="7"/>
            <c:invertIfNegative val="0"/>
            <c:bubble3D val="0"/>
            <c:spPr>
              <a:solidFill>
                <a:srgbClr val="E6E5E5"/>
              </a:solidFill>
              <a:ln>
                <a:noFill/>
              </a:ln>
              <a:effectLst/>
            </c:spPr>
            <c:extLst>
              <c:ext xmlns:c16="http://schemas.microsoft.com/office/drawing/2014/chart" uri="{C3380CC4-5D6E-409C-BE32-E72D297353CC}">
                <c16:uniqueId val="{0000000F-26FB-4B52-8D72-D56D618E8EAF}"/>
              </c:ext>
            </c:extLst>
          </c:dPt>
          <c:dPt>
            <c:idx val="8"/>
            <c:invertIfNegative val="0"/>
            <c:bubble3D val="0"/>
            <c:spPr>
              <a:solidFill>
                <a:srgbClr val="E6E5E5"/>
              </a:solidFill>
              <a:ln>
                <a:noFill/>
              </a:ln>
              <a:effectLst/>
            </c:spPr>
            <c:extLst>
              <c:ext xmlns:c16="http://schemas.microsoft.com/office/drawing/2014/chart" uri="{C3380CC4-5D6E-409C-BE32-E72D297353CC}">
                <c16:uniqueId val="{00000011-26FB-4B52-8D72-D56D618E8EAF}"/>
              </c:ext>
            </c:extLst>
          </c:dPt>
          <c:dPt>
            <c:idx val="9"/>
            <c:invertIfNegative val="1"/>
            <c:bubble3D val="0"/>
            <c:spPr>
              <a:solidFill>
                <a:srgbClr val="7ECAC4"/>
              </a:solidFill>
              <a:ln>
                <a:noFill/>
              </a:ln>
              <a:effectLst/>
            </c:spPr>
            <c:extLst>
              <c:ext xmlns:c16="http://schemas.microsoft.com/office/drawing/2014/chart" uri="{C3380CC4-5D6E-409C-BE32-E72D297353CC}">
                <c16:uniqueId val="{00000000-7B2D-4A32-96D2-9C641BCDE5CC}"/>
              </c:ext>
            </c:extLst>
          </c:dPt>
          <c:dPt>
            <c:idx val="10"/>
            <c:invertIfNegative val="1"/>
            <c:bubble3D val="0"/>
            <c:spPr>
              <a:solidFill>
                <a:srgbClr val="7ECAC4"/>
              </a:solidFill>
              <a:ln>
                <a:noFill/>
              </a:ln>
              <a:effectLst/>
            </c:spPr>
            <c:extLst>
              <c:ext xmlns:c16="http://schemas.microsoft.com/office/drawing/2014/chart" uri="{C3380CC4-5D6E-409C-BE32-E72D297353CC}">
                <c16:uniqueId val="{00000001-7B2D-4A32-96D2-9C641BCDE5CC}"/>
              </c:ext>
            </c:extLst>
          </c:dPt>
          <c:dPt>
            <c:idx val="11"/>
            <c:invertIfNegative val="0"/>
            <c:bubble3D val="0"/>
            <c:spPr>
              <a:solidFill>
                <a:schemeClr val="bg2"/>
              </a:solidFill>
              <a:ln>
                <a:noFill/>
              </a:ln>
              <a:effectLst/>
            </c:spPr>
            <c:extLst>
              <c:ext xmlns:c16="http://schemas.microsoft.com/office/drawing/2014/chart" uri="{C3380CC4-5D6E-409C-BE32-E72D297353CC}">
                <c16:uniqueId val="{00000013-26FB-4B52-8D72-D56D618E8EAF}"/>
              </c:ext>
            </c:extLst>
          </c:dPt>
          <c:dPt>
            <c:idx val="12"/>
            <c:invertIfNegative val="0"/>
            <c:bubble3D val="0"/>
            <c:spPr>
              <a:solidFill>
                <a:schemeClr val="bg2"/>
              </a:solidFill>
              <a:ln>
                <a:noFill/>
              </a:ln>
              <a:effectLst/>
            </c:spPr>
            <c:extLst>
              <c:ext xmlns:c16="http://schemas.microsoft.com/office/drawing/2014/chart" uri="{C3380CC4-5D6E-409C-BE32-E72D297353CC}">
                <c16:uniqueId val="{00000002-7B2D-4A32-96D2-9C641BCDE5CC}"/>
              </c:ext>
            </c:extLst>
          </c:dPt>
          <c:dPt>
            <c:idx val="13"/>
            <c:invertIfNegative val="0"/>
            <c:bubble3D val="0"/>
            <c:extLst>
              <c:ext xmlns:c16="http://schemas.microsoft.com/office/drawing/2014/chart" uri="{C3380CC4-5D6E-409C-BE32-E72D297353CC}">
                <c16:uniqueId val="{00000017-26FB-4B52-8D72-D56D618E8EAF}"/>
              </c:ext>
            </c:extLst>
          </c:dPt>
          <c:dPt>
            <c:idx val="14"/>
            <c:invertIfNegative val="0"/>
            <c:bubble3D val="0"/>
            <c:spPr>
              <a:solidFill>
                <a:schemeClr val="bg2"/>
              </a:solidFill>
              <a:ln>
                <a:noFill/>
              </a:ln>
              <a:effectLst/>
            </c:spPr>
            <c:extLst>
              <c:ext xmlns:c16="http://schemas.microsoft.com/office/drawing/2014/chart" uri="{C3380CC4-5D6E-409C-BE32-E72D297353CC}">
                <c16:uniqueId val="{00000019-26FB-4B52-8D72-D56D618E8EAF}"/>
              </c:ext>
            </c:extLst>
          </c:dPt>
          <c:dPt>
            <c:idx val="15"/>
            <c:invertIfNegative val="0"/>
            <c:bubble3D val="0"/>
            <c:extLst>
              <c:ext xmlns:c16="http://schemas.microsoft.com/office/drawing/2014/chart" uri="{C3380CC4-5D6E-409C-BE32-E72D297353CC}">
                <c16:uniqueId val="{0000001C-26FB-4B52-8D72-D56D618E8EAF}"/>
              </c:ext>
            </c:extLst>
          </c:dPt>
          <c:dPt>
            <c:idx val="19"/>
            <c:invertIfNegative val="0"/>
            <c:bubble3D val="0"/>
            <c:spPr>
              <a:solidFill>
                <a:srgbClr val="7ECAC4"/>
              </a:solidFill>
              <a:ln>
                <a:noFill/>
              </a:ln>
              <a:effectLst/>
            </c:spPr>
            <c:extLst>
              <c:ext xmlns:c16="http://schemas.microsoft.com/office/drawing/2014/chart" uri="{C3380CC4-5D6E-409C-BE32-E72D297353CC}">
                <c16:uniqueId val="{00000002-0A6E-4C83-9A06-9C3309B2855E}"/>
              </c:ext>
            </c:extLst>
          </c:dPt>
          <c:dPt>
            <c:idx val="24"/>
            <c:invertIfNegative val="0"/>
            <c:bubble3D val="0"/>
            <c:spPr>
              <a:solidFill>
                <a:schemeClr val="bg2"/>
              </a:solidFill>
              <a:ln>
                <a:noFill/>
              </a:ln>
              <a:effectLst/>
            </c:spPr>
            <c:extLst>
              <c:ext xmlns:c16="http://schemas.microsoft.com/office/drawing/2014/chart" uri="{C3380CC4-5D6E-409C-BE32-E72D297353CC}">
                <c16:uniqueId val="{00000005-0A6E-4C83-9A06-9C3309B2855E}"/>
              </c:ext>
            </c:extLst>
          </c:dPt>
          <c:dPt>
            <c:idx val="29"/>
            <c:invertIfNegative val="0"/>
            <c:bubble3D val="0"/>
            <c:extLst>
              <c:ext xmlns:c16="http://schemas.microsoft.com/office/drawing/2014/chart" uri="{C3380CC4-5D6E-409C-BE32-E72D297353CC}">
                <c16:uniqueId val="{00000003-8F47-486F-B734-6012CEA493B3}"/>
              </c:ext>
            </c:extLst>
          </c:dPt>
          <c:dPt>
            <c:idx val="31"/>
            <c:invertIfNegative val="0"/>
            <c:bubble3D val="0"/>
            <c:spPr>
              <a:solidFill>
                <a:schemeClr val="accent2"/>
              </a:solidFill>
              <a:ln>
                <a:noFill/>
              </a:ln>
              <a:effectLst/>
            </c:spPr>
            <c:extLst>
              <c:ext xmlns:c16="http://schemas.microsoft.com/office/drawing/2014/chart" uri="{C3380CC4-5D6E-409C-BE32-E72D297353CC}">
                <c16:uniqueId val="{00000000-4D12-44DE-B956-CABCB15EBC04}"/>
              </c:ext>
            </c:extLst>
          </c:dPt>
          <c:dPt>
            <c:idx val="33"/>
            <c:invertIfNegative val="0"/>
            <c:bubble3D val="0"/>
            <c:spPr>
              <a:solidFill>
                <a:schemeClr val="accent2"/>
              </a:solidFill>
              <a:ln>
                <a:noFill/>
              </a:ln>
              <a:effectLst/>
            </c:spPr>
            <c:extLst>
              <c:ext xmlns:c16="http://schemas.microsoft.com/office/drawing/2014/chart" uri="{C3380CC4-5D6E-409C-BE32-E72D297353CC}">
                <c16:uniqueId val="{00000001-4D12-44DE-B956-CABCB15EBC04}"/>
              </c:ext>
            </c:extLst>
          </c:dPt>
          <c:dLbls>
            <c:dLbl>
              <c:idx val="0"/>
              <c:tx>
                <c:rich>
                  <a:bodyPr/>
                  <a:lstStyle/>
                  <a:p>
                    <a:fld id="{35C4EEEE-D86B-466C-82EF-688215A8F3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FB-4B52-8D72-D56D618E8EAF}"/>
                </c:ext>
              </c:extLst>
            </c:dLbl>
            <c:dLbl>
              <c:idx val="1"/>
              <c:tx>
                <c:rich>
                  <a:bodyPr/>
                  <a:lstStyle/>
                  <a:p>
                    <a:fld id="{4A656679-16D6-4616-ADE7-A9E255B5F0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FB-4B52-8D72-D56D618E8EAF}"/>
                </c:ext>
              </c:extLst>
            </c:dLbl>
            <c:dLbl>
              <c:idx val="2"/>
              <c:tx>
                <c:rich>
                  <a:bodyPr/>
                  <a:lstStyle/>
                  <a:p>
                    <a:fld id="{ACBD8233-0DA1-4AF4-8AEA-BC4E4A3760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26FB-4B52-8D72-D56D618E8EAF}"/>
                </c:ext>
              </c:extLst>
            </c:dLbl>
            <c:dLbl>
              <c:idx val="3"/>
              <c:tx>
                <c:rich>
                  <a:bodyPr/>
                  <a:lstStyle/>
                  <a:p>
                    <a:fld id="{80C17444-8BF8-4647-AC46-EE5D4D2CF7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FB-4B52-8D72-D56D618E8EAF}"/>
                </c:ext>
              </c:extLst>
            </c:dLbl>
            <c:dLbl>
              <c:idx val="4"/>
              <c:tx>
                <c:rich>
                  <a:bodyPr/>
                  <a:lstStyle/>
                  <a:p>
                    <a:fld id="{3F3CF2F6-09C3-4EF8-B7AC-1A27013510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FB-4B52-8D72-D56D618E8EAF}"/>
                </c:ext>
              </c:extLst>
            </c:dLbl>
            <c:dLbl>
              <c:idx val="5"/>
              <c:tx>
                <c:rich>
                  <a:bodyPr/>
                  <a:lstStyle/>
                  <a:p>
                    <a:fld id="{D9ADA85A-B45A-4CC0-B6BA-78E531690D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26FB-4B52-8D72-D56D618E8EAF}"/>
                </c:ext>
              </c:extLst>
            </c:dLbl>
            <c:dLbl>
              <c:idx val="6"/>
              <c:tx>
                <c:rich>
                  <a:bodyPr/>
                  <a:lstStyle/>
                  <a:p>
                    <a:fld id="{DDD225C0-8F35-4F66-87CD-C230C4DD0C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26FB-4B52-8D72-D56D618E8EAF}"/>
                </c:ext>
              </c:extLst>
            </c:dLbl>
            <c:dLbl>
              <c:idx val="7"/>
              <c:tx>
                <c:rich>
                  <a:bodyPr/>
                  <a:lstStyle/>
                  <a:p>
                    <a:fld id="{70D74DDD-43CE-40BF-BEE7-1D1BE73B76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26FB-4B52-8D72-D56D618E8EAF}"/>
                </c:ext>
              </c:extLst>
            </c:dLbl>
            <c:dLbl>
              <c:idx val="8"/>
              <c:tx>
                <c:rich>
                  <a:bodyPr/>
                  <a:lstStyle/>
                  <a:p>
                    <a:fld id="{3C12299D-106C-44D1-B876-9B0ADE0B81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26FB-4B52-8D72-D56D618E8EAF}"/>
                </c:ext>
              </c:extLst>
            </c:dLbl>
            <c:dLbl>
              <c:idx val="9"/>
              <c:tx>
                <c:rich>
                  <a:bodyPr/>
                  <a:lstStyle/>
                  <a:p>
                    <a:fld id="{1C2F48D7-49C6-4A67-A69E-8629DAD68D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7B2D-4A32-96D2-9C641BCDE5CC}"/>
                </c:ext>
              </c:extLst>
            </c:dLbl>
            <c:dLbl>
              <c:idx val="10"/>
              <c:tx>
                <c:rich>
                  <a:bodyPr/>
                  <a:lstStyle/>
                  <a:p>
                    <a:fld id="{F217503F-4541-4C7F-A761-22603A6B55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B2D-4A32-96D2-9C641BCDE5CC}"/>
                </c:ext>
              </c:extLst>
            </c:dLbl>
            <c:dLbl>
              <c:idx val="11"/>
              <c:tx>
                <c:rich>
                  <a:bodyPr/>
                  <a:lstStyle/>
                  <a:p>
                    <a:fld id="{65E7B50D-B2FC-4654-9C1F-60122A2691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26FB-4B52-8D72-D56D618E8EAF}"/>
                </c:ext>
              </c:extLst>
            </c:dLbl>
            <c:dLbl>
              <c:idx val="12"/>
              <c:tx>
                <c:rich>
                  <a:bodyPr/>
                  <a:lstStyle/>
                  <a:p>
                    <a:fld id="{E89721F4-8599-49F1-BBD2-028D7FF171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7B2D-4A32-96D2-9C641BCDE5CC}"/>
                </c:ext>
              </c:extLst>
            </c:dLbl>
            <c:dLbl>
              <c:idx val="13"/>
              <c:tx>
                <c:rich>
                  <a:bodyPr/>
                  <a:lstStyle/>
                  <a:p>
                    <a:fld id="{650283D5-A164-4C4B-A7BA-91F04AB4CD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26FB-4B52-8D72-D56D618E8EAF}"/>
                </c:ext>
              </c:extLst>
            </c:dLbl>
            <c:dLbl>
              <c:idx val="14"/>
              <c:tx>
                <c:rich>
                  <a:bodyPr/>
                  <a:lstStyle/>
                  <a:p>
                    <a:fld id="{A34026B9-05D4-41C4-9C5C-D36EE35AAE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26FB-4B52-8D72-D56D618E8EAF}"/>
                </c:ext>
              </c:extLst>
            </c:dLbl>
            <c:dLbl>
              <c:idx val="15"/>
              <c:tx>
                <c:rich>
                  <a:bodyPr/>
                  <a:lstStyle/>
                  <a:p>
                    <a:fld id="{299E7087-D85F-4B6B-A3AF-7ADBDE8487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26FB-4B52-8D72-D56D618E8EAF}"/>
                </c:ext>
              </c:extLst>
            </c:dLbl>
            <c:dLbl>
              <c:idx val="16"/>
              <c:tx>
                <c:rich>
                  <a:bodyPr/>
                  <a:lstStyle/>
                  <a:p>
                    <a:fld id="{A4ED74DC-025B-4E63-B53A-B5A6EF6554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0A6E-4C83-9A06-9C3309B2855E}"/>
                </c:ext>
              </c:extLst>
            </c:dLbl>
            <c:dLbl>
              <c:idx val="17"/>
              <c:tx>
                <c:rich>
                  <a:bodyPr/>
                  <a:lstStyle/>
                  <a:p>
                    <a:fld id="{E116D274-730B-4AC4-9EA2-58ABEB6061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0A6E-4C83-9A06-9C3309B2855E}"/>
                </c:ext>
              </c:extLst>
            </c:dLbl>
            <c:dLbl>
              <c:idx val="18"/>
              <c:tx>
                <c:rich>
                  <a:bodyPr/>
                  <a:lstStyle/>
                  <a:p>
                    <a:fld id="{98CAB147-0760-482C-8D10-F84E7CFC29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0A6E-4C83-9A06-9C3309B2855E}"/>
                </c:ext>
              </c:extLst>
            </c:dLbl>
            <c:dLbl>
              <c:idx val="19"/>
              <c:tx>
                <c:rich>
                  <a:bodyPr/>
                  <a:lstStyle/>
                  <a:p>
                    <a:fld id="{5A721BDE-CB30-4DC5-A5CE-8AD05EA438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0A6E-4C83-9A06-9C3309B2855E}"/>
                </c:ext>
              </c:extLst>
            </c:dLbl>
            <c:dLbl>
              <c:idx val="20"/>
              <c:tx>
                <c:rich>
                  <a:bodyPr/>
                  <a:lstStyle/>
                  <a:p>
                    <a:fld id="{F4955D0A-60C8-4D15-B615-EED185EC6C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5AD-4BCF-9CB2-60EDA2D7DB42}"/>
                </c:ext>
              </c:extLst>
            </c:dLbl>
            <c:dLbl>
              <c:idx val="21"/>
              <c:tx>
                <c:rich>
                  <a:bodyPr/>
                  <a:lstStyle/>
                  <a:p>
                    <a:fld id="{69D38D47-DDD9-4941-94F7-586569E0F8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5AD-4BCF-9CB2-60EDA2D7DB42}"/>
                </c:ext>
              </c:extLst>
            </c:dLbl>
            <c:dLbl>
              <c:idx val="22"/>
              <c:tx>
                <c:rich>
                  <a:bodyPr/>
                  <a:lstStyle/>
                  <a:p>
                    <a:fld id="{9227D22C-CD7A-414E-8383-D957A54A66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5AD-4BCF-9CB2-60EDA2D7DB42}"/>
                </c:ext>
              </c:extLst>
            </c:dLbl>
            <c:dLbl>
              <c:idx val="23"/>
              <c:tx>
                <c:rich>
                  <a:bodyPr/>
                  <a:lstStyle/>
                  <a:p>
                    <a:fld id="{AE8B7109-4E9A-4C77-871B-17FA85B80F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5AD-4BCF-9CB2-60EDA2D7DB42}"/>
                </c:ext>
              </c:extLst>
            </c:dLbl>
            <c:dLbl>
              <c:idx val="24"/>
              <c:tx>
                <c:rich>
                  <a:bodyPr/>
                  <a:lstStyle/>
                  <a:p>
                    <a:fld id="{4C3566C5-22A7-47B0-9215-5CC44D0EEA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0A6E-4C83-9A06-9C3309B2855E}"/>
                </c:ext>
              </c:extLst>
            </c:dLbl>
            <c:dLbl>
              <c:idx val="25"/>
              <c:tx>
                <c:rich>
                  <a:bodyPr/>
                  <a:lstStyle/>
                  <a:p>
                    <a:fld id="{7B71559F-114E-492D-9C1C-974E6A36C6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4D12-44DE-B956-CABCB15EBC04}"/>
                </c:ext>
              </c:extLst>
            </c:dLbl>
            <c:dLbl>
              <c:idx val="26"/>
              <c:tx>
                <c:rich>
                  <a:bodyPr/>
                  <a:lstStyle/>
                  <a:p>
                    <a:fld id="{E021275A-B7DE-4BE7-92F7-5EBF1C705A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D12-44DE-B956-CABCB15EBC04}"/>
                </c:ext>
              </c:extLst>
            </c:dLbl>
            <c:dLbl>
              <c:idx val="27"/>
              <c:tx>
                <c:rich>
                  <a:bodyPr/>
                  <a:lstStyle/>
                  <a:p>
                    <a:fld id="{03D5C0C3-4803-467C-AAD6-ADA29C1988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D12-44DE-B956-CABCB15EBC04}"/>
                </c:ext>
              </c:extLst>
            </c:dLbl>
            <c:dLbl>
              <c:idx val="28"/>
              <c:tx>
                <c:rich>
                  <a:bodyPr/>
                  <a:lstStyle/>
                  <a:p>
                    <a:fld id="{3F0509C2-364D-4235-84CE-32D9EE7A9A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D12-44DE-B956-CABCB15EBC04}"/>
                </c:ext>
              </c:extLst>
            </c:dLbl>
            <c:dLbl>
              <c:idx val="29"/>
              <c:tx>
                <c:rich>
                  <a:bodyPr/>
                  <a:lstStyle/>
                  <a:p>
                    <a:fld id="{C2988852-9A38-48EB-9412-EA1C74C0E6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8F47-486F-B734-6012CEA493B3}"/>
                </c:ext>
              </c:extLst>
            </c:dLbl>
            <c:dLbl>
              <c:idx val="30"/>
              <c:tx>
                <c:rich>
                  <a:bodyPr/>
                  <a:lstStyle/>
                  <a:p>
                    <a:fld id="{00CD0D9F-B2CA-4014-86BE-B8150E68FD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D12-44DE-B956-CABCB15EBC04}"/>
                </c:ext>
              </c:extLst>
            </c:dLbl>
            <c:dLbl>
              <c:idx val="31"/>
              <c:tx>
                <c:rich>
                  <a:bodyPr/>
                  <a:lstStyle/>
                  <a:p>
                    <a:fld id="{8B5E1B61-6668-4B32-AEEC-6AC59BB9E0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D12-44DE-B956-CABCB15EBC04}"/>
                </c:ext>
              </c:extLst>
            </c:dLbl>
            <c:dLbl>
              <c:idx val="32"/>
              <c:tx>
                <c:rich>
                  <a:bodyPr/>
                  <a:lstStyle/>
                  <a:p>
                    <a:fld id="{A5614456-BECA-46F9-8869-32F4FE3995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D12-44DE-B956-CABCB15EBC04}"/>
                </c:ext>
              </c:extLst>
            </c:dLbl>
            <c:dLbl>
              <c:idx val="33"/>
              <c:tx>
                <c:rich>
                  <a:bodyPr/>
                  <a:lstStyle/>
                  <a:p>
                    <a:fld id="{3F5E264E-F4C2-4FC4-88E8-0211EE994A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D12-44DE-B956-CABCB15EBC04}"/>
                </c:ext>
              </c:extLst>
            </c:dLbl>
            <c:dLbl>
              <c:idx val="34"/>
              <c:tx>
                <c:rich>
                  <a:bodyPr/>
                  <a:lstStyle/>
                  <a:p>
                    <a:fld id="{ADDDF9B1-C6BA-43FA-B0C0-DDA90A4731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D12-44DE-B956-CABCB15EBC04}"/>
                </c:ext>
              </c:extLst>
            </c:dLbl>
            <c:dLbl>
              <c:idx val="35"/>
              <c:tx>
                <c:rich>
                  <a:bodyPr/>
                  <a:lstStyle/>
                  <a:p>
                    <a:fld id="{DC2C0630-0F39-427B-BF72-5E1B38A794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4D12-44DE-B956-CABCB15EBC04}"/>
                </c:ext>
              </c:extLst>
            </c:dLbl>
            <c:dLbl>
              <c:idx val="36"/>
              <c:tx>
                <c:rich>
                  <a:bodyPr/>
                  <a:lstStyle/>
                  <a:p>
                    <a:fld id="{17420FBD-32A1-4329-81A9-0A98E2F46E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4D12-44DE-B956-CABCB15EBC04}"/>
                </c:ext>
              </c:extLst>
            </c:dLbl>
            <c:dLbl>
              <c:idx val="37"/>
              <c:tx>
                <c:rich>
                  <a:bodyPr/>
                  <a:lstStyle/>
                  <a:p>
                    <a:fld id="{3F854F8E-6762-4CD6-B15F-17D69F78CD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4D12-44DE-B956-CABCB15EBC04}"/>
                </c:ext>
              </c:extLst>
            </c:dLbl>
            <c:dLbl>
              <c:idx val="38"/>
              <c:tx>
                <c:rich>
                  <a:bodyPr/>
                  <a:lstStyle/>
                  <a:p>
                    <a:fld id="{4875744B-6960-4908-BD30-DBB5D84812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4D12-44DE-B956-CABCB15EBC04}"/>
                </c:ext>
              </c:extLst>
            </c:dLbl>
            <c:dLbl>
              <c:idx val="39"/>
              <c:tx>
                <c:rich>
                  <a:bodyPr/>
                  <a:lstStyle/>
                  <a:p>
                    <a:fld id="{91C57BA8-911E-47C2-B168-2CD0FB84EB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4D12-44DE-B956-CABCB15EBC04}"/>
                </c:ext>
              </c:extLst>
            </c:dLbl>
            <c:dLbl>
              <c:idx val="40"/>
              <c:tx>
                <c:rich>
                  <a:bodyPr/>
                  <a:lstStyle/>
                  <a:p>
                    <a:fld id="{EDAE7991-459B-4FCB-B3A7-9A1B2E923C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4D12-44DE-B956-CABCB15EBC04}"/>
                </c:ext>
              </c:extLst>
            </c:dLbl>
            <c:dLbl>
              <c:idx val="41"/>
              <c:tx>
                <c:rich>
                  <a:bodyPr/>
                  <a:lstStyle/>
                  <a:p>
                    <a:fld id="{9783015B-0F01-4513-8371-CAD05392BA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4D12-44DE-B956-CABCB15EBC04}"/>
                </c:ext>
              </c:extLst>
            </c:dLbl>
            <c:dLbl>
              <c:idx val="42"/>
              <c:tx>
                <c:rich>
                  <a:bodyPr/>
                  <a:lstStyle/>
                  <a:p>
                    <a:fld id="{99F14520-B790-4D5D-8193-4545464D3D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4D12-44DE-B956-CABCB15EBC04}"/>
                </c:ext>
              </c:extLst>
            </c:dLbl>
            <c:dLbl>
              <c:idx val="43"/>
              <c:tx>
                <c:rich>
                  <a:bodyPr/>
                  <a:lstStyle/>
                  <a:p>
                    <a:fld id="{634D2AA1-A7A0-4EDF-AF02-0826200448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4D12-44DE-B956-CABCB15EBC04}"/>
                </c:ext>
              </c:extLst>
            </c:dLbl>
            <c:dLbl>
              <c:idx val="44"/>
              <c:tx>
                <c:rich>
                  <a:bodyPr/>
                  <a:lstStyle/>
                  <a:p>
                    <a:fld id="{0C94009E-5674-4BDC-B0A4-D2F6F03269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4D12-44DE-B956-CABCB15EBC04}"/>
                </c:ext>
              </c:extLst>
            </c:dLbl>
            <c:dLbl>
              <c:idx val="45"/>
              <c:tx>
                <c:rich>
                  <a:bodyPr/>
                  <a:lstStyle/>
                  <a:p>
                    <a:fld id="{559365B4-23B2-40D3-A570-F308581DA0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4D12-44DE-B956-CABCB15EBC04}"/>
                </c:ext>
              </c:extLst>
            </c:dLbl>
            <c:dLbl>
              <c:idx val="46"/>
              <c:tx>
                <c:rich>
                  <a:bodyPr/>
                  <a:lstStyle/>
                  <a:p>
                    <a:fld id="{80CB09C8-C26C-4ED0-A481-90F7174664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4D12-44DE-B956-CABCB15EBC04}"/>
                </c:ext>
              </c:extLst>
            </c:dLbl>
            <c:dLbl>
              <c:idx val="47"/>
              <c:tx>
                <c:rich>
                  <a:bodyPr/>
                  <a:lstStyle/>
                  <a:p>
                    <a:fld id="{CC699687-DABD-4F5B-A469-DBDD18E449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4D12-44DE-B956-CABCB15EBC04}"/>
                </c:ext>
              </c:extLst>
            </c:dLbl>
            <c:dLbl>
              <c:idx val="48"/>
              <c:tx>
                <c:rich>
                  <a:bodyPr/>
                  <a:lstStyle/>
                  <a:p>
                    <a:fld id="{26DB9182-361F-4A08-A87D-C7AF4D5B85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4D12-44DE-B956-CABCB15EBC04}"/>
                </c:ext>
              </c:extLst>
            </c:dLbl>
            <c:dLbl>
              <c:idx val="49"/>
              <c:tx>
                <c:rich>
                  <a:bodyPr/>
                  <a:lstStyle/>
                  <a:p>
                    <a:fld id="{07F2FEA3-3015-41CE-8545-E55DE30CA2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4D12-44DE-B956-CABCB15EBC04}"/>
                </c:ext>
              </c:extLst>
            </c:dLbl>
            <c:dLbl>
              <c:idx val="50"/>
              <c:tx>
                <c:rich>
                  <a:bodyPr/>
                  <a:lstStyle/>
                  <a:p>
                    <a:fld id="{066737BA-1F6A-48E6-B0D5-1FB2D2630F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4D12-44DE-B956-CABCB15EBC04}"/>
                </c:ext>
              </c:extLst>
            </c:dLbl>
            <c:dLbl>
              <c:idx val="51"/>
              <c:tx>
                <c:rich>
                  <a:bodyPr/>
                  <a:lstStyle/>
                  <a:p>
                    <a:fld id="{3CF52EDE-330D-49B4-A494-20D8C5C1C0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4D12-44DE-B956-CABCB15EBC04}"/>
                </c:ext>
              </c:extLst>
            </c:dLbl>
            <c:dLbl>
              <c:idx val="52"/>
              <c:tx>
                <c:rich>
                  <a:bodyPr/>
                  <a:lstStyle/>
                  <a:p>
                    <a:fld id="{34E77C37-02C7-4654-962A-F37D9CA850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4D12-44DE-B956-CABCB15EBC04}"/>
                </c:ext>
              </c:extLst>
            </c:dLbl>
            <c:dLbl>
              <c:idx val="53"/>
              <c:tx>
                <c:rich>
                  <a:bodyPr/>
                  <a:lstStyle/>
                  <a:p>
                    <a:fld id="{01C8583A-AD59-45F2-9711-D156C175AD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4D12-44DE-B956-CABCB15EBC04}"/>
                </c:ext>
              </c:extLst>
            </c:dLbl>
            <c:dLbl>
              <c:idx val="54"/>
              <c:tx>
                <c:rich>
                  <a:bodyPr/>
                  <a:lstStyle/>
                  <a:p>
                    <a:fld id="{DDF2DC92-EE98-4BDF-BBB2-28A4D67F21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4D12-44DE-B956-CABCB15EBC04}"/>
                </c:ext>
              </c:extLst>
            </c:dLbl>
            <c:dLbl>
              <c:idx val="55"/>
              <c:tx>
                <c:rich>
                  <a:bodyPr/>
                  <a:lstStyle/>
                  <a:p>
                    <a:fld id="{6C9BBA77-C108-4F5D-95F7-318420CD5C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D12-44DE-B956-CABCB15EBC04}"/>
                </c:ext>
              </c:extLst>
            </c:dLbl>
            <c:dLbl>
              <c:idx val="56"/>
              <c:tx>
                <c:rich>
                  <a:bodyPr/>
                  <a:lstStyle/>
                  <a:p>
                    <a:fld id="{B8AA8246-74DC-46FA-9001-735C66FFC1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8E3F-4D1B-A313-C02BEC0FDBD1}"/>
                </c:ext>
              </c:extLst>
            </c:dLbl>
            <c:dLbl>
              <c:idx val="57"/>
              <c:tx>
                <c:rich>
                  <a:bodyPr/>
                  <a:lstStyle/>
                  <a:p>
                    <a:fld id="{DDB8DA00-B9E9-40A0-9826-315999CDB3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8E3F-4D1B-A313-C02BEC0FDBD1}"/>
                </c:ext>
              </c:extLst>
            </c:dLbl>
            <c:dLbl>
              <c:idx val="58"/>
              <c:tx>
                <c:rich>
                  <a:bodyPr/>
                  <a:lstStyle/>
                  <a:p>
                    <a:fld id="{3EAACD0B-6BEC-42E2-932E-2AAFA75DF1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8E3F-4D1B-A313-C02BEC0FDBD1}"/>
                </c:ext>
              </c:extLst>
            </c:dLbl>
            <c:dLbl>
              <c:idx val="59"/>
              <c:tx>
                <c:rich>
                  <a:bodyPr/>
                  <a:lstStyle/>
                  <a:p>
                    <a:fld id="{D7FA4B77-8E23-4EF7-98CE-F9E87C1CE0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8E3F-4D1B-A313-C02BEC0FDBD1}"/>
                </c:ext>
              </c:extLst>
            </c:dLbl>
            <c:dLbl>
              <c:idx val="60"/>
              <c:tx>
                <c:rich>
                  <a:bodyPr/>
                  <a:lstStyle/>
                  <a:p>
                    <a:fld id="{CA0DF8FC-04D5-411D-8AE1-2B7599B567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8E3F-4D1B-A313-C02BEC0FDBD1}"/>
                </c:ext>
              </c:extLst>
            </c:dLbl>
            <c:dLbl>
              <c:idx val="61"/>
              <c:tx>
                <c:rich>
                  <a:bodyPr/>
                  <a:lstStyle/>
                  <a:p>
                    <a:fld id="{5D9810FC-86EF-4197-A2C9-B9EE7627BA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8E3F-4D1B-A313-C02BEC0FDBD1}"/>
                </c:ext>
              </c:extLst>
            </c:dLbl>
            <c:dLbl>
              <c:idx val="62"/>
              <c:tx>
                <c:rich>
                  <a:bodyPr/>
                  <a:lstStyle/>
                  <a:p>
                    <a:fld id="{8CBA8F63-5EEE-4F8A-B932-7420F9D09A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8E3F-4D1B-A313-C02BEC0FDBD1}"/>
                </c:ext>
              </c:extLst>
            </c:dLbl>
            <c:dLbl>
              <c:idx val="63"/>
              <c:tx>
                <c:rich>
                  <a:bodyPr/>
                  <a:lstStyle/>
                  <a:p>
                    <a:fld id="{1E230173-1B5F-4DD1-B716-96F8CA6176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8E3F-4D1B-A313-C02BEC0FDBD1}"/>
                </c:ext>
              </c:extLst>
            </c:dLbl>
            <c:dLbl>
              <c:idx val="64"/>
              <c:tx>
                <c:rich>
                  <a:bodyPr/>
                  <a:lstStyle/>
                  <a:p>
                    <a:fld id="{3734B704-7339-4775-82CF-FB2F756282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8E3F-4D1B-A313-C02BEC0FDBD1}"/>
                </c:ext>
              </c:extLst>
            </c:dLbl>
            <c:dLbl>
              <c:idx val="65"/>
              <c:tx>
                <c:rich>
                  <a:bodyPr/>
                  <a:lstStyle/>
                  <a:p>
                    <a:fld id="{DC53908D-71E7-4CEF-880D-191EE1C5D8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8E3F-4D1B-A313-C02BEC0FDBD1}"/>
                </c:ext>
              </c:extLst>
            </c:dLbl>
            <c:dLbl>
              <c:idx val="66"/>
              <c:tx>
                <c:rich>
                  <a:bodyPr/>
                  <a:lstStyle/>
                  <a:p>
                    <a:fld id="{0041F8E3-E5D4-4A8C-84A5-4E42F5E27B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8E3F-4D1B-A313-C02BEC0FDBD1}"/>
                </c:ext>
              </c:extLst>
            </c:dLbl>
            <c:dLbl>
              <c:idx val="67"/>
              <c:tx>
                <c:rich>
                  <a:bodyPr/>
                  <a:lstStyle/>
                  <a:p>
                    <a:fld id="{C8850B69-6F30-4E67-A6CA-8DA3F8400C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8E3F-4D1B-A313-C02BEC0FDBD1}"/>
                </c:ext>
              </c:extLst>
            </c:dLbl>
            <c:dLbl>
              <c:idx val="68"/>
              <c:tx>
                <c:rich>
                  <a:bodyPr/>
                  <a:lstStyle/>
                  <a:p>
                    <a:fld id="{923F6B72-D3F8-4AB7-8544-3136E17E33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8E3F-4D1B-A313-C02BEC0FDBD1}"/>
                </c:ext>
              </c:extLst>
            </c:dLbl>
            <c:dLbl>
              <c:idx val="69"/>
              <c:tx>
                <c:rich>
                  <a:bodyPr/>
                  <a:lstStyle/>
                  <a:p>
                    <a:fld id="{A40A19F1-FB39-45F5-A433-7DF74272EB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8E3F-4D1B-A313-C02BEC0FDBD1}"/>
                </c:ext>
              </c:extLst>
            </c:dLbl>
            <c:dLbl>
              <c:idx val="70"/>
              <c:tx>
                <c:rich>
                  <a:bodyPr/>
                  <a:lstStyle/>
                  <a:p>
                    <a:fld id="{5EC971FB-9420-4F50-AC02-6D4F194338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8E3F-4D1B-A313-C02BEC0FDBD1}"/>
                </c:ext>
              </c:extLst>
            </c:dLbl>
            <c:dLbl>
              <c:idx val="71"/>
              <c:tx>
                <c:rich>
                  <a:bodyPr/>
                  <a:lstStyle/>
                  <a:p>
                    <a:fld id="{2F26D842-8472-40C4-ADF8-943093CE27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8E3F-4D1B-A313-C02BEC0FDBD1}"/>
                </c:ext>
              </c:extLst>
            </c:dLbl>
            <c:dLbl>
              <c:idx val="72"/>
              <c:tx>
                <c:rich>
                  <a:bodyPr/>
                  <a:lstStyle/>
                  <a:p>
                    <a:fld id="{A629FBAA-156A-419C-B104-884B7E5511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8E3F-4D1B-A313-C02BEC0FDBD1}"/>
                </c:ext>
              </c:extLst>
            </c:dLbl>
            <c:dLbl>
              <c:idx val="73"/>
              <c:tx>
                <c:rich>
                  <a:bodyPr/>
                  <a:lstStyle/>
                  <a:p>
                    <a:fld id="{028288DE-8E15-424D-9C10-8FA53546BC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8E3F-4D1B-A313-C02BEC0FDBD1}"/>
                </c:ext>
              </c:extLst>
            </c:dLbl>
            <c:dLbl>
              <c:idx val="74"/>
              <c:tx>
                <c:rich>
                  <a:bodyPr/>
                  <a:lstStyle/>
                  <a:p>
                    <a:fld id="{D8AA935E-B1E1-4CDE-8CE7-90757CE712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8E3F-4D1B-A313-C02BEC0FDBD1}"/>
                </c:ext>
              </c:extLst>
            </c:dLbl>
            <c:dLbl>
              <c:idx val="75"/>
              <c:tx>
                <c:rich>
                  <a:bodyPr/>
                  <a:lstStyle/>
                  <a:p>
                    <a:fld id="{E142EED8-837D-4677-986F-6E0E7D808E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8E3F-4D1B-A313-C02BEC0FDBD1}"/>
                </c:ext>
              </c:extLst>
            </c:dLbl>
            <c:dLbl>
              <c:idx val="76"/>
              <c:tx>
                <c:rich>
                  <a:bodyPr/>
                  <a:lstStyle/>
                  <a:p>
                    <a:fld id="{CE3D9AB1-D1A4-4CFF-9E6B-2E1E09D22C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8E3F-4D1B-A313-C02BEC0FDBD1}"/>
                </c:ext>
              </c:extLst>
            </c:dLbl>
            <c:dLbl>
              <c:idx val="77"/>
              <c:tx>
                <c:rich>
                  <a:bodyPr/>
                  <a:lstStyle/>
                  <a:p>
                    <a:fld id="{963AE4CE-C3C5-42C9-AA09-7D82F96DE3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8E3F-4D1B-A313-C02BEC0FDBD1}"/>
                </c:ext>
              </c:extLst>
            </c:dLbl>
            <c:dLbl>
              <c:idx val="78"/>
              <c:tx>
                <c:rich>
                  <a:bodyPr/>
                  <a:lstStyle/>
                  <a:p>
                    <a:fld id="{952F4C68-5225-4B4A-AE20-EA2B2C5473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8E3F-4D1B-A313-C02BEC0FDBD1}"/>
                </c:ext>
              </c:extLst>
            </c:dLbl>
            <c:dLbl>
              <c:idx val="79"/>
              <c:tx>
                <c:rich>
                  <a:bodyPr/>
                  <a:lstStyle/>
                  <a:p>
                    <a:fld id="{8C1B52DA-D8E3-4406-BD66-B6C59B0A41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8E3F-4D1B-A313-C02BEC0FDBD1}"/>
                </c:ext>
              </c:extLst>
            </c:dLbl>
            <c:dLbl>
              <c:idx val="80"/>
              <c:tx>
                <c:rich>
                  <a:bodyPr/>
                  <a:lstStyle/>
                  <a:p>
                    <a:fld id="{C5C7A146-D29D-430D-9F38-8147306A8A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8E3F-4D1B-A313-C02BEC0FDBD1}"/>
                </c:ext>
              </c:extLst>
            </c:dLbl>
            <c:dLbl>
              <c:idx val="81"/>
              <c:tx>
                <c:rich>
                  <a:bodyPr/>
                  <a:lstStyle/>
                  <a:p>
                    <a:fld id="{0C16ACF0-63CD-492A-8047-064F41068F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9-8E3F-4D1B-A313-C02BEC0FDBD1}"/>
                </c:ext>
              </c:extLst>
            </c:dLbl>
            <c:dLbl>
              <c:idx val="82"/>
              <c:tx>
                <c:rich>
                  <a:bodyPr/>
                  <a:lstStyle/>
                  <a:p>
                    <a:fld id="{5637E060-C3AA-45B3-B80B-530C868429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A-8E3F-4D1B-A313-C02BEC0FDBD1}"/>
                </c:ext>
              </c:extLst>
            </c:dLbl>
            <c:dLbl>
              <c:idx val="83"/>
              <c:tx>
                <c:rich>
                  <a:bodyPr/>
                  <a:lstStyle/>
                  <a:p>
                    <a:fld id="{50958295-FD3F-4C38-BE32-AB21AB8735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B-8E3F-4D1B-A313-C02BEC0FDBD1}"/>
                </c:ext>
              </c:extLst>
            </c:dLbl>
            <c:dLbl>
              <c:idx val="84"/>
              <c:tx>
                <c:rich>
                  <a:bodyPr/>
                  <a:lstStyle/>
                  <a:p>
                    <a:fld id="{7227A83A-632D-4094-A8C2-3A98005B12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C-8E3F-4D1B-A313-C02BEC0FDBD1}"/>
                </c:ext>
              </c:extLst>
            </c:dLbl>
            <c:dLbl>
              <c:idx val="85"/>
              <c:tx>
                <c:rich>
                  <a:bodyPr/>
                  <a:lstStyle/>
                  <a:p>
                    <a:fld id="{F0DE7B7C-73B5-4329-B2BB-D295749F5A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D-8E3F-4D1B-A313-C02BEC0FDBD1}"/>
                </c:ext>
              </c:extLst>
            </c:dLbl>
            <c:dLbl>
              <c:idx val="86"/>
              <c:tx>
                <c:rich>
                  <a:bodyPr/>
                  <a:lstStyle/>
                  <a:p>
                    <a:fld id="{86311E90-DC3C-48DD-B643-AE186712F8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E-8E3F-4D1B-A313-C02BEC0FDBD1}"/>
                </c:ext>
              </c:extLst>
            </c:dLbl>
            <c:dLbl>
              <c:idx val="87"/>
              <c:tx>
                <c:rich>
                  <a:bodyPr/>
                  <a:lstStyle/>
                  <a:p>
                    <a:fld id="{616735DB-8D5C-4C49-A646-CB1FADD341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F-8E3F-4D1B-A313-C02BEC0FDBD1}"/>
                </c:ext>
              </c:extLst>
            </c:dLbl>
            <c:dLbl>
              <c:idx val="88"/>
              <c:tx>
                <c:rich>
                  <a:bodyPr/>
                  <a:lstStyle/>
                  <a:p>
                    <a:fld id="{5EF24087-3367-43C8-AB91-D0225A5971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0-8E3F-4D1B-A313-C02BEC0FDBD1}"/>
                </c:ext>
              </c:extLst>
            </c:dLbl>
            <c:dLbl>
              <c:idx val="89"/>
              <c:tx>
                <c:rich>
                  <a:bodyPr/>
                  <a:lstStyle/>
                  <a:p>
                    <a:fld id="{5C93BB83-8AF2-4AE9-A9B1-B240D4C833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1-8E3F-4D1B-A313-C02BEC0FDBD1}"/>
                </c:ext>
              </c:extLst>
            </c:dLbl>
            <c:dLbl>
              <c:idx val="90"/>
              <c:tx>
                <c:rich>
                  <a:bodyPr/>
                  <a:lstStyle/>
                  <a:p>
                    <a:fld id="{7DD99F30-6778-45FB-8129-172B1B3243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2-8E3F-4D1B-A313-C02BEC0FDBD1}"/>
                </c:ext>
              </c:extLst>
            </c:dLbl>
            <c:dLbl>
              <c:idx val="91"/>
              <c:tx>
                <c:rich>
                  <a:bodyPr/>
                  <a:lstStyle/>
                  <a:p>
                    <a:fld id="{02BEC85A-F415-4694-8255-F0F046A690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3-8E3F-4D1B-A313-C02BEC0FDBD1}"/>
                </c:ext>
              </c:extLst>
            </c:dLbl>
            <c:dLbl>
              <c:idx val="92"/>
              <c:tx>
                <c:rich>
                  <a:bodyPr/>
                  <a:lstStyle/>
                  <a:p>
                    <a:fld id="{386FA0FD-7035-4531-A1FC-CD40B4F991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4-8E3F-4D1B-A313-C02BEC0FDBD1}"/>
                </c:ext>
              </c:extLst>
            </c:dLbl>
            <c:dLbl>
              <c:idx val="93"/>
              <c:tx>
                <c:rich>
                  <a:bodyPr/>
                  <a:lstStyle/>
                  <a:p>
                    <a:fld id="{2EAC349F-718C-4F91-A0E4-AC6C5FADC1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5-8E3F-4D1B-A313-C02BEC0FDBD1}"/>
                </c:ext>
              </c:extLst>
            </c:dLbl>
            <c:dLbl>
              <c:idx val="94"/>
              <c:tx>
                <c:rich>
                  <a:bodyPr/>
                  <a:lstStyle/>
                  <a:p>
                    <a:fld id="{3A4CDAC5-ECA7-457B-B665-D5DDA1B6AA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6-8E3F-4D1B-A313-C02BEC0FDBD1}"/>
                </c:ext>
              </c:extLst>
            </c:dLbl>
            <c:dLbl>
              <c:idx val="95"/>
              <c:tx>
                <c:rich>
                  <a:bodyPr/>
                  <a:lstStyle/>
                  <a:p>
                    <a:fld id="{4693ACC1-487D-4561-9350-52C109A2AB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7-8E3F-4D1B-A313-C02BEC0FDBD1}"/>
                </c:ext>
              </c:extLst>
            </c:dLbl>
            <c:dLbl>
              <c:idx val="96"/>
              <c:tx>
                <c:rich>
                  <a:bodyPr/>
                  <a:lstStyle/>
                  <a:p>
                    <a:fld id="{02AC6361-00DE-42B7-979F-6195691CD0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8-8E3F-4D1B-A313-C02BEC0FDBD1}"/>
                </c:ext>
              </c:extLst>
            </c:dLbl>
            <c:dLbl>
              <c:idx val="97"/>
              <c:tx>
                <c:rich>
                  <a:bodyPr/>
                  <a:lstStyle/>
                  <a:p>
                    <a:fld id="{C4A5BCB7-7F81-44DA-BE91-5B9345E6A2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9-8E3F-4D1B-A313-C02BEC0FDBD1}"/>
                </c:ext>
              </c:extLst>
            </c:dLbl>
            <c:dLbl>
              <c:idx val="98"/>
              <c:tx>
                <c:rich>
                  <a:bodyPr/>
                  <a:lstStyle/>
                  <a:p>
                    <a:fld id="{07622764-6315-485D-BFFA-67824A19E1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A-8E3F-4D1B-A313-C02BEC0FDBD1}"/>
                </c:ext>
              </c:extLst>
            </c:dLbl>
            <c:dLbl>
              <c:idx val="99"/>
              <c:tx>
                <c:rich>
                  <a:bodyPr/>
                  <a:lstStyle/>
                  <a:p>
                    <a:fld id="{84A36939-3D30-4833-A5F7-2949F9E871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B-8E3F-4D1B-A313-C02BEC0FDBD1}"/>
                </c:ext>
              </c:extLst>
            </c:dLbl>
            <c:dLbl>
              <c:idx val="100"/>
              <c:tx>
                <c:rich>
                  <a:bodyPr/>
                  <a:lstStyle/>
                  <a:p>
                    <a:fld id="{1A9A8D6F-1018-45C1-AA60-BA9709FF08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C-8E3F-4D1B-A313-C02BEC0FDBD1}"/>
                </c:ext>
              </c:extLst>
            </c:dLbl>
            <c:dLbl>
              <c:idx val="101"/>
              <c:tx>
                <c:rich>
                  <a:bodyPr/>
                  <a:lstStyle/>
                  <a:p>
                    <a:fld id="{C69EAF9B-3B5C-462D-A098-149A787C82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D-8E3F-4D1B-A313-C02BEC0FDBD1}"/>
                </c:ext>
              </c:extLst>
            </c:dLbl>
            <c:dLbl>
              <c:idx val="102"/>
              <c:tx>
                <c:rich>
                  <a:bodyPr/>
                  <a:lstStyle/>
                  <a:p>
                    <a:fld id="{0B15EF1B-EC45-4A14-9348-80D2F548B1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E-8E3F-4D1B-A313-C02BEC0FDBD1}"/>
                </c:ext>
              </c:extLst>
            </c:dLbl>
            <c:dLbl>
              <c:idx val="103"/>
              <c:tx>
                <c:rich>
                  <a:bodyPr/>
                  <a:lstStyle/>
                  <a:p>
                    <a:fld id="{47F60B9F-97DE-49C2-84AF-A5C156317B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F-8E3F-4D1B-A313-C02BEC0FDBD1}"/>
                </c:ext>
              </c:extLst>
            </c:dLbl>
            <c:dLbl>
              <c:idx val="104"/>
              <c:tx>
                <c:rich>
                  <a:bodyPr/>
                  <a:lstStyle/>
                  <a:p>
                    <a:fld id="{0FC9A989-B4FD-4E64-8AAC-70CC594DD5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0-8E3F-4D1B-A313-C02BEC0FDBD1}"/>
                </c:ext>
              </c:extLst>
            </c:dLbl>
            <c:dLbl>
              <c:idx val="105"/>
              <c:tx>
                <c:rich>
                  <a:bodyPr/>
                  <a:lstStyle/>
                  <a:p>
                    <a:fld id="{F18828D2-9A54-40EB-A4F3-0C56A0A917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1-8E3F-4D1B-A313-C02BEC0FDBD1}"/>
                </c:ext>
              </c:extLst>
            </c:dLbl>
            <c:dLbl>
              <c:idx val="106"/>
              <c:tx>
                <c:rich>
                  <a:bodyPr/>
                  <a:lstStyle/>
                  <a:p>
                    <a:fld id="{C7F50808-AB97-4102-B7F7-C423A28D58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2-8E3F-4D1B-A313-C02BEC0FDBD1}"/>
                </c:ext>
              </c:extLst>
            </c:dLbl>
            <c:dLbl>
              <c:idx val="107"/>
              <c:tx>
                <c:rich>
                  <a:bodyPr/>
                  <a:lstStyle/>
                  <a:p>
                    <a:fld id="{8DD04193-6A8B-46F9-9B3D-C7A507B024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3-8E3F-4D1B-A313-C02BEC0FDBD1}"/>
                </c:ext>
              </c:extLst>
            </c:dLbl>
            <c:dLbl>
              <c:idx val="108"/>
              <c:tx>
                <c:rich>
                  <a:bodyPr/>
                  <a:lstStyle/>
                  <a:p>
                    <a:fld id="{09DD2E38-6B79-420D-995D-EA92CAC8D1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4-8E3F-4D1B-A313-C02BEC0FDBD1}"/>
                </c:ext>
              </c:extLst>
            </c:dLbl>
            <c:dLbl>
              <c:idx val="109"/>
              <c:tx>
                <c:rich>
                  <a:bodyPr/>
                  <a:lstStyle/>
                  <a:p>
                    <a:fld id="{91394FB0-351F-4640-A415-8E12B76809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5-8E3F-4D1B-A313-C02BEC0FDBD1}"/>
                </c:ext>
              </c:extLst>
            </c:dLbl>
            <c:dLbl>
              <c:idx val="110"/>
              <c:tx>
                <c:rich>
                  <a:bodyPr/>
                  <a:lstStyle/>
                  <a:p>
                    <a:fld id="{48EE1DD2-8E0D-4445-B1F8-171EFA2300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6-8E3F-4D1B-A313-C02BEC0FDBD1}"/>
                </c:ext>
              </c:extLst>
            </c:dLbl>
            <c:dLbl>
              <c:idx val="111"/>
              <c:tx>
                <c:rich>
                  <a:bodyPr/>
                  <a:lstStyle/>
                  <a:p>
                    <a:fld id="{90CE0ACC-1426-4C24-9A80-6E9DE561A0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7-8E3F-4D1B-A313-C02BEC0FDBD1}"/>
                </c:ext>
              </c:extLst>
            </c:dLbl>
            <c:dLbl>
              <c:idx val="112"/>
              <c:tx>
                <c:rich>
                  <a:bodyPr/>
                  <a:lstStyle/>
                  <a:p>
                    <a:fld id="{A061EFFD-405F-4024-A9C9-70CD8A82E8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8-8E3F-4D1B-A313-C02BEC0FDBD1}"/>
                </c:ext>
              </c:extLst>
            </c:dLbl>
            <c:dLbl>
              <c:idx val="113"/>
              <c:tx>
                <c:rich>
                  <a:bodyPr/>
                  <a:lstStyle/>
                  <a:p>
                    <a:fld id="{42AD4430-247E-4143-AAC2-AD5726D8C7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9-8E3F-4D1B-A313-C02BEC0FDBD1}"/>
                </c:ext>
              </c:extLst>
            </c:dLbl>
            <c:dLbl>
              <c:idx val="114"/>
              <c:tx>
                <c:rich>
                  <a:bodyPr/>
                  <a:lstStyle/>
                  <a:p>
                    <a:fld id="{F5B300F5-383F-4781-8BFF-48DDFB6EDD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A-8E3F-4D1B-A313-C02BEC0FDBD1}"/>
                </c:ext>
              </c:extLst>
            </c:dLbl>
            <c:dLbl>
              <c:idx val="115"/>
              <c:tx>
                <c:rich>
                  <a:bodyPr/>
                  <a:lstStyle/>
                  <a:p>
                    <a:fld id="{E4608C30-2795-4B51-AD1C-EF5E19077A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B-8E3F-4D1B-A313-C02BEC0FDBD1}"/>
                </c:ext>
              </c:extLst>
            </c:dLbl>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2</c:f>
              <c:numCache>
                <c:formatCode>General</c:formatCode>
                <c:ptCount val="11"/>
                <c:pt idx="0">
                  <c:v>1</c:v>
                </c:pt>
                <c:pt idx="1">
                  <c:v>1</c:v>
                </c:pt>
                <c:pt idx="2">
                  <c:v>1</c:v>
                </c:pt>
                <c:pt idx="3">
                  <c:v>3</c:v>
                </c:pt>
                <c:pt idx="4">
                  <c:v>3</c:v>
                </c:pt>
                <c:pt idx="5">
                  <c:v>3</c:v>
                </c:pt>
                <c:pt idx="6">
                  <c:v>3</c:v>
                </c:pt>
                <c:pt idx="7">
                  <c:v>3</c:v>
                </c:pt>
                <c:pt idx="8">
                  <c:v>3</c:v>
                </c:pt>
                <c:pt idx="9">
                  <c:v>3</c:v>
                </c:pt>
                <c:pt idx="10">
                  <c:v>3</c:v>
                </c:pt>
              </c:numCache>
            </c:numRef>
          </c:xVal>
          <c:yVal>
            <c:numRef>
              <c:f>Sheet1!$B$2:$B$12</c:f>
              <c:numCache>
                <c:formatCode>General</c:formatCode>
                <c:ptCount val="11"/>
                <c:pt idx="0">
                  <c:v>0.22825514116575771</c:v>
                </c:pt>
                <c:pt idx="1">
                  <c:v>0.53170732834111545</c:v>
                </c:pt>
                <c:pt idx="2">
                  <c:v>0.22309452807604779</c:v>
                </c:pt>
                <c:pt idx="3">
                  <c:v>3.082142194196108E-2</c:v>
                </c:pt>
                <c:pt idx="4">
                  <c:v>0</c:v>
                </c:pt>
                <c:pt idx="5">
                  <c:v>0.1692757420813428</c:v>
                </c:pt>
                <c:pt idx="6">
                  <c:v>-3.6459231119494409E-2</c:v>
                </c:pt>
                <c:pt idx="7">
                  <c:v>0</c:v>
                </c:pt>
                <c:pt idx="8">
                  <c:v>9.1678040616062134E-2</c:v>
                </c:pt>
                <c:pt idx="9">
                  <c:v>-6.0972079577359239E-3</c:v>
                </c:pt>
                <c:pt idx="10">
                  <c:v>0.1297490961084373</c:v>
                </c:pt>
              </c:numCache>
            </c:numRef>
          </c:yVal>
          <c:bubbleSize>
            <c:numRef>
              <c:f>Sheet1!$C$2:$C$12</c:f>
              <c:numCache>
                <c:formatCode>General</c:formatCode>
                <c:ptCount val="11"/>
                <c:pt idx="0">
                  <c:v>56285498</c:v>
                </c:pt>
                <c:pt idx="1">
                  <c:v>892564</c:v>
                </c:pt>
                <c:pt idx="2">
                  <c:v>6252872</c:v>
                </c:pt>
                <c:pt idx="3">
                  <c:v>10656803</c:v>
                </c:pt>
                <c:pt idx="4">
                  <c:v>423669</c:v>
                </c:pt>
                <c:pt idx="5">
                  <c:v>4603858</c:v>
                </c:pt>
                <c:pt idx="6">
                  <c:v>1929113</c:v>
                </c:pt>
                <c:pt idx="7">
                  <c:v>9544</c:v>
                </c:pt>
                <c:pt idx="8">
                  <c:v>773970</c:v>
                </c:pt>
                <c:pt idx="9">
                  <c:v>1471589</c:v>
                </c:pt>
                <c:pt idx="10">
                  <c:v>6271036</c:v>
                </c:pt>
              </c:numCache>
            </c:numRef>
          </c:bubbleSize>
          <c:bubble3D val="0"/>
          <c:extLst>
            <c:ext xmlns:c15="http://schemas.microsoft.com/office/drawing/2012/chart" uri="{02D57815-91ED-43cb-92C2-25804820EDAC}">
              <c15:datalabelsRange>
                <c15:f>Sheet1!$E$2:$E$150</c15:f>
                <c15:dlblRangeCache>
                  <c:ptCount val="149"/>
                  <c:pt idx="0">
                    <c:v>Gillette</c:v>
                  </c:pt>
                  <c:pt idx="1">
                    <c:v>Harry's</c:v>
                  </c:pt>
                  <c:pt idx="2">
                    <c:v>Schick</c:v>
                  </c:pt>
                  <c:pt idx="3">
                    <c:v>Gillette</c:v>
                  </c:pt>
                  <c:pt idx="4">
                    <c:v>Harry's</c:v>
                  </c:pt>
                  <c:pt idx="5">
                    <c:v>Bic</c:v>
                  </c:pt>
                  <c:pt idx="6">
                    <c:v>Dollar Shave Club</c:v>
                  </c:pt>
                  <c:pt idx="7">
                    <c:v>Van Der Hagen</c:v>
                  </c:pt>
                  <c:pt idx="8">
                    <c:v>Comfort 3</c:v>
                  </c:pt>
                  <c:pt idx="9">
                    <c:v>Equate</c:v>
                  </c:pt>
                  <c:pt idx="10">
                    <c:v>Schick</c:v>
                  </c:pt>
                </c15:dlblRangeCache>
              </c15:datalabelsRange>
            </c:ext>
            <c:ext xmlns:c16="http://schemas.microsoft.com/office/drawing/2014/chart" uri="{C3380CC4-5D6E-409C-BE32-E72D297353CC}">
              <c16:uniqueId val="{00000026-26FB-4B52-8D72-D56D618E8EAF}"/>
            </c:ext>
          </c:extLst>
        </c:ser>
        <c:dLbls>
          <c:dLblPos val="ctr"/>
          <c:showLegendKey val="0"/>
          <c:showVal val="1"/>
          <c:showCatName val="0"/>
          <c:showSerName val="0"/>
          <c:showPercent val="0"/>
          <c:showBubbleSize val="0"/>
        </c:dLbls>
        <c:bubbleScale val="75"/>
        <c:showNegBubbles val="0"/>
        <c:axId val="804121775"/>
        <c:axId val="804116783"/>
      </c:bubbleChart>
      <c:valAx>
        <c:axId val="804121775"/>
        <c:scaling>
          <c:orientation val="minMax"/>
          <c:max val="4"/>
          <c:min val="0"/>
        </c:scaling>
        <c:delete val="0"/>
        <c:axPos val="b"/>
        <c:numFmt formatCode="0%" sourceLinked="0"/>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16783"/>
        <c:crosses val="autoZero"/>
        <c:crossBetween val="midCat"/>
        <c:minorUnit val="0.1"/>
      </c:valAx>
      <c:valAx>
        <c:axId val="804116783"/>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en-US" sz="800" dirty="0">
                    <a:solidFill>
                      <a:schemeClr val="tx1"/>
                    </a:solidFill>
                    <a:latin typeface="Nexa Bold" panose="00000800000000000000" pitchFamily="2" charset="0"/>
                  </a:rPr>
                  <a:t>Averag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Valu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uplift</a:t>
                </a:r>
                <a:endParaRPr lang="en-CH" sz="800" dirty="0">
                  <a:solidFill>
                    <a:schemeClr val="tx1"/>
                  </a:solidFill>
                  <a:latin typeface="Nexa Bold" panose="00000800000000000000" pitchFamily="2" charset="0"/>
                </a:endParaRPr>
              </a:p>
            </c:rich>
          </c:tx>
          <c:layout>
            <c:manualLayout>
              <c:xMode val="edge"/>
              <c:yMode val="edge"/>
              <c:x val="2.0811111111111117E-3"/>
              <c:y val="0.10078557265656676"/>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CH"/>
            </a:p>
          </c:txPr>
        </c:title>
        <c:numFmt formatCode="0%" sourceLinked="0"/>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21775"/>
        <c:crosses val="autoZero"/>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c:v>
                </c:pt>
                <c:pt idx="1">
                  <c:v>Schick</c:v>
                </c:pt>
                <c:pt idx="2">
                  <c:v>Bic</c:v>
                </c:pt>
              </c:strCache>
            </c:strRef>
          </c:cat>
          <c:val>
            <c:numRef>
              <c:f>Sheet1!$B$2:$B$4</c:f>
              <c:numCache>
                <c:formatCode>General</c:formatCode>
                <c:ptCount val="3"/>
                <c:pt idx="0">
                  <c:v>1.1578368617405883</c:v>
                </c:pt>
                <c:pt idx="1">
                  <c:v>-4.9221830676291156E-2</c:v>
                </c:pt>
                <c:pt idx="2">
                  <c:v>1.4632480108613399</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3-3C16-4125-B97A-D0EBA9D0B1CF}"/>
              </c:ext>
            </c:extLst>
          </c:dPt>
          <c:dPt>
            <c:idx val="1"/>
            <c:invertIfNegative val="0"/>
            <c:bubble3D val="0"/>
            <c:extLst>
              <c:ext xmlns:c16="http://schemas.microsoft.com/office/drawing/2014/chart" uri="{C3380CC4-5D6E-409C-BE32-E72D297353CC}">
                <c16:uniqueId val="{00000001-615A-458F-B49B-C3992C8CBC6B}"/>
              </c:ext>
            </c:extLst>
          </c:dPt>
          <c:dPt>
            <c:idx val="2"/>
            <c:invertIfNegative val="0"/>
            <c:bubble3D val="0"/>
            <c:extLst>
              <c:ext xmlns:c16="http://schemas.microsoft.com/office/drawing/2014/chart" uri="{C3380CC4-5D6E-409C-BE32-E72D297353CC}">
                <c16:uniqueId val="{00000004-3C16-4125-B97A-D0EBA9D0B1CF}"/>
              </c:ext>
            </c:extLst>
          </c:dPt>
          <c:dPt>
            <c:idx val="3"/>
            <c:invertIfNegative val="0"/>
            <c:bubble3D val="0"/>
            <c:extLst>
              <c:ext xmlns:c16="http://schemas.microsoft.com/office/drawing/2014/chart" uri="{C3380CC4-5D6E-409C-BE32-E72D297353CC}">
                <c16:uniqueId val="{00000002-615A-458F-B49B-C3992C8CBC6B}"/>
              </c:ext>
            </c:extLst>
          </c:dPt>
          <c:dPt>
            <c:idx val="4"/>
            <c:invertIfNegative val="0"/>
            <c:bubble3D val="0"/>
            <c:extLst>
              <c:ext xmlns:c16="http://schemas.microsoft.com/office/drawing/2014/chart" uri="{C3380CC4-5D6E-409C-BE32-E72D297353CC}">
                <c16:uniqueId val="{00000002-3C16-4125-B97A-D0EBA9D0B1CF}"/>
              </c:ext>
            </c:extLst>
          </c:dPt>
          <c:dPt>
            <c:idx val="5"/>
            <c:invertIfNegative val="0"/>
            <c:bubble3D val="0"/>
            <c:spPr>
              <a:solidFill>
                <a:srgbClr val="FFBFBF"/>
              </a:solidFill>
            </c:spPr>
            <c:extLst>
              <c:ext xmlns:c16="http://schemas.microsoft.com/office/drawing/2014/chart" uri="{C3380CC4-5D6E-409C-BE32-E72D297353CC}">
                <c16:uniqueId val="{0000000B-9B05-4EC0-B6C5-883B60DE7730}"/>
              </c:ext>
            </c:extLst>
          </c:dPt>
          <c:dPt>
            <c:idx val="6"/>
            <c:invertIfNegative val="0"/>
            <c:bubble3D val="0"/>
            <c:extLst>
              <c:ext xmlns:c16="http://schemas.microsoft.com/office/drawing/2014/chart" uri="{C3380CC4-5D6E-409C-BE32-E72D297353CC}">
                <c16:uniqueId val="{0000000D-9B05-4EC0-B6C5-883B60DE7730}"/>
              </c:ext>
            </c:extLst>
          </c:dPt>
          <c:dPt>
            <c:idx val="7"/>
            <c:invertIfNegative val="0"/>
            <c:bubble3D val="0"/>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dLbl>
              <c:idx val="7"/>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B05-4EC0-B6C5-883B60DE7730}"/>
                </c:ext>
              </c:extLst>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c:v>
                </c:pt>
                <c:pt idx="1">
                  <c:v>Schick</c:v>
                </c:pt>
                <c:pt idx="2">
                  <c:v>Bic</c:v>
                </c:pt>
                <c:pt idx="3">
                  <c:v>Dollar Shave Club</c:v>
                </c:pt>
                <c:pt idx="4">
                  <c:v>Comfort 3</c:v>
                </c:pt>
                <c:pt idx="5">
                  <c:v>Harry's</c:v>
                </c:pt>
                <c:pt idx="6">
                  <c:v>Equate</c:v>
                </c:pt>
                <c:pt idx="7">
                  <c:v>Van Der Hagen</c:v>
                </c:pt>
              </c:strCache>
            </c:strRef>
          </c:cat>
          <c:val>
            <c:numRef>
              <c:f>Sheet1!$B$2:$B$9</c:f>
              <c:numCache>
                <c:formatCode>General</c:formatCode>
                <c:ptCount val="8"/>
                <c:pt idx="0">
                  <c:v>1</c:v>
                </c:pt>
                <c:pt idx="1">
                  <c:v>0.42900000000000005</c:v>
                </c:pt>
                <c:pt idx="2">
                  <c:v>8.6999999999999966E-2</c:v>
                </c:pt>
                <c:pt idx="3">
                  <c:v>0.55600000000000005</c:v>
                </c:pt>
                <c:pt idx="4">
                  <c:v>6.5</c:v>
                </c:pt>
                <c:pt idx="5">
                  <c:v>-0.66700000000000004</c:v>
                </c:pt>
                <c:pt idx="6">
                  <c:v>0.66700000000000004</c:v>
                </c:pt>
                <c:pt idx="7">
                  <c:v>0</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2-B1F3-4B1C-B6BD-D7555A955EE3}"/>
              </c:ext>
            </c:extLst>
          </c:dPt>
          <c:dPt>
            <c:idx val="1"/>
            <c:invertIfNegative val="0"/>
            <c:bubble3D val="0"/>
            <c:extLst>
              <c:ext xmlns:c16="http://schemas.microsoft.com/office/drawing/2014/chart" uri="{C3380CC4-5D6E-409C-BE32-E72D297353CC}">
                <c16:uniqueId val="{00000000-1D88-4E66-AA3A-770CA96ED1E8}"/>
              </c:ext>
            </c:extLst>
          </c:dPt>
          <c:dPt>
            <c:idx val="2"/>
            <c:invertIfNegative val="0"/>
            <c:bubble3D val="0"/>
            <c:extLst>
              <c:ext xmlns:c16="http://schemas.microsoft.com/office/drawing/2014/chart" uri="{C3380CC4-5D6E-409C-BE32-E72D297353CC}">
                <c16:uniqueId val="{00000003-B1F3-4B1C-B6BD-D7555A955EE3}"/>
              </c:ext>
            </c:extLst>
          </c:dPt>
          <c:dPt>
            <c:idx val="3"/>
            <c:invertIfNegative val="0"/>
            <c:bubble3D val="0"/>
            <c:spPr>
              <a:solidFill>
                <a:srgbClr val="FFBFBF"/>
              </a:solidFill>
            </c:spPr>
            <c:extLst>
              <c:ext xmlns:c16="http://schemas.microsoft.com/office/drawing/2014/chart" uri="{C3380CC4-5D6E-409C-BE32-E72D297353CC}">
                <c16:uniqueId val="{00000001-1D88-4E66-AA3A-770CA96ED1E8}"/>
              </c:ext>
            </c:extLst>
          </c:dPt>
          <c:dPt>
            <c:idx val="4"/>
            <c:invertIfNegative val="0"/>
            <c:bubble3D val="0"/>
            <c:extLst>
              <c:ext xmlns:c16="http://schemas.microsoft.com/office/drawing/2014/chart" uri="{C3380CC4-5D6E-409C-BE32-E72D297353CC}">
                <c16:uniqueId val="{00000004-B1F3-4B1C-B6BD-D7555A955EE3}"/>
              </c:ext>
            </c:extLst>
          </c:dPt>
          <c:dPt>
            <c:idx val="5"/>
            <c:invertIfNegative val="0"/>
            <c:bubble3D val="0"/>
            <c:spPr>
              <a:solidFill>
                <a:srgbClr val="FFBFBF"/>
              </a:solidFill>
            </c:spPr>
            <c:extLst>
              <c:ext xmlns:c16="http://schemas.microsoft.com/office/drawing/2014/chart" uri="{C3380CC4-5D6E-409C-BE32-E72D297353CC}">
                <c16:uniqueId val="{0000000B-6D8A-4B36-B874-4E9C8B692C25}"/>
              </c:ext>
            </c:extLst>
          </c:dPt>
          <c:dPt>
            <c:idx val="6"/>
            <c:invertIfNegative val="0"/>
            <c:bubble3D val="0"/>
            <c:spPr>
              <a:solidFill>
                <a:srgbClr val="FFBFBF"/>
              </a:solidFill>
            </c:spPr>
            <c:extLst>
              <c:ext xmlns:c16="http://schemas.microsoft.com/office/drawing/2014/chart" uri="{C3380CC4-5D6E-409C-BE32-E72D297353CC}">
                <c16:uniqueId val="{0000000D-6D8A-4B36-B874-4E9C8B692C25}"/>
              </c:ext>
            </c:extLst>
          </c:dPt>
          <c:dPt>
            <c:idx val="7"/>
            <c:invertIfNegative val="0"/>
            <c:bubble3D val="0"/>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dLbl>
              <c:idx val="4"/>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B1F3-4B1C-B6BD-D7555A955EE3}"/>
                </c:ext>
              </c:extLst>
            </c:dLbl>
            <c:dLbl>
              <c:idx val="7"/>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6D8A-4B36-B874-4E9C8B692C25}"/>
                </c:ext>
              </c:extLst>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Gillette</c:v>
                </c:pt>
                <c:pt idx="1">
                  <c:v>Schick</c:v>
                </c:pt>
                <c:pt idx="2">
                  <c:v>Bic</c:v>
                </c:pt>
                <c:pt idx="3">
                  <c:v>Dollar Shave Club</c:v>
                </c:pt>
                <c:pt idx="4">
                  <c:v>Comfort 3</c:v>
                </c:pt>
                <c:pt idx="5">
                  <c:v>Harry's</c:v>
                </c:pt>
                <c:pt idx="6">
                  <c:v>Equate</c:v>
                </c:pt>
                <c:pt idx="7">
                  <c:v>Van Der Hagen</c:v>
                </c:pt>
              </c:strCache>
            </c:strRef>
          </c:cat>
          <c:val>
            <c:numRef>
              <c:f>Sheet1!$B$2:$B$9</c:f>
              <c:numCache>
                <c:formatCode>General</c:formatCode>
                <c:ptCount val="8"/>
                <c:pt idx="0">
                  <c:v>2.908856202382113</c:v>
                </c:pt>
                <c:pt idx="1">
                  <c:v>7.0937213362147808</c:v>
                </c:pt>
                <c:pt idx="2">
                  <c:v>1.0176006173480499</c:v>
                </c:pt>
                <c:pt idx="3">
                  <c:v>-0.56487203090736471</c:v>
                </c:pt>
                <c:pt idx="4">
                  <c:v>0</c:v>
                </c:pt>
                <c:pt idx="5">
                  <c:v>-1</c:v>
                </c:pt>
                <c:pt idx="6">
                  <c:v>-0.85207333376905714</c:v>
                </c:pt>
                <c:pt idx="7">
                  <c:v>0</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3-3C16-4125-B97A-D0EBA9D0B1CF}"/>
              </c:ext>
            </c:extLst>
          </c:dPt>
          <c:dPt>
            <c:idx val="1"/>
            <c:invertIfNegative val="0"/>
            <c:bubble3D val="0"/>
            <c:spPr>
              <a:solidFill>
                <a:srgbClr val="FFBFBF"/>
              </a:solidFill>
            </c:spPr>
            <c:extLst>
              <c:ext xmlns:c16="http://schemas.microsoft.com/office/drawing/2014/chart" uri="{C3380CC4-5D6E-409C-BE32-E72D297353CC}">
                <c16:uniqueId val="{00000001-615A-458F-B49B-C3992C8CBC6B}"/>
              </c:ext>
            </c:extLst>
          </c:dPt>
          <c:dPt>
            <c:idx val="2"/>
            <c:invertIfNegative val="0"/>
            <c:bubble3D val="0"/>
            <c:extLst>
              <c:ext xmlns:c16="http://schemas.microsoft.com/office/drawing/2014/chart" uri="{C3380CC4-5D6E-409C-BE32-E72D297353CC}">
                <c16:uniqueId val="{00000004-3C16-4125-B97A-D0EBA9D0B1CF}"/>
              </c:ext>
            </c:extLst>
          </c:dPt>
          <c:dPt>
            <c:idx val="3"/>
            <c:invertIfNegative val="0"/>
            <c:bubble3D val="0"/>
            <c:spPr>
              <a:solidFill>
                <a:srgbClr val="FF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Schick</c:v>
                </c:pt>
                <c:pt idx="1">
                  <c:v>Bic</c:v>
                </c:pt>
                <c:pt idx="2">
                  <c:v>Equate</c:v>
                </c:pt>
                <c:pt idx="3">
                  <c:v>Gillette</c:v>
                </c:pt>
              </c:strCache>
            </c:strRef>
          </c:cat>
          <c:val>
            <c:numRef>
              <c:f>Sheet1!$B$2:$B$5</c:f>
              <c:numCache>
                <c:formatCode>General</c:formatCode>
                <c:ptCount val="4"/>
                <c:pt idx="0">
                  <c:v>-0.621</c:v>
                </c:pt>
                <c:pt idx="1">
                  <c:v>-0.25</c:v>
                </c:pt>
                <c:pt idx="2">
                  <c:v>5</c:v>
                </c:pt>
                <c:pt idx="3">
                  <c:v>-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spPr>
              <a:solidFill>
                <a:srgbClr val="FFBFBF"/>
              </a:solidFill>
            </c:spPr>
            <c:extLst>
              <c:ext xmlns:c16="http://schemas.microsoft.com/office/drawing/2014/chart" uri="{C3380CC4-5D6E-409C-BE32-E72D297353CC}">
                <c16:uniqueId val="{00000003-B1F3-4B1C-B6BD-D7555A955EE3}"/>
              </c:ext>
            </c:extLst>
          </c:dPt>
          <c:dPt>
            <c:idx val="3"/>
            <c:invertIfNegative val="0"/>
            <c:bubble3D val="0"/>
            <c:spPr>
              <a:solidFill>
                <a:srgbClr val="FF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Schick</c:v>
                </c:pt>
                <c:pt idx="1">
                  <c:v>Bic</c:v>
                </c:pt>
                <c:pt idx="2">
                  <c:v>Equate</c:v>
                </c:pt>
                <c:pt idx="3">
                  <c:v>Gillette</c:v>
                </c:pt>
              </c:strCache>
            </c:strRef>
          </c:cat>
          <c:val>
            <c:numRef>
              <c:f>Sheet1!$B$2:$B$5</c:f>
              <c:numCache>
                <c:formatCode>General</c:formatCode>
                <c:ptCount val="4"/>
                <c:pt idx="0">
                  <c:v>57.135856754244777</c:v>
                </c:pt>
                <c:pt idx="1">
                  <c:v>-3.2647624465476346</c:v>
                </c:pt>
                <c:pt idx="2">
                  <c:v>-1.563559470331223</c:v>
                </c:pt>
                <c:pt idx="3">
                  <c:v>-1.3241112967135764</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3-3C16-4125-B97A-D0EBA9D0B1CF}"/>
              </c:ext>
            </c:extLst>
          </c:dPt>
          <c:dPt>
            <c:idx val="1"/>
            <c:invertIfNegative val="0"/>
            <c:bubble3D val="0"/>
            <c:extLst>
              <c:ext xmlns:c16="http://schemas.microsoft.com/office/drawing/2014/chart" uri="{C3380CC4-5D6E-409C-BE32-E72D297353CC}">
                <c16:uniqueId val="{00000001-615A-458F-B49B-C3992C8CBC6B}"/>
              </c:ext>
            </c:extLst>
          </c:dPt>
          <c:dPt>
            <c:idx val="2"/>
            <c:invertIfNegative val="0"/>
            <c:bubble3D val="0"/>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c:v>
                </c:pt>
                <c:pt idx="1">
                  <c:v>Schick</c:v>
                </c:pt>
                <c:pt idx="2">
                  <c:v>Bic</c:v>
                </c:pt>
              </c:strCache>
            </c:strRef>
          </c:cat>
          <c:val>
            <c:numRef>
              <c:f>Sheet1!$B$2:$B$4</c:f>
              <c:numCache>
                <c:formatCode>General</c:formatCode>
                <c:ptCount val="3"/>
                <c:pt idx="0">
                  <c:v>0.35000000000000009</c:v>
                </c:pt>
                <c:pt idx="1">
                  <c:v>0.38100000000000001</c:v>
                </c:pt>
                <c:pt idx="2">
                  <c:v>0.1519999999999999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c:v>
                </c:pt>
                <c:pt idx="1">
                  <c:v>Schick</c:v>
                </c:pt>
                <c:pt idx="2">
                  <c:v>Bic</c:v>
                </c:pt>
              </c:strCache>
            </c:strRef>
          </c:cat>
          <c:val>
            <c:numRef>
              <c:f>Sheet1!$B$2:$B$4</c:f>
              <c:numCache>
                <c:formatCode>General</c:formatCode>
                <c:ptCount val="3"/>
                <c:pt idx="0">
                  <c:v>1.1578368617405883</c:v>
                </c:pt>
                <c:pt idx="1">
                  <c:v>-4.9221830676291156E-2</c:v>
                </c:pt>
                <c:pt idx="2">
                  <c:v>1.4632480108613399</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3-3C16-4125-B97A-D0EBA9D0B1CF}"/>
              </c:ext>
            </c:extLst>
          </c:dPt>
          <c:dPt>
            <c:idx val="1"/>
            <c:invertIfNegative val="0"/>
            <c:bubble3D val="0"/>
            <c:spPr>
              <a:solidFill>
                <a:srgbClr val="FFBFBF"/>
              </a:solidFill>
            </c:spPr>
            <c:extLst>
              <c:ext xmlns:c16="http://schemas.microsoft.com/office/drawing/2014/chart" uri="{C3380CC4-5D6E-409C-BE32-E72D297353CC}">
                <c16:uniqueId val="{00000001-615A-458F-B49B-C3992C8CBC6B}"/>
              </c:ext>
            </c:extLst>
          </c:dPt>
          <c:dPt>
            <c:idx val="2"/>
            <c:invertIfNegative val="0"/>
            <c:bubble3D val="0"/>
            <c:extLst>
              <c:ext xmlns:c16="http://schemas.microsoft.com/office/drawing/2014/chart" uri="{C3380CC4-5D6E-409C-BE32-E72D297353CC}">
                <c16:uniqueId val="{00000004-3C16-4125-B97A-D0EBA9D0B1CF}"/>
              </c:ext>
            </c:extLst>
          </c:dPt>
          <c:dPt>
            <c:idx val="3"/>
            <c:invertIfNegative val="0"/>
            <c:bubble3D val="0"/>
            <c:spPr>
              <a:solidFill>
                <a:srgbClr val="FF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Schick</c:v>
                </c:pt>
                <c:pt idx="1">
                  <c:v>Bic</c:v>
                </c:pt>
                <c:pt idx="2">
                  <c:v>Equate</c:v>
                </c:pt>
                <c:pt idx="3">
                  <c:v>Gillette</c:v>
                </c:pt>
              </c:strCache>
            </c:strRef>
          </c:cat>
          <c:val>
            <c:numRef>
              <c:f>Sheet1!$B$2:$B$5</c:f>
              <c:numCache>
                <c:formatCode>General</c:formatCode>
                <c:ptCount val="4"/>
                <c:pt idx="0">
                  <c:v>-0.621</c:v>
                </c:pt>
                <c:pt idx="1">
                  <c:v>-0.25</c:v>
                </c:pt>
                <c:pt idx="2">
                  <c:v>5</c:v>
                </c:pt>
                <c:pt idx="3">
                  <c:v>-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spPr>
              <a:solidFill>
                <a:srgbClr val="FFBFBF"/>
              </a:solidFill>
            </c:spPr>
            <c:extLst>
              <c:ext xmlns:c16="http://schemas.microsoft.com/office/drawing/2014/chart" uri="{C3380CC4-5D6E-409C-BE32-E72D297353CC}">
                <c16:uniqueId val="{00000003-B1F3-4B1C-B6BD-D7555A955EE3}"/>
              </c:ext>
            </c:extLst>
          </c:dPt>
          <c:dPt>
            <c:idx val="3"/>
            <c:invertIfNegative val="0"/>
            <c:bubble3D val="0"/>
            <c:spPr>
              <a:solidFill>
                <a:srgbClr val="FF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Schick</c:v>
                </c:pt>
                <c:pt idx="1">
                  <c:v>Bic</c:v>
                </c:pt>
                <c:pt idx="2">
                  <c:v>Equate</c:v>
                </c:pt>
                <c:pt idx="3">
                  <c:v>Gillette</c:v>
                </c:pt>
              </c:strCache>
            </c:strRef>
          </c:cat>
          <c:val>
            <c:numRef>
              <c:f>Sheet1!$B$2:$B$5</c:f>
              <c:numCache>
                <c:formatCode>General</c:formatCode>
                <c:ptCount val="4"/>
                <c:pt idx="0">
                  <c:v>57.135856754244777</c:v>
                </c:pt>
                <c:pt idx="1">
                  <c:v>-3.2647624465476346</c:v>
                </c:pt>
                <c:pt idx="2">
                  <c:v>-1.563559470331223</c:v>
                </c:pt>
                <c:pt idx="3">
                  <c:v>-1.3241112967135764</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3-3C16-4125-B97A-D0EBA9D0B1CF}"/>
              </c:ext>
            </c:extLst>
          </c:dPt>
          <c:dPt>
            <c:idx val="1"/>
            <c:invertIfNegative val="0"/>
            <c:bubble3D val="0"/>
            <c:spPr>
              <a:solidFill>
                <a:srgbClr val="FFBFBF"/>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c:v>
                </c:pt>
                <c:pt idx="1">
                  <c:v>Harry's</c:v>
                </c:pt>
              </c:strCache>
            </c:strRef>
          </c:cat>
          <c:val>
            <c:numRef>
              <c:f>Sheet1!$B$2:$B$3</c:f>
              <c:numCache>
                <c:formatCode>General</c:formatCode>
                <c:ptCount val="2"/>
                <c:pt idx="0">
                  <c:v>5.8000000000000052E-2</c:v>
                </c:pt>
                <c:pt idx="1">
                  <c:v>-0.52</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64864197530864"/>
          <c:y val="0.12152940918360107"/>
          <c:w val="0.83974691358024689"/>
          <c:h val="0.72254306602702423"/>
        </c:manualLayout>
      </c:layout>
      <c:bubbleChart>
        <c:varyColors val="0"/>
        <c:ser>
          <c:idx val="0"/>
          <c:order val="0"/>
          <c:tx>
            <c:strRef>
              <c:f>Sheet1!$B$1</c:f>
              <c:strCache>
                <c:ptCount val="1"/>
                <c:pt idx="0">
                  <c:v>Average Value Uplift</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26FB-4B52-8D72-D56D618E8EAF}"/>
              </c:ext>
            </c:extLst>
          </c:dPt>
          <c:dPt>
            <c:idx val="1"/>
            <c:invertIfNegative val="0"/>
            <c:bubble3D val="0"/>
            <c:spPr>
              <a:solidFill>
                <a:srgbClr val="E6E5E5"/>
              </a:solidFill>
              <a:ln>
                <a:noFill/>
              </a:ln>
              <a:effectLst/>
            </c:spPr>
            <c:extLst>
              <c:ext xmlns:c16="http://schemas.microsoft.com/office/drawing/2014/chart" uri="{C3380CC4-5D6E-409C-BE32-E72D297353CC}">
                <c16:uniqueId val="{00000003-26FB-4B52-8D72-D56D618E8EAF}"/>
              </c:ext>
            </c:extLst>
          </c:dPt>
          <c:dPt>
            <c:idx val="2"/>
            <c:invertIfNegative val="0"/>
            <c:bubble3D val="0"/>
            <c:spPr>
              <a:solidFill>
                <a:srgbClr val="E6E5E5"/>
              </a:solidFill>
              <a:ln>
                <a:noFill/>
              </a:ln>
              <a:effectLst/>
            </c:spPr>
            <c:extLst>
              <c:ext xmlns:c16="http://schemas.microsoft.com/office/drawing/2014/chart" uri="{C3380CC4-5D6E-409C-BE32-E72D297353CC}">
                <c16:uniqueId val="{00000005-26FB-4B52-8D72-D56D618E8EAF}"/>
              </c:ext>
            </c:extLst>
          </c:dPt>
          <c:dPt>
            <c:idx val="3"/>
            <c:invertIfNegative val="0"/>
            <c:bubble3D val="0"/>
            <c:spPr>
              <a:solidFill>
                <a:srgbClr val="E6E5E5"/>
              </a:solidFill>
              <a:ln>
                <a:noFill/>
              </a:ln>
              <a:effectLst/>
            </c:spPr>
            <c:extLst>
              <c:ext xmlns:c16="http://schemas.microsoft.com/office/drawing/2014/chart" uri="{C3380CC4-5D6E-409C-BE32-E72D297353CC}">
                <c16:uniqueId val="{00000007-26FB-4B52-8D72-D56D618E8EAF}"/>
              </c:ext>
            </c:extLst>
          </c:dPt>
          <c:dPt>
            <c:idx val="4"/>
            <c:invertIfNegative val="0"/>
            <c:bubble3D val="0"/>
            <c:spPr>
              <a:solidFill>
                <a:srgbClr val="E6E5E5"/>
              </a:solidFill>
              <a:ln>
                <a:noFill/>
              </a:ln>
              <a:effectLst/>
            </c:spPr>
            <c:extLst>
              <c:ext xmlns:c16="http://schemas.microsoft.com/office/drawing/2014/chart" uri="{C3380CC4-5D6E-409C-BE32-E72D297353CC}">
                <c16:uniqueId val="{00000009-26FB-4B52-8D72-D56D618E8EAF}"/>
              </c:ext>
            </c:extLst>
          </c:dPt>
          <c:dPt>
            <c:idx val="5"/>
            <c:invertIfNegative val="0"/>
            <c:bubble3D val="0"/>
            <c:spPr>
              <a:solidFill>
                <a:srgbClr val="E6E5E5"/>
              </a:solidFill>
              <a:ln>
                <a:noFill/>
              </a:ln>
              <a:effectLst/>
            </c:spPr>
            <c:extLst>
              <c:ext xmlns:c16="http://schemas.microsoft.com/office/drawing/2014/chart" uri="{C3380CC4-5D6E-409C-BE32-E72D297353CC}">
                <c16:uniqueId val="{0000000B-26FB-4B52-8D72-D56D618E8EAF}"/>
              </c:ext>
            </c:extLst>
          </c:dPt>
          <c:dPt>
            <c:idx val="6"/>
            <c:invertIfNegative val="0"/>
            <c:bubble3D val="0"/>
            <c:spPr>
              <a:solidFill>
                <a:srgbClr val="E6E5E5"/>
              </a:solidFill>
              <a:ln>
                <a:noFill/>
              </a:ln>
              <a:effectLst/>
            </c:spPr>
            <c:extLst>
              <c:ext xmlns:c16="http://schemas.microsoft.com/office/drawing/2014/chart" uri="{C3380CC4-5D6E-409C-BE32-E72D297353CC}">
                <c16:uniqueId val="{0000000D-26FB-4B52-8D72-D56D618E8EAF}"/>
              </c:ext>
            </c:extLst>
          </c:dPt>
          <c:dPt>
            <c:idx val="7"/>
            <c:invertIfNegative val="0"/>
            <c:bubble3D val="0"/>
            <c:spPr>
              <a:solidFill>
                <a:srgbClr val="E6E5E5"/>
              </a:solidFill>
              <a:ln>
                <a:noFill/>
              </a:ln>
              <a:effectLst/>
            </c:spPr>
            <c:extLst>
              <c:ext xmlns:c16="http://schemas.microsoft.com/office/drawing/2014/chart" uri="{C3380CC4-5D6E-409C-BE32-E72D297353CC}">
                <c16:uniqueId val="{0000000F-26FB-4B52-8D72-D56D618E8EAF}"/>
              </c:ext>
            </c:extLst>
          </c:dPt>
          <c:dPt>
            <c:idx val="8"/>
            <c:invertIfNegative val="0"/>
            <c:bubble3D val="0"/>
            <c:spPr>
              <a:solidFill>
                <a:srgbClr val="7ECAC4"/>
              </a:solidFill>
              <a:ln>
                <a:noFill/>
              </a:ln>
              <a:effectLst/>
            </c:spPr>
            <c:extLst>
              <c:ext xmlns:c16="http://schemas.microsoft.com/office/drawing/2014/chart" uri="{C3380CC4-5D6E-409C-BE32-E72D297353CC}">
                <c16:uniqueId val="{00000011-26FB-4B52-8D72-D56D618E8EAF}"/>
              </c:ext>
            </c:extLst>
          </c:dPt>
          <c:dPt>
            <c:idx val="9"/>
            <c:invertIfNegative val="1"/>
            <c:bubble3D val="0"/>
            <c:spPr>
              <a:solidFill>
                <a:srgbClr val="7ECAC4"/>
              </a:solidFill>
              <a:ln>
                <a:noFill/>
              </a:ln>
              <a:effectLst/>
            </c:spPr>
            <c:extLst>
              <c:ext xmlns:c16="http://schemas.microsoft.com/office/drawing/2014/chart" uri="{C3380CC4-5D6E-409C-BE32-E72D297353CC}">
                <c16:uniqueId val="{00000000-7B2D-4A32-96D2-9C641BCDE5CC}"/>
              </c:ext>
            </c:extLst>
          </c:dPt>
          <c:dPt>
            <c:idx val="11"/>
            <c:invertIfNegative val="0"/>
            <c:bubble3D val="0"/>
            <c:spPr>
              <a:solidFill>
                <a:schemeClr val="bg2"/>
              </a:solidFill>
              <a:ln>
                <a:noFill/>
              </a:ln>
              <a:effectLst/>
            </c:spPr>
            <c:extLst>
              <c:ext xmlns:c16="http://schemas.microsoft.com/office/drawing/2014/chart" uri="{C3380CC4-5D6E-409C-BE32-E72D297353CC}">
                <c16:uniqueId val="{00000013-26FB-4B52-8D72-D56D618E8EAF}"/>
              </c:ext>
            </c:extLst>
          </c:dPt>
          <c:dPt>
            <c:idx val="12"/>
            <c:invertIfNegative val="0"/>
            <c:bubble3D val="0"/>
            <c:spPr>
              <a:solidFill>
                <a:schemeClr val="bg2"/>
              </a:solidFill>
              <a:ln>
                <a:noFill/>
              </a:ln>
              <a:effectLst/>
            </c:spPr>
            <c:extLst>
              <c:ext xmlns:c16="http://schemas.microsoft.com/office/drawing/2014/chart" uri="{C3380CC4-5D6E-409C-BE32-E72D297353CC}">
                <c16:uniqueId val="{00000002-7B2D-4A32-96D2-9C641BCDE5CC}"/>
              </c:ext>
            </c:extLst>
          </c:dPt>
          <c:dPt>
            <c:idx val="13"/>
            <c:invertIfNegative val="0"/>
            <c:bubble3D val="0"/>
            <c:extLst>
              <c:ext xmlns:c16="http://schemas.microsoft.com/office/drawing/2014/chart" uri="{C3380CC4-5D6E-409C-BE32-E72D297353CC}">
                <c16:uniqueId val="{00000017-26FB-4B52-8D72-D56D618E8EAF}"/>
              </c:ext>
            </c:extLst>
          </c:dPt>
          <c:dPt>
            <c:idx val="14"/>
            <c:invertIfNegative val="0"/>
            <c:bubble3D val="0"/>
            <c:spPr>
              <a:solidFill>
                <a:schemeClr val="bg2"/>
              </a:solidFill>
              <a:ln>
                <a:noFill/>
              </a:ln>
              <a:effectLst/>
            </c:spPr>
            <c:extLst>
              <c:ext xmlns:c16="http://schemas.microsoft.com/office/drawing/2014/chart" uri="{C3380CC4-5D6E-409C-BE32-E72D297353CC}">
                <c16:uniqueId val="{00000019-26FB-4B52-8D72-D56D618E8EAF}"/>
              </c:ext>
            </c:extLst>
          </c:dPt>
          <c:dPt>
            <c:idx val="15"/>
            <c:invertIfNegative val="0"/>
            <c:bubble3D val="0"/>
            <c:extLst>
              <c:ext xmlns:c16="http://schemas.microsoft.com/office/drawing/2014/chart" uri="{C3380CC4-5D6E-409C-BE32-E72D297353CC}">
                <c16:uniqueId val="{0000001C-26FB-4B52-8D72-D56D618E8EAF}"/>
              </c:ext>
            </c:extLst>
          </c:dPt>
          <c:dPt>
            <c:idx val="19"/>
            <c:invertIfNegative val="0"/>
            <c:bubble3D val="0"/>
            <c:spPr>
              <a:solidFill>
                <a:srgbClr val="7ECAC4"/>
              </a:solidFill>
              <a:ln>
                <a:noFill/>
              </a:ln>
              <a:effectLst/>
            </c:spPr>
            <c:extLst>
              <c:ext xmlns:c16="http://schemas.microsoft.com/office/drawing/2014/chart" uri="{C3380CC4-5D6E-409C-BE32-E72D297353CC}">
                <c16:uniqueId val="{00000002-0A6E-4C83-9A06-9C3309B2855E}"/>
              </c:ext>
            </c:extLst>
          </c:dPt>
          <c:dPt>
            <c:idx val="24"/>
            <c:invertIfNegative val="0"/>
            <c:bubble3D val="0"/>
            <c:spPr>
              <a:solidFill>
                <a:schemeClr val="bg2"/>
              </a:solidFill>
              <a:ln>
                <a:noFill/>
              </a:ln>
              <a:effectLst/>
            </c:spPr>
            <c:extLst>
              <c:ext xmlns:c16="http://schemas.microsoft.com/office/drawing/2014/chart" uri="{C3380CC4-5D6E-409C-BE32-E72D297353CC}">
                <c16:uniqueId val="{00000005-0A6E-4C83-9A06-9C3309B2855E}"/>
              </c:ext>
            </c:extLst>
          </c:dPt>
          <c:dPt>
            <c:idx val="29"/>
            <c:invertIfNegative val="0"/>
            <c:bubble3D val="0"/>
            <c:extLst>
              <c:ext xmlns:c16="http://schemas.microsoft.com/office/drawing/2014/chart" uri="{C3380CC4-5D6E-409C-BE32-E72D297353CC}">
                <c16:uniqueId val="{00000003-8F47-486F-B734-6012CEA493B3}"/>
              </c:ext>
            </c:extLst>
          </c:dPt>
          <c:dPt>
            <c:idx val="31"/>
            <c:invertIfNegative val="0"/>
            <c:bubble3D val="0"/>
            <c:spPr>
              <a:solidFill>
                <a:schemeClr val="accent2"/>
              </a:solidFill>
              <a:ln>
                <a:noFill/>
              </a:ln>
              <a:effectLst/>
            </c:spPr>
            <c:extLst>
              <c:ext xmlns:c16="http://schemas.microsoft.com/office/drawing/2014/chart" uri="{C3380CC4-5D6E-409C-BE32-E72D297353CC}">
                <c16:uniqueId val="{00000000-4D12-44DE-B956-CABCB15EBC04}"/>
              </c:ext>
            </c:extLst>
          </c:dPt>
          <c:dPt>
            <c:idx val="33"/>
            <c:invertIfNegative val="0"/>
            <c:bubble3D val="0"/>
            <c:spPr>
              <a:solidFill>
                <a:schemeClr val="accent2"/>
              </a:solidFill>
              <a:ln>
                <a:noFill/>
              </a:ln>
              <a:effectLst/>
            </c:spPr>
            <c:extLst>
              <c:ext xmlns:c16="http://schemas.microsoft.com/office/drawing/2014/chart" uri="{C3380CC4-5D6E-409C-BE32-E72D297353CC}">
                <c16:uniqueId val="{00000001-4D12-44DE-B956-CABCB15EBC04}"/>
              </c:ext>
            </c:extLst>
          </c:dPt>
          <c:dLbls>
            <c:dLbl>
              <c:idx val="0"/>
              <c:tx>
                <c:rich>
                  <a:bodyPr/>
                  <a:lstStyle/>
                  <a:p>
                    <a:fld id="{7B2A427E-E95D-4DCC-8037-D9D9CB7FB7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FB-4B52-8D72-D56D618E8EAF}"/>
                </c:ext>
              </c:extLst>
            </c:dLbl>
            <c:dLbl>
              <c:idx val="1"/>
              <c:tx>
                <c:rich>
                  <a:bodyPr/>
                  <a:lstStyle/>
                  <a:p>
                    <a:fld id="{D0990BC7-5F2F-4BA4-B329-C8389C2781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FB-4B52-8D72-D56D618E8EAF}"/>
                </c:ext>
              </c:extLst>
            </c:dLbl>
            <c:dLbl>
              <c:idx val="2"/>
              <c:tx>
                <c:rich>
                  <a:bodyPr/>
                  <a:lstStyle/>
                  <a:p>
                    <a:fld id="{39574D9D-F822-46CB-8648-1AF20619C0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26FB-4B52-8D72-D56D618E8EAF}"/>
                </c:ext>
              </c:extLst>
            </c:dLbl>
            <c:dLbl>
              <c:idx val="3"/>
              <c:tx>
                <c:rich>
                  <a:bodyPr/>
                  <a:lstStyle/>
                  <a:p>
                    <a:fld id="{1DD1E583-722A-4A42-A034-50FF1B3BB9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FB-4B52-8D72-D56D618E8EAF}"/>
                </c:ext>
              </c:extLst>
            </c:dLbl>
            <c:dLbl>
              <c:idx val="4"/>
              <c:tx>
                <c:rich>
                  <a:bodyPr/>
                  <a:lstStyle/>
                  <a:p>
                    <a:fld id="{C39B9609-C398-42B4-8A8A-F86AB778D3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FB-4B52-8D72-D56D618E8EAF}"/>
                </c:ext>
              </c:extLst>
            </c:dLbl>
            <c:dLbl>
              <c:idx val="5"/>
              <c:tx>
                <c:rich>
                  <a:bodyPr/>
                  <a:lstStyle/>
                  <a:p>
                    <a:fld id="{42C102E4-6977-47E5-A5F2-364866D9BA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26FB-4B52-8D72-D56D618E8EAF}"/>
                </c:ext>
              </c:extLst>
            </c:dLbl>
            <c:dLbl>
              <c:idx val="6"/>
              <c:tx>
                <c:rich>
                  <a:bodyPr/>
                  <a:lstStyle/>
                  <a:p>
                    <a:fld id="{72F13C1F-682A-4308-96D8-EA7F9FD5F8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26FB-4B52-8D72-D56D618E8EAF}"/>
                </c:ext>
              </c:extLst>
            </c:dLbl>
            <c:dLbl>
              <c:idx val="7"/>
              <c:tx>
                <c:rich>
                  <a:bodyPr/>
                  <a:lstStyle/>
                  <a:p>
                    <a:fld id="{1EBEC9DC-CB21-4B18-904C-1CC77B29F8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26FB-4B52-8D72-D56D618E8EAF}"/>
                </c:ext>
              </c:extLst>
            </c:dLbl>
            <c:dLbl>
              <c:idx val="8"/>
              <c:tx>
                <c:rich>
                  <a:bodyPr/>
                  <a:lstStyle/>
                  <a:p>
                    <a:fld id="{C769BC4C-28B9-40BD-952F-3373BDB7D0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26FB-4B52-8D72-D56D618E8EAF}"/>
                </c:ext>
              </c:extLst>
            </c:dLbl>
            <c:dLbl>
              <c:idx val="9"/>
              <c:tx>
                <c:rich>
                  <a:bodyPr/>
                  <a:lstStyle/>
                  <a:p>
                    <a:fld id="{3FE427F7-72B4-4863-9897-6570B17EC7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7B2D-4A32-96D2-9C641BCDE5CC}"/>
                </c:ext>
              </c:extLst>
            </c:dLbl>
            <c:dLbl>
              <c:idx val="10"/>
              <c:tx>
                <c:rich>
                  <a:bodyPr/>
                  <a:lstStyle/>
                  <a:p>
                    <a:fld id="{6B37D1B8-C637-437D-B0DD-93B698E7E4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7B2D-4A32-96D2-9C641BCDE5CC}"/>
                </c:ext>
              </c:extLst>
            </c:dLbl>
            <c:dLbl>
              <c:idx val="11"/>
              <c:tx>
                <c:rich>
                  <a:bodyPr/>
                  <a:lstStyle/>
                  <a:p>
                    <a:fld id="{89332A35-1BDB-48A0-B1E0-ED08DA5C30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26FB-4B52-8D72-D56D618E8EAF}"/>
                </c:ext>
              </c:extLst>
            </c:dLbl>
            <c:dLbl>
              <c:idx val="12"/>
              <c:tx>
                <c:rich>
                  <a:bodyPr/>
                  <a:lstStyle/>
                  <a:p>
                    <a:fld id="{34FC8520-B2B5-4483-BC11-7AA428E4F7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7B2D-4A32-96D2-9C641BCDE5CC}"/>
                </c:ext>
              </c:extLst>
            </c:dLbl>
            <c:dLbl>
              <c:idx val="13"/>
              <c:tx>
                <c:rich>
                  <a:bodyPr/>
                  <a:lstStyle/>
                  <a:p>
                    <a:fld id="{2C438B70-51A8-4251-9AF5-2D2B11DAF9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26FB-4B52-8D72-D56D618E8EAF}"/>
                </c:ext>
              </c:extLst>
            </c:dLbl>
            <c:dLbl>
              <c:idx val="14"/>
              <c:tx>
                <c:rich>
                  <a:bodyPr/>
                  <a:lstStyle/>
                  <a:p>
                    <a:fld id="{1E1B9B4E-053D-4BD8-AD45-C3F4C36EDE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26FB-4B52-8D72-D56D618E8EAF}"/>
                </c:ext>
              </c:extLst>
            </c:dLbl>
            <c:dLbl>
              <c:idx val="15"/>
              <c:tx>
                <c:rich>
                  <a:bodyPr/>
                  <a:lstStyle/>
                  <a:p>
                    <a:fld id="{4C52C629-B192-46CA-AC24-038FAA56C3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26FB-4B52-8D72-D56D618E8EAF}"/>
                </c:ext>
              </c:extLst>
            </c:dLbl>
            <c:dLbl>
              <c:idx val="16"/>
              <c:tx>
                <c:rich>
                  <a:bodyPr/>
                  <a:lstStyle/>
                  <a:p>
                    <a:fld id="{5A8FE23C-2377-454F-805D-90361D9C36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0A6E-4C83-9A06-9C3309B2855E}"/>
                </c:ext>
              </c:extLst>
            </c:dLbl>
            <c:dLbl>
              <c:idx val="17"/>
              <c:tx>
                <c:rich>
                  <a:bodyPr/>
                  <a:lstStyle/>
                  <a:p>
                    <a:fld id="{FC92069E-5BAE-445A-8075-9908F8D700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0A6E-4C83-9A06-9C3309B2855E}"/>
                </c:ext>
              </c:extLst>
            </c:dLbl>
            <c:dLbl>
              <c:idx val="18"/>
              <c:tx>
                <c:rich>
                  <a:bodyPr/>
                  <a:lstStyle/>
                  <a:p>
                    <a:fld id="{F52F4385-21CC-4094-A4F9-366430F2E2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0A6E-4C83-9A06-9C3309B2855E}"/>
                </c:ext>
              </c:extLst>
            </c:dLbl>
            <c:dLbl>
              <c:idx val="19"/>
              <c:tx>
                <c:rich>
                  <a:bodyPr/>
                  <a:lstStyle/>
                  <a:p>
                    <a:fld id="{4DE4EBCC-5BB3-46F0-9265-037B06543D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0A6E-4C83-9A06-9C3309B2855E}"/>
                </c:ext>
              </c:extLst>
            </c:dLbl>
            <c:dLbl>
              <c:idx val="20"/>
              <c:tx>
                <c:rich>
                  <a:bodyPr/>
                  <a:lstStyle/>
                  <a:p>
                    <a:fld id="{84BA2AEE-BA29-4F0B-851B-CACBE7D35D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5AD-4BCF-9CB2-60EDA2D7DB42}"/>
                </c:ext>
              </c:extLst>
            </c:dLbl>
            <c:dLbl>
              <c:idx val="21"/>
              <c:tx>
                <c:rich>
                  <a:bodyPr/>
                  <a:lstStyle/>
                  <a:p>
                    <a:fld id="{6587C045-27BC-4FF7-A7D2-B3F09C99DA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5AD-4BCF-9CB2-60EDA2D7DB42}"/>
                </c:ext>
              </c:extLst>
            </c:dLbl>
            <c:dLbl>
              <c:idx val="22"/>
              <c:tx>
                <c:rich>
                  <a:bodyPr/>
                  <a:lstStyle/>
                  <a:p>
                    <a:fld id="{25A95EF7-FA74-4EB5-A9EC-6E754ACCBD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5AD-4BCF-9CB2-60EDA2D7DB42}"/>
                </c:ext>
              </c:extLst>
            </c:dLbl>
            <c:dLbl>
              <c:idx val="23"/>
              <c:tx>
                <c:rich>
                  <a:bodyPr/>
                  <a:lstStyle/>
                  <a:p>
                    <a:fld id="{223B35BE-31D7-48A9-A4A1-C9A219995F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5AD-4BCF-9CB2-60EDA2D7DB42}"/>
                </c:ext>
              </c:extLst>
            </c:dLbl>
            <c:dLbl>
              <c:idx val="24"/>
              <c:tx>
                <c:rich>
                  <a:bodyPr/>
                  <a:lstStyle/>
                  <a:p>
                    <a:fld id="{54491FEC-FE2E-40C9-A732-05EC22CA85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0A6E-4C83-9A06-9C3309B2855E}"/>
                </c:ext>
              </c:extLst>
            </c:dLbl>
            <c:dLbl>
              <c:idx val="25"/>
              <c:tx>
                <c:rich>
                  <a:bodyPr/>
                  <a:lstStyle/>
                  <a:p>
                    <a:fld id="{AC116090-67CC-46A7-86E2-B179449436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4D12-44DE-B956-CABCB15EBC04}"/>
                </c:ext>
              </c:extLst>
            </c:dLbl>
            <c:dLbl>
              <c:idx val="26"/>
              <c:tx>
                <c:rich>
                  <a:bodyPr/>
                  <a:lstStyle/>
                  <a:p>
                    <a:fld id="{3FDD91E5-CD25-405F-A3F0-2A8F353647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D12-44DE-B956-CABCB15EBC04}"/>
                </c:ext>
              </c:extLst>
            </c:dLbl>
            <c:dLbl>
              <c:idx val="27"/>
              <c:tx>
                <c:rich>
                  <a:bodyPr/>
                  <a:lstStyle/>
                  <a:p>
                    <a:fld id="{8AE6F7C3-D172-45A2-B351-7B28860284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D12-44DE-B956-CABCB15EBC04}"/>
                </c:ext>
              </c:extLst>
            </c:dLbl>
            <c:dLbl>
              <c:idx val="28"/>
              <c:tx>
                <c:rich>
                  <a:bodyPr/>
                  <a:lstStyle/>
                  <a:p>
                    <a:fld id="{0E9F84D3-6E3B-4721-8C40-8D2CAAD6AB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D12-44DE-B956-CABCB15EBC04}"/>
                </c:ext>
              </c:extLst>
            </c:dLbl>
            <c:dLbl>
              <c:idx val="29"/>
              <c:tx>
                <c:rich>
                  <a:bodyPr/>
                  <a:lstStyle/>
                  <a:p>
                    <a:fld id="{8C8414E0-53D5-4C88-B3EE-7B40547C80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8F47-486F-B734-6012CEA493B3}"/>
                </c:ext>
              </c:extLst>
            </c:dLbl>
            <c:dLbl>
              <c:idx val="30"/>
              <c:tx>
                <c:rich>
                  <a:bodyPr/>
                  <a:lstStyle/>
                  <a:p>
                    <a:fld id="{91D37A6F-6AD4-4CEA-BCD4-75E97FF238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D12-44DE-B956-CABCB15EBC04}"/>
                </c:ext>
              </c:extLst>
            </c:dLbl>
            <c:dLbl>
              <c:idx val="31"/>
              <c:tx>
                <c:rich>
                  <a:bodyPr/>
                  <a:lstStyle/>
                  <a:p>
                    <a:fld id="{16A6BF95-1A35-4961-91AF-3F5A0860B2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D12-44DE-B956-CABCB15EBC04}"/>
                </c:ext>
              </c:extLst>
            </c:dLbl>
            <c:dLbl>
              <c:idx val="32"/>
              <c:tx>
                <c:rich>
                  <a:bodyPr/>
                  <a:lstStyle/>
                  <a:p>
                    <a:fld id="{1C4B4A35-9EE3-4C43-9962-F8E37697D6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D12-44DE-B956-CABCB15EBC04}"/>
                </c:ext>
              </c:extLst>
            </c:dLbl>
            <c:dLbl>
              <c:idx val="33"/>
              <c:tx>
                <c:rich>
                  <a:bodyPr/>
                  <a:lstStyle/>
                  <a:p>
                    <a:fld id="{A7754A3E-2BEB-464D-B320-86E638CA61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D12-44DE-B956-CABCB15EBC04}"/>
                </c:ext>
              </c:extLst>
            </c:dLbl>
            <c:dLbl>
              <c:idx val="34"/>
              <c:tx>
                <c:rich>
                  <a:bodyPr/>
                  <a:lstStyle/>
                  <a:p>
                    <a:fld id="{313E850A-E477-4C4C-BC11-1BD9975EBD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D12-44DE-B956-CABCB15EBC04}"/>
                </c:ext>
              </c:extLst>
            </c:dLbl>
            <c:dLbl>
              <c:idx val="35"/>
              <c:tx>
                <c:rich>
                  <a:bodyPr/>
                  <a:lstStyle/>
                  <a:p>
                    <a:fld id="{DBA225D1-BEA0-44A4-A0E5-553444E030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4D12-44DE-B956-CABCB15EBC04}"/>
                </c:ext>
              </c:extLst>
            </c:dLbl>
            <c:dLbl>
              <c:idx val="36"/>
              <c:tx>
                <c:rich>
                  <a:bodyPr/>
                  <a:lstStyle/>
                  <a:p>
                    <a:fld id="{FFAD857F-911A-4F86-BCB4-D5652B56B3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4D12-44DE-B956-CABCB15EBC04}"/>
                </c:ext>
              </c:extLst>
            </c:dLbl>
            <c:dLbl>
              <c:idx val="37"/>
              <c:tx>
                <c:rich>
                  <a:bodyPr/>
                  <a:lstStyle/>
                  <a:p>
                    <a:fld id="{5746EBD2-2E6F-45A4-B74B-C52FE6BCF9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4D12-44DE-B956-CABCB15EBC04}"/>
                </c:ext>
              </c:extLst>
            </c:dLbl>
            <c:dLbl>
              <c:idx val="38"/>
              <c:tx>
                <c:rich>
                  <a:bodyPr/>
                  <a:lstStyle/>
                  <a:p>
                    <a:fld id="{E5E705F2-4B72-4E15-B136-D5A37C93BC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4D12-44DE-B956-CABCB15EBC04}"/>
                </c:ext>
              </c:extLst>
            </c:dLbl>
            <c:dLbl>
              <c:idx val="39"/>
              <c:tx>
                <c:rich>
                  <a:bodyPr/>
                  <a:lstStyle/>
                  <a:p>
                    <a:fld id="{0283C33B-E4C8-4F8A-98FA-3BEAF7968E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4D12-44DE-B956-CABCB15EBC04}"/>
                </c:ext>
              </c:extLst>
            </c:dLbl>
            <c:dLbl>
              <c:idx val="40"/>
              <c:tx>
                <c:rich>
                  <a:bodyPr/>
                  <a:lstStyle/>
                  <a:p>
                    <a:fld id="{E93D8D8E-D060-4720-9A97-5712E1C43B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4D12-44DE-B956-CABCB15EBC04}"/>
                </c:ext>
              </c:extLst>
            </c:dLbl>
            <c:dLbl>
              <c:idx val="41"/>
              <c:tx>
                <c:rich>
                  <a:bodyPr/>
                  <a:lstStyle/>
                  <a:p>
                    <a:fld id="{D8724368-7A53-4483-A969-5EF015ECE5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4D12-44DE-B956-CABCB15EBC04}"/>
                </c:ext>
              </c:extLst>
            </c:dLbl>
            <c:dLbl>
              <c:idx val="42"/>
              <c:tx>
                <c:rich>
                  <a:bodyPr/>
                  <a:lstStyle/>
                  <a:p>
                    <a:fld id="{2BE88450-ABF1-4477-9BB2-34FE0435B3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4D12-44DE-B956-CABCB15EBC04}"/>
                </c:ext>
              </c:extLst>
            </c:dLbl>
            <c:dLbl>
              <c:idx val="43"/>
              <c:tx>
                <c:rich>
                  <a:bodyPr/>
                  <a:lstStyle/>
                  <a:p>
                    <a:fld id="{384527EC-2156-45C4-B4A4-AFA141FFFB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4D12-44DE-B956-CABCB15EBC04}"/>
                </c:ext>
              </c:extLst>
            </c:dLbl>
            <c:dLbl>
              <c:idx val="44"/>
              <c:tx>
                <c:rich>
                  <a:bodyPr/>
                  <a:lstStyle/>
                  <a:p>
                    <a:fld id="{320F5D73-17FA-4200-B36E-EC1C4233CE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4D12-44DE-B956-CABCB15EBC04}"/>
                </c:ext>
              </c:extLst>
            </c:dLbl>
            <c:dLbl>
              <c:idx val="45"/>
              <c:tx>
                <c:rich>
                  <a:bodyPr/>
                  <a:lstStyle/>
                  <a:p>
                    <a:fld id="{70A4F7BB-6567-4095-9200-54A819202A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4D12-44DE-B956-CABCB15EBC04}"/>
                </c:ext>
              </c:extLst>
            </c:dLbl>
            <c:dLbl>
              <c:idx val="46"/>
              <c:tx>
                <c:rich>
                  <a:bodyPr/>
                  <a:lstStyle/>
                  <a:p>
                    <a:fld id="{5F3D7EB2-D4B3-4B5B-B8F3-3F28867A82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4D12-44DE-B956-CABCB15EBC04}"/>
                </c:ext>
              </c:extLst>
            </c:dLbl>
            <c:dLbl>
              <c:idx val="47"/>
              <c:tx>
                <c:rich>
                  <a:bodyPr/>
                  <a:lstStyle/>
                  <a:p>
                    <a:fld id="{10127809-869A-4ED1-8B7C-42252D8374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4D12-44DE-B956-CABCB15EBC04}"/>
                </c:ext>
              </c:extLst>
            </c:dLbl>
            <c:dLbl>
              <c:idx val="48"/>
              <c:tx>
                <c:rich>
                  <a:bodyPr/>
                  <a:lstStyle/>
                  <a:p>
                    <a:fld id="{8C7FF5D8-EAE7-403F-B6E5-02DD39843B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4D12-44DE-B956-CABCB15EBC04}"/>
                </c:ext>
              </c:extLst>
            </c:dLbl>
            <c:dLbl>
              <c:idx val="49"/>
              <c:tx>
                <c:rich>
                  <a:bodyPr/>
                  <a:lstStyle/>
                  <a:p>
                    <a:fld id="{375F154D-7374-4EF3-B1F2-E06E519582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4D12-44DE-B956-CABCB15EBC04}"/>
                </c:ext>
              </c:extLst>
            </c:dLbl>
            <c:dLbl>
              <c:idx val="50"/>
              <c:tx>
                <c:rich>
                  <a:bodyPr/>
                  <a:lstStyle/>
                  <a:p>
                    <a:fld id="{86ED442B-43B7-49C0-A182-DD16ABC75B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4D12-44DE-B956-CABCB15EBC04}"/>
                </c:ext>
              </c:extLst>
            </c:dLbl>
            <c:dLbl>
              <c:idx val="51"/>
              <c:tx>
                <c:rich>
                  <a:bodyPr/>
                  <a:lstStyle/>
                  <a:p>
                    <a:fld id="{C8CAE8CB-F77F-41CC-8D5D-5AA619B69D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4D12-44DE-B956-CABCB15EBC04}"/>
                </c:ext>
              </c:extLst>
            </c:dLbl>
            <c:dLbl>
              <c:idx val="52"/>
              <c:tx>
                <c:rich>
                  <a:bodyPr/>
                  <a:lstStyle/>
                  <a:p>
                    <a:fld id="{CB28E9F8-3E34-4064-BCCB-4E58158F4B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4D12-44DE-B956-CABCB15EBC04}"/>
                </c:ext>
              </c:extLst>
            </c:dLbl>
            <c:dLbl>
              <c:idx val="53"/>
              <c:tx>
                <c:rich>
                  <a:bodyPr/>
                  <a:lstStyle/>
                  <a:p>
                    <a:fld id="{D6870AC2-40D0-4C63-B062-36029920CF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4D12-44DE-B956-CABCB15EBC04}"/>
                </c:ext>
              </c:extLst>
            </c:dLbl>
            <c:dLbl>
              <c:idx val="54"/>
              <c:tx>
                <c:rich>
                  <a:bodyPr/>
                  <a:lstStyle/>
                  <a:p>
                    <a:fld id="{60C89E9E-14FC-4D05-ABF1-9822E01D26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4D12-44DE-B956-CABCB15EBC04}"/>
                </c:ext>
              </c:extLst>
            </c:dLbl>
            <c:dLbl>
              <c:idx val="55"/>
              <c:tx>
                <c:rich>
                  <a:bodyPr/>
                  <a:lstStyle/>
                  <a:p>
                    <a:fld id="{1EC1523E-3217-4720-824F-D31A818F92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D12-44DE-B956-CABCB15EBC04}"/>
                </c:ext>
              </c:extLst>
            </c:dLbl>
            <c:dLbl>
              <c:idx val="56"/>
              <c:tx>
                <c:rich>
                  <a:bodyPr/>
                  <a:lstStyle/>
                  <a:p>
                    <a:fld id="{CB8991F2-605F-443A-B2A3-1DFEC05176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8E3F-4D1B-A313-C02BEC0FDBD1}"/>
                </c:ext>
              </c:extLst>
            </c:dLbl>
            <c:dLbl>
              <c:idx val="57"/>
              <c:tx>
                <c:rich>
                  <a:bodyPr/>
                  <a:lstStyle/>
                  <a:p>
                    <a:fld id="{2AE53316-4A6D-432C-A612-C10912C39E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8E3F-4D1B-A313-C02BEC0FDBD1}"/>
                </c:ext>
              </c:extLst>
            </c:dLbl>
            <c:dLbl>
              <c:idx val="58"/>
              <c:tx>
                <c:rich>
                  <a:bodyPr/>
                  <a:lstStyle/>
                  <a:p>
                    <a:fld id="{FADFBFBA-00E3-41A1-87EB-8EF350F6C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8E3F-4D1B-A313-C02BEC0FDBD1}"/>
                </c:ext>
              </c:extLst>
            </c:dLbl>
            <c:dLbl>
              <c:idx val="59"/>
              <c:tx>
                <c:rich>
                  <a:bodyPr/>
                  <a:lstStyle/>
                  <a:p>
                    <a:fld id="{6871A7C8-3E30-4190-AB1C-2B49DA22A9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8E3F-4D1B-A313-C02BEC0FDBD1}"/>
                </c:ext>
              </c:extLst>
            </c:dLbl>
            <c:dLbl>
              <c:idx val="60"/>
              <c:tx>
                <c:rich>
                  <a:bodyPr/>
                  <a:lstStyle/>
                  <a:p>
                    <a:fld id="{06CFD1B9-1D48-4723-AADE-EAAD907017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8E3F-4D1B-A313-C02BEC0FDBD1}"/>
                </c:ext>
              </c:extLst>
            </c:dLbl>
            <c:dLbl>
              <c:idx val="61"/>
              <c:tx>
                <c:rich>
                  <a:bodyPr/>
                  <a:lstStyle/>
                  <a:p>
                    <a:fld id="{AE00EBBD-A921-4866-97E0-D3676F0C5D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8E3F-4D1B-A313-C02BEC0FDBD1}"/>
                </c:ext>
              </c:extLst>
            </c:dLbl>
            <c:dLbl>
              <c:idx val="62"/>
              <c:tx>
                <c:rich>
                  <a:bodyPr/>
                  <a:lstStyle/>
                  <a:p>
                    <a:fld id="{C0A4FCD8-7961-44E4-B546-72801E6AED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8E3F-4D1B-A313-C02BEC0FDBD1}"/>
                </c:ext>
              </c:extLst>
            </c:dLbl>
            <c:dLbl>
              <c:idx val="63"/>
              <c:tx>
                <c:rich>
                  <a:bodyPr/>
                  <a:lstStyle/>
                  <a:p>
                    <a:fld id="{F5848F30-4E4B-4A23-B6D8-95C698DAF8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8E3F-4D1B-A313-C02BEC0FDBD1}"/>
                </c:ext>
              </c:extLst>
            </c:dLbl>
            <c:dLbl>
              <c:idx val="64"/>
              <c:tx>
                <c:rich>
                  <a:bodyPr/>
                  <a:lstStyle/>
                  <a:p>
                    <a:fld id="{649E9756-7382-4B3A-8EEA-DEAD82540F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8E3F-4D1B-A313-C02BEC0FDBD1}"/>
                </c:ext>
              </c:extLst>
            </c:dLbl>
            <c:dLbl>
              <c:idx val="65"/>
              <c:tx>
                <c:rich>
                  <a:bodyPr/>
                  <a:lstStyle/>
                  <a:p>
                    <a:fld id="{3CD37135-B9C5-47F6-936D-34C3E46624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8E3F-4D1B-A313-C02BEC0FDBD1}"/>
                </c:ext>
              </c:extLst>
            </c:dLbl>
            <c:dLbl>
              <c:idx val="66"/>
              <c:tx>
                <c:rich>
                  <a:bodyPr/>
                  <a:lstStyle/>
                  <a:p>
                    <a:fld id="{B761F4E4-3529-4F23-BFAE-260CEBCA05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8E3F-4D1B-A313-C02BEC0FDBD1}"/>
                </c:ext>
              </c:extLst>
            </c:dLbl>
            <c:dLbl>
              <c:idx val="67"/>
              <c:tx>
                <c:rich>
                  <a:bodyPr/>
                  <a:lstStyle/>
                  <a:p>
                    <a:fld id="{741EFD56-30F3-46C7-94E3-C970F2A32C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8E3F-4D1B-A313-C02BEC0FDBD1}"/>
                </c:ext>
              </c:extLst>
            </c:dLbl>
            <c:dLbl>
              <c:idx val="68"/>
              <c:tx>
                <c:rich>
                  <a:bodyPr/>
                  <a:lstStyle/>
                  <a:p>
                    <a:fld id="{59BC790D-B37D-4D51-B1D2-458F98158A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8E3F-4D1B-A313-C02BEC0FDBD1}"/>
                </c:ext>
              </c:extLst>
            </c:dLbl>
            <c:dLbl>
              <c:idx val="69"/>
              <c:tx>
                <c:rich>
                  <a:bodyPr/>
                  <a:lstStyle/>
                  <a:p>
                    <a:fld id="{AFBB87EF-FB8A-41DE-B0C5-14BDC8F2B6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8E3F-4D1B-A313-C02BEC0FDBD1}"/>
                </c:ext>
              </c:extLst>
            </c:dLbl>
            <c:dLbl>
              <c:idx val="70"/>
              <c:tx>
                <c:rich>
                  <a:bodyPr/>
                  <a:lstStyle/>
                  <a:p>
                    <a:fld id="{75C8792E-C658-4FBB-8B81-4B6FE6EFC6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8E3F-4D1B-A313-C02BEC0FDBD1}"/>
                </c:ext>
              </c:extLst>
            </c:dLbl>
            <c:dLbl>
              <c:idx val="71"/>
              <c:tx>
                <c:rich>
                  <a:bodyPr/>
                  <a:lstStyle/>
                  <a:p>
                    <a:fld id="{95C157C2-41D1-4570-BCBD-4F8909DBDC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8E3F-4D1B-A313-C02BEC0FDBD1}"/>
                </c:ext>
              </c:extLst>
            </c:dLbl>
            <c:dLbl>
              <c:idx val="72"/>
              <c:tx>
                <c:rich>
                  <a:bodyPr/>
                  <a:lstStyle/>
                  <a:p>
                    <a:fld id="{5CF7835A-CA13-4B58-8D4A-30B4524B95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8E3F-4D1B-A313-C02BEC0FDBD1}"/>
                </c:ext>
              </c:extLst>
            </c:dLbl>
            <c:dLbl>
              <c:idx val="73"/>
              <c:tx>
                <c:rich>
                  <a:bodyPr/>
                  <a:lstStyle/>
                  <a:p>
                    <a:fld id="{90581DD6-F6AB-4E28-A8B0-4CCB70200C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8E3F-4D1B-A313-C02BEC0FDBD1}"/>
                </c:ext>
              </c:extLst>
            </c:dLbl>
            <c:dLbl>
              <c:idx val="74"/>
              <c:tx>
                <c:rich>
                  <a:bodyPr/>
                  <a:lstStyle/>
                  <a:p>
                    <a:fld id="{27C0AE54-065A-4C65-9B54-E148D2468E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8E3F-4D1B-A313-C02BEC0FDBD1}"/>
                </c:ext>
              </c:extLst>
            </c:dLbl>
            <c:dLbl>
              <c:idx val="75"/>
              <c:tx>
                <c:rich>
                  <a:bodyPr/>
                  <a:lstStyle/>
                  <a:p>
                    <a:fld id="{4C0D8748-B6AA-40B7-B58E-2B0EAB1032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8E3F-4D1B-A313-C02BEC0FDBD1}"/>
                </c:ext>
              </c:extLst>
            </c:dLbl>
            <c:dLbl>
              <c:idx val="76"/>
              <c:tx>
                <c:rich>
                  <a:bodyPr/>
                  <a:lstStyle/>
                  <a:p>
                    <a:fld id="{48666C49-DCD5-41BE-854B-52AD2FE0AB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8E3F-4D1B-A313-C02BEC0FDBD1}"/>
                </c:ext>
              </c:extLst>
            </c:dLbl>
            <c:dLbl>
              <c:idx val="77"/>
              <c:tx>
                <c:rich>
                  <a:bodyPr/>
                  <a:lstStyle/>
                  <a:p>
                    <a:fld id="{7655A697-0233-48E6-A104-3FF78CBC28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8E3F-4D1B-A313-C02BEC0FDBD1}"/>
                </c:ext>
              </c:extLst>
            </c:dLbl>
            <c:dLbl>
              <c:idx val="78"/>
              <c:tx>
                <c:rich>
                  <a:bodyPr/>
                  <a:lstStyle/>
                  <a:p>
                    <a:fld id="{9BFDF826-E7A9-4A34-BE76-F790A62A76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8E3F-4D1B-A313-C02BEC0FDBD1}"/>
                </c:ext>
              </c:extLst>
            </c:dLbl>
            <c:dLbl>
              <c:idx val="79"/>
              <c:tx>
                <c:rich>
                  <a:bodyPr/>
                  <a:lstStyle/>
                  <a:p>
                    <a:fld id="{EE7713CB-0D1B-428B-BD3A-295F56E2BB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8E3F-4D1B-A313-C02BEC0FDBD1}"/>
                </c:ext>
              </c:extLst>
            </c:dLbl>
            <c:dLbl>
              <c:idx val="80"/>
              <c:tx>
                <c:rich>
                  <a:bodyPr/>
                  <a:lstStyle/>
                  <a:p>
                    <a:fld id="{FD8B7BEF-1606-4A66-9BD1-204C4042D7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8E3F-4D1B-A313-C02BEC0FDBD1}"/>
                </c:ext>
              </c:extLst>
            </c:dLbl>
            <c:dLbl>
              <c:idx val="81"/>
              <c:tx>
                <c:rich>
                  <a:bodyPr/>
                  <a:lstStyle/>
                  <a:p>
                    <a:fld id="{502D082D-A7D0-44FE-8548-5B63CA7BD7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9-8E3F-4D1B-A313-C02BEC0FDBD1}"/>
                </c:ext>
              </c:extLst>
            </c:dLbl>
            <c:dLbl>
              <c:idx val="82"/>
              <c:tx>
                <c:rich>
                  <a:bodyPr/>
                  <a:lstStyle/>
                  <a:p>
                    <a:fld id="{5406982D-54B3-4DEE-A4A3-1436A4AE26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A-8E3F-4D1B-A313-C02BEC0FDBD1}"/>
                </c:ext>
              </c:extLst>
            </c:dLbl>
            <c:dLbl>
              <c:idx val="83"/>
              <c:tx>
                <c:rich>
                  <a:bodyPr/>
                  <a:lstStyle/>
                  <a:p>
                    <a:fld id="{CB9E16E5-B5EE-436C-AB85-C12D8682D8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B-8E3F-4D1B-A313-C02BEC0FDBD1}"/>
                </c:ext>
              </c:extLst>
            </c:dLbl>
            <c:dLbl>
              <c:idx val="84"/>
              <c:tx>
                <c:rich>
                  <a:bodyPr/>
                  <a:lstStyle/>
                  <a:p>
                    <a:fld id="{2082ACBA-6033-47D4-9A01-61164FC699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C-8E3F-4D1B-A313-C02BEC0FDBD1}"/>
                </c:ext>
              </c:extLst>
            </c:dLbl>
            <c:dLbl>
              <c:idx val="85"/>
              <c:tx>
                <c:rich>
                  <a:bodyPr/>
                  <a:lstStyle/>
                  <a:p>
                    <a:fld id="{3AD7E153-35B6-415F-BBAB-E0339D3A67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D-8E3F-4D1B-A313-C02BEC0FDBD1}"/>
                </c:ext>
              </c:extLst>
            </c:dLbl>
            <c:dLbl>
              <c:idx val="86"/>
              <c:tx>
                <c:rich>
                  <a:bodyPr/>
                  <a:lstStyle/>
                  <a:p>
                    <a:fld id="{FF777279-AEC9-442A-A5D7-64BB2A58C0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E-8E3F-4D1B-A313-C02BEC0FDBD1}"/>
                </c:ext>
              </c:extLst>
            </c:dLbl>
            <c:dLbl>
              <c:idx val="87"/>
              <c:tx>
                <c:rich>
                  <a:bodyPr/>
                  <a:lstStyle/>
                  <a:p>
                    <a:fld id="{05F1C95D-D5C9-4EA9-AC70-50396D7F23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F-8E3F-4D1B-A313-C02BEC0FDBD1}"/>
                </c:ext>
              </c:extLst>
            </c:dLbl>
            <c:dLbl>
              <c:idx val="88"/>
              <c:tx>
                <c:rich>
                  <a:bodyPr/>
                  <a:lstStyle/>
                  <a:p>
                    <a:fld id="{9FECFBF4-39B7-4F53-8810-E117B548D0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0-8E3F-4D1B-A313-C02BEC0FDBD1}"/>
                </c:ext>
              </c:extLst>
            </c:dLbl>
            <c:dLbl>
              <c:idx val="89"/>
              <c:tx>
                <c:rich>
                  <a:bodyPr/>
                  <a:lstStyle/>
                  <a:p>
                    <a:fld id="{34616C06-88AD-4520-88F7-CF5CB97C6F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1-8E3F-4D1B-A313-C02BEC0FDBD1}"/>
                </c:ext>
              </c:extLst>
            </c:dLbl>
            <c:dLbl>
              <c:idx val="90"/>
              <c:tx>
                <c:rich>
                  <a:bodyPr/>
                  <a:lstStyle/>
                  <a:p>
                    <a:fld id="{9AAB710D-D53F-4F1A-998F-451C24B618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2-8E3F-4D1B-A313-C02BEC0FDBD1}"/>
                </c:ext>
              </c:extLst>
            </c:dLbl>
            <c:dLbl>
              <c:idx val="91"/>
              <c:tx>
                <c:rich>
                  <a:bodyPr/>
                  <a:lstStyle/>
                  <a:p>
                    <a:fld id="{3A8D2FE2-83C6-458C-91C9-7DB165D72B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3-8E3F-4D1B-A313-C02BEC0FDBD1}"/>
                </c:ext>
              </c:extLst>
            </c:dLbl>
            <c:dLbl>
              <c:idx val="92"/>
              <c:tx>
                <c:rich>
                  <a:bodyPr/>
                  <a:lstStyle/>
                  <a:p>
                    <a:fld id="{02079F52-2FF2-4902-B2BA-80A4941927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4-8E3F-4D1B-A313-C02BEC0FDBD1}"/>
                </c:ext>
              </c:extLst>
            </c:dLbl>
            <c:dLbl>
              <c:idx val="93"/>
              <c:tx>
                <c:rich>
                  <a:bodyPr/>
                  <a:lstStyle/>
                  <a:p>
                    <a:fld id="{09E21B4E-CD21-48C7-8BFC-30CAEA666A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5-8E3F-4D1B-A313-C02BEC0FDBD1}"/>
                </c:ext>
              </c:extLst>
            </c:dLbl>
            <c:dLbl>
              <c:idx val="94"/>
              <c:tx>
                <c:rich>
                  <a:bodyPr/>
                  <a:lstStyle/>
                  <a:p>
                    <a:fld id="{11C5DAB5-0688-45C2-891F-4C306C6245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6-8E3F-4D1B-A313-C02BEC0FDBD1}"/>
                </c:ext>
              </c:extLst>
            </c:dLbl>
            <c:dLbl>
              <c:idx val="95"/>
              <c:tx>
                <c:rich>
                  <a:bodyPr/>
                  <a:lstStyle/>
                  <a:p>
                    <a:fld id="{3F54163B-5C7F-4C9B-AA2B-AF57DECE9C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7-8E3F-4D1B-A313-C02BEC0FDBD1}"/>
                </c:ext>
              </c:extLst>
            </c:dLbl>
            <c:dLbl>
              <c:idx val="96"/>
              <c:tx>
                <c:rich>
                  <a:bodyPr/>
                  <a:lstStyle/>
                  <a:p>
                    <a:fld id="{83AA7B53-9C5F-49E3-AEF8-45C7600D96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8-8E3F-4D1B-A313-C02BEC0FDBD1}"/>
                </c:ext>
              </c:extLst>
            </c:dLbl>
            <c:dLbl>
              <c:idx val="97"/>
              <c:tx>
                <c:rich>
                  <a:bodyPr/>
                  <a:lstStyle/>
                  <a:p>
                    <a:fld id="{8B3AC567-2491-4232-8424-2C3FA0F2AD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9-8E3F-4D1B-A313-C02BEC0FDBD1}"/>
                </c:ext>
              </c:extLst>
            </c:dLbl>
            <c:dLbl>
              <c:idx val="98"/>
              <c:tx>
                <c:rich>
                  <a:bodyPr/>
                  <a:lstStyle/>
                  <a:p>
                    <a:fld id="{9F7E671B-0777-44ED-826B-41122AC6D3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A-8E3F-4D1B-A313-C02BEC0FDBD1}"/>
                </c:ext>
              </c:extLst>
            </c:dLbl>
            <c:dLbl>
              <c:idx val="99"/>
              <c:tx>
                <c:rich>
                  <a:bodyPr/>
                  <a:lstStyle/>
                  <a:p>
                    <a:fld id="{5CCF585B-1825-45D8-BB74-74CE753317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B-8E3F-4D1B-A313-C02BEC0FDBD1}"/>
                </c:ext>
              </c:extLst>
            </c:dLbl>
            <c:dLbl>
              <c:idx val="100"/>
              <c:tx>
                <c:rich>
                  <a:bodyPr/>
                  <a:lstStyle/>
                  <a:p>
                    <a:fld id="{8A670960-6EFE-49DE-9EFB-ADF1DCB86D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C-8E3F-4D1B-A313-C02BEC0FDBD1}"/>
                </c:ext>
              </c:extLst>
            </c:dLbl>
            <c:dLbl>
              <c:idx val="101"/>
              <c:tx>
                <c:rich>
                  <a:bodyPr/>
                  <a:lstStyle/>
                  <a:p>
                    <a:fld id="{4EE1319E-67E3-4CAA-A6E2-EDA863A1FC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D-8E3F-4D1B-A313-C02BEC0FDBD1}"/>
                </c:ext>
              </c:extLst>
            </c:dLbl>
            <c:dLbl>
              <c:idx val="102"/>
              <c:tx>
                <c:rich>
                  <a:bodyPr/>
                  <a:lstStyle/>
                  <a:p>
                    <a:fld id="{2EEC526D-0B90-444D-B716-48EBAEEAA7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E-8E3F-4D1B-A313-C02BEC0FDBD1}"/>
                </c:ext>
              </c:extLst>
            </c:dLbl>
            <c:dLbl>
              <c:idx val="103"/>
              <c:tx>
                <c:rich>
                  <a:bodyPr/>
                  <a:lstStyle/>
                  <a:p>
                    <a:fld id="{5E2B9202-72A0-4A28-B1DE-B246AD85CC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F-8E3F-4D1B-A313-C02BEC0FDBD1}"/>
                </c:ext>
              </c:extLst>
            </c:dLbl>
            <c:dLbl>
              <c:idx val="104"/>
              <c:tx>
                <c:rich>
                  <a:bodyPr/>
                  <a:lstStyle/>
                  <a:p>
                    <a:fld id="{4505452C-7887-4F53-8DD9-19D1BBF7E5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0-8E3F-4D1B-A313-C02BEC0FDBD1}"/>
                </c:ext>
              </c:extLst>
            </c:dLbl>
            <c:dLbl>
              <c:idx val="105"/>
              <c:tx>
                <c:rich>
                  <a:bodyPr/>
                  <a:lstStyle/>
                  <a:p>
                    <a:fld id="{9C4F03F6-C77F-4B78-B029-1233F753A7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1-8E3F-4D1B-A313-C02BEC0FDBD1}"/>
                </c:ext>
              </c:extLst>
            </c:dLbl>
            <c:dLbl>
              <c:idx val="106"/>
              <c:tx>
                <c:rich>
                  <a:bodyPr/>
                  <a:lstStyle/>
                  <a:p>
                    <a:fld id="{1C6ECF44-8629-4BBB-BF1D-03EE9FB849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2-8E3F-4D1B-A313-C02BEC0FDBD1}"/>
                </c:ext>
              </c:extLst>
            </c:dLbl>
            <c:dLbl>
              <c:idx val="107"/>
              <c:tx>
                <c:rich>
                  <a:bodyPr/>
                  <a:lstStyle/>
                  <a:p>
                    <a:fld id="{FBCF7CA6-486A-4B7E-8615-415CA9D6CC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3-8E3F-4D1B-A313-C02BEC0FDBD1}"/>
                </c:ext>
              </c:extLst>
            </c:dLbl>
            <c:dLbl>
              <c:idx val="108"/>
              <c:tx>
                <c:rich>
                  <a:bodyPr/>
                  <a:lstStyle/>
                  <a:p>
                    <a:fld id="{0DBA769D-0E5A-41E5-886B-CA256B5AE4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4-8E3F-4D1B-A313-C02BEC0FDBD1}"/>
                </c:ext>
              </c:extLst>
            </c:dLbl>
            <c:dLbl>
              <c:idx val="109"/>
              <c:tx>
                <c:rich>
                  <a:bodyPr/>
                  <a:lstStyle/>
                  <a:p>
                    <a:fld id="{5A634633-0607-40B6-BE39-01624020B6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5-8E3F-4D1B-A313-C02BEC0FDBD1}"/>
                </c:ext>
              </c:extLst>
            </c:dLbl>
            <c:dLbl>
              <c:idx val="110"/>
              <c:tx>
                <c:rich>
                  <a:bodyPr/>
                  <a:lstStyle/>
                  <a:p>
                    <a:fld id="{872BCFBB-41F8-4FBC-AB43-00068A46FA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6-8E3F-4D1B-A313-C02BEC0FDBD1}"/>
                </c:ext>
              </c:extLst>
            </c:dLbl>
            <c:dLbl>
              <c:idx val="111"/>
              <c:tx>
                <c:rich>
                  <a:bodyPr/>
                  <a:lstStyle/>
                  <a:p>
                    <a:fld id="{ED7F6319-4D76-4966-927C-97F56C5913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7-8E3F-4D1B-A313-C02BEC0FDBD1}"/>
                </c:ext>
              </c:extLst>
            </c:dLbl>
            <c:dLbl>
              <c:idx val="112"/>
              <c:tx>
                <c:rich>
                  <a:bodyPr/>
                  <a:lstStyle/>
                  <a:p>
                    <a:fld id="{3F49853A-E14E-412C-BE58-7B2BD6ACAA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8-8E3F-4D1B-A313-C02BEC0FDBD1}"/>
                </c:ext>
              </c:extLst>
            </c:dLbl>
            <c:dLbl>
              <c:idx val="113"/>
              <c:tx>
                <c:rich>
                  <a:bodyPr/>
                  <a:lstStyle/>
                  <a:p>
                    <a:fld id="{5619D30B-9446-4529-9B62-4E51048870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9-8E3F-4D1B-A313-C02BEC0FDBD1}"/>
                </c:ext>
              </c:extLst>
            </c:dLbl>
            <c:dLbl>
              <c:idx val="114"/>
              <c:tx>
                <c:rich>
                  <a:bodyPr/>
                  <a:lstStyle/>
                  <a:p>
                    <a:fld id="{33A07708-C6BB-40E2-B060-DC6CF62C61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A-8E3F-4D1B-A313-C02BEC0FDBD1}"/>
                </c:ext>
              </c:extLst>
            </c:dLbl>
            <c:dLbl>
              <c:idx val="115"/>
              <c:tx>
                <c:rich>
                  <a:bodyPr/>
                  <a:lstStyle/>
                  <a:p>
                    <a:fld id="{D14EBFB8-96F8-4AA8-B9DC-02A8300844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B-8E3F-4D1B-A313-C02BEC0FDBD1}"/>
                </c:ext>
              </c:extLst>
            </c:dLbl>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1</c:f>
              <c:numCache>
                <c:formatCode>General</c:formatCode>
                <c:ptCount val="10"/>
                <c:pt idx="0">
                  <c:v>1</c:v>
                </c:pt>
                <c:pt idx="1">
                  <c:v>1</c:v>
                </c:pt>
                <c:pt idx="2">
                  <c:v>3</c:v>
                </c:pt>
                <c:pt idx="3">
                  <c:v>3</c:v>
                </c:pt>
                <c:pt idx="4">
                  <c:v>3</c:v>
                </c:pt>
                <c:pt idx="5">
                  <c:v>3</c:v>
                </c:pt>
                <c:pt idx="6">
                  <c:v>3</c:v>
                </c:pt>
                <c:pt idx="7">
                  <c:v>3</c:v>
                </c:pt>
                <c:pt idx="8">
                  <c:v>3</c:v>
                </c:pt>
                <c:pt idx="9">
                  <c:v>3</c:v>
                </c:pt>
              </c:numCache>
            </c:numRef>
          </c:xVal>
          <c:yVal>
            <c:numRef>
              <c:f>Sheet1!$B$2:$B$11</c:f>
              <c:numCache>
                <c:formatCode>General</c:formatCode>
                <c:ptCount val="10"/>
                <c:pt idx="0">
                  <c:v>0.22209595652105529</c:v>
                </c:pt>
                <c:pt idx="1">
                  <c:v>0.53170732834111545</c:v>
                </c:pt>
                <c:pt idx="2">
                  <c:v>3.9749746923176003E-2</c:v>
                </c:pt>
                <c:pt idx="3">
                  <c:v>0</c:v>
                </c:pt>
                <c:pt idx="4">
                  <c:v>0.30405198995387789</c:v>
                </c:pt>
                <c:pt idx="5">
                  <c:v>-3.6459231119494409E-2</c:v>
                </c:pt>
                <c:pt idx="6">
                  <c:v>0</c:v>
                </c:pt>
                <c:pt idx="7">
                  <c:v>9.1678040616062134E-2</c:v>
                </c:pt>
                <c:pt idx="8">
                  <c:v>0.1052421368175942</c:v>
                </c:pt>
                <c:pt idx="9">
                  <c:v>-8.5461039641385059E-2</c:v>
                </c:pt>
              </c:numCache>
            </c:numRef>
          </c:yVal>
          <c:bubbleSize>
            <c:numRef>
              <c:f>Sheet1!$C$2:$C$11</c:f>
              <c:numCache>
                <c:formatCode>General</c:formatCode>
                <c:ptCount val="10"/>
                <c:pt idx="0">
                  <c:v>46417119</c:v>
                </c:pt>
                <c:pt idx="1">
                  <c:v>892564</c:v>
                </c:pt>
                <c:pt idx="2">
                  <c:v>10301310</c:v>
                </c:pt>
                <c:pt idx="3">
                  <c:v>423084</c:v>
                </c:pt>
                <c:pt idx="4">
                  <c:v>2887750</c:v>
                </c:pt>
                <c:pt idx="5">
                  <c:v>1929113</c:v>
                </c:pt>
                <c:pt idx="6">
                  <c:v>9544</c:v>
                </c:pt>
                <c:pt idx="7">
                  <c:v>773970</c:v>
                </c:pt>
                <c:pt idx="8">
                  <c:v>4032718</c:v>
                </c:pt>
                <c:pt idx="9">
                  <c:v>330412</c:v>
                </c:pt>
              </c:numCache>
            </c:numRef>
          </c:bubbleSize>
          <c:bubble3D val="0"/>
          <c:extLst>
            <c:ext xmlns:c15="http://schemas.microsoft.com/office/drawing/2012/chart" uri="{02D57815-91ED-43cb-92C2-25804820EDAC}">
              <c15:datalabelsRange>
                <c15:f>Sheet1!$E$2:$E$150</c15:f>
                <c15:dlblRangeCache>
                  <c:ptCount val="149"/>
                  <c:pt idx="0">
                    <c:v>Gillette</c:v>
                  </c:pt>
                  <c:pt idx="1">
                    <c:v>Harry's</c:v>
                  </c:pt>
                  <c:pt idx="2">
                    <c:v>Gillette</c:v>
                  </c:pt>
                  <c:pt idx="3">
                    <c:v>Harry's</c:v>
                  </c:pt>
                  <c:pt idx="4">
                    <c:v>Bic</c:v>
                  </c:pt>
                  <c:pt idx="5">
                    <c:v>Dollar Shave Club</c:v>
                  </c:pt>
                  <c:pt idx="6">
                    <c:v>Van Der Hagen</c:v>
                  </c:pt>
                  <c:pt idx="7">
                    <c:v>Comfort 3</c:v>
                  </c:pt>
                  <c:pt idx="8">
                    <c:v>Schick</c:v>
                  </c:pt>
                  <c:pt idx="9">
                    <c:v>Equate</c:v>
                  </c:pt>
                </c15:dlblRangeCache>
              </c15:datalabelsRange>
            </c:ext>
            <c:ext xmlns:c16="http://schemas.microsoft.com/office/drawing/2014/chart" uri="{C3380CC4-5D6E-409C-BE32-E72D297353CC}">
              <c16:uniqueId val="{00000026-26FB-4B52-8D72-D56D618E8EAF}"/>
            </c:ext>
          </c:extLst>
        </c:ser>
        <c:dLbls>
          <c:dLblPos val="ctr"/>
          <c:showLegendKey val="0"/>
          <c:showVal val="1"/>
          <c:showCatName val="0"/>
          <c:showSerName val="0"/>
          <c:showPercent val="0"/>
          <c:showBubbleSize val="0"/>
        </c:dLbls>
        <c:bubbleScale val="75"/>
        <c:showNegBubbles val="0"/>
        <c:axId val="804121775"/>
        <c:axId val="804116783"/>
      </c:bubbleChart>
      <c:valAx>
        <c:axId val="804121775"/>
        <c:scaling>
          <c:orientation val="minMax"/>
          <c:max val="4"/>
          <c:min val="0"/>
        </c:scaling>
        <c:delete val="0"/>
        <c:axPos val="b"/>
        <c:numFmt formatCode="0%" sourceLinked="0"/>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16783"/>
        <c:crosses val="autoZero"/>
        <c:crossBetween val="midCat"/>
        <c:minorUnit val="0.1"/>
      </c:valAx>
      <c:valAx>
        <c:axId val="804116783"/>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en-US" sz="800" dirty="0">
                    <a:solidFill>
                      <a:schemeClr val="tx1"/>
                    </a:solidFill>
                    <a:latin typeface="Nexa Bold" panose="00000800000000000000" pitchFamily="2" charset="0"/>
                  </a:rPr>
                  <a:t>Averag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Valu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uplift</a:t>
                </a:r>
                <a:endParaRPr lang="en-CH" sz="800" dirty="0">
                  <a:solidFill>
                    <a:schemeClr val="tx1"/>
                  </a:solidFill>
                  <a:latin typeface="Nexa Bold" panose="00000800000000000000" pitchFamily="2" charset="0"/>
                </a:endParaRPr>
              </a:p>
            </c:rich>
          </c:tx>
          <c:layout>
            <c:manualLayout>
              <c:xMode val="edge"/>
              <c:yMode val="edge"/>
              <c:x val="2.0811111111111117E-3"/>
              <c:y val="0.10078557265656676"/>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CH"/>
            </a:p>
          </c:txPr>
        </c:title>
        <c:numFmt formatCode="0%" sourceLinked="0"/>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21775"/>
        <c:crosses val="autoZero"/>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c:v>
                </c:pt>
                <c:pt idx="1">
                  <c:v>Harry's</c:v>
                </c:pt>
              </c:strCache>
            </c:strRef>
          </c:cat>
          <c:val>
            <c:numRef>
              <c:f>Sheet1!$B$2:$B$3</c:f>
              <c:numCache>
                <c:formatCode>General</c:formatCode>
                <c:ptCount val="2"/>
                <c:pt idx="0">
                  <c:v>-0.62041098753600477</c:v>
                </c:pt>
                <c:pt idx="1">
                  <c:v>-4.132381541819993</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3-3C16-4125-B97A-D0EBA9D0B1CF}"/>
              </c:ext>
            </c:extLst>
          </c:dPt>
          <c:dPt>
            <c:idx val="1"/>
            <c:invertIfNegative val="0"/>
            <c:bubble3D val="0"/>
            <c:spPr>
              <a:solidFill>
                <a:srgbClr val="E1BFBF"/>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c:f>
              <c:strCache>
                <c:ptCount val="1"/>
                <c:pt idx="0">
                  <c:v>Gillette</c:v>
                </c:pt>
              </c:strCache>
            </c:strRef>
          </c:cat>
          <c:val>
            <c:numRef>
              <c:f>Sheet1!$B$2:$B$2</c:f>
              <c:numCache>
                <c:formatCode>General</c:formatCode>
                <c:ptCount val="1"/>
                <c:pt idx="0">
                  <c:v>-0.11099999999999999</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2-B1F3-4B1C-B6BD-D7555A955EE3}"/>
              </c:ext>
            </c:extLst>
          </c:dPt>
          <c:dPt>
            <c:idx val="1"/>
            <c:invertIfNegative val="0"/>
            <c:bubble3D val="0"/>
            <c:spPr>
              <a:solidFill>
                <a:srgbClr val="E1BFBF"/>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c:f>
              <c:strCache>
                <c:ptCount val="1"/>
                <c:pt idx="0">
                  <c:v>Gillette</c:v>
                </c:pt>
              </c:strCache>
            </c:strRef>
          </c:cat>
          <c:val>
            <c:numRef>
              <c:f>Sheet1!$B$2:$B$2</c:f>
              <c:numCache>
                <c:formatCode>General</c:formatCode>
                <c:ptCount val="1"/>
                <c:pt idx="0">
                  <c:v>0.16257498570199691</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3-3C16-4125-B97A-D0EBA9D0B1CF}"/>
              </c:ext>
            </c:extLst>
          </c:dPt>
          <c:dPt>
            <c:idx val="1"/>
            <c:invertIfNegative val="0"/>
            <c:bubble3D val="0"/>
            <c:spPr>
              <a:solidFill>
                <a:srgbClr val="FFBFBF"/>
              </a:solidFill>
            </c:spPr>
            <c:extLst>
              <c:ext xmlns:c16="http://schemas.microsoft.com/office/drawing/2014/chart" uri="{C3380CC4-5D6E-409C-BE32-E72D297353CC}">
                <c16:uniqueId val="{00000001-615A-458F-B49B-C3992C8CBC6B}"/>
              </c:ext>
            </c:extLst>
          </c:dPt>
          <c:dPt>
            <c:idx val="2"/>
            <c:invertIfNegative val="0"/>
            <c:bubble3D val="0"/>
            <c:extLst>
              <c:ext xmlns:c16="http://schemas.microsoft.com/office/drawing/2014/chart" uri="{C3380CC4-5D6E-409C-BE32-E72D297353CC}">
                <c16:uniqueId val="{00000004-3C16-4125-B97A-D0EBA9D0B1CF}"/>
              </c:ext>
            </c:extLst>
          </c:dPt>
          <c:dPt>
            <c:idx val="3"/>
            <c:invertIfNegative val="0"/>
            <c:bubble3D val="0"/>
            <c:spPr>
              <a:solidFill>
                <a:srgbClr val="FFBFBF"/>
              </a:solidFill>
            </c:spPr>
            <c:extLst>
              <c:ext xmlns:c16="http://schemas.microsoft.com/office/drawing/2014/chart" uri="{C3380CC4-5D6E-409C-BE32-E72D297353CC}">
                <c16:uniqueId val="{00000002-615A-458F-B49B-C3992C8CBC6B}"/>
              </c:ext>
            </c:extLst>
          </c:dPt>
          <c:dPt>
            <c:idx val="4"/>
            <c:invertIfNegative val="0"/>
            <c:bubble3D val="0"/>
            <c:extLst>
              <c:ext xmlns:c16="http://schemas.microsoft.com/office/drawing/2014/chart" uri="{C3380CC4-5D6E-409C-BE32-E72D297353CC}">
                <c16:uniqueId val="{00000002-3C16-4125-B97A-D0EBA9D0B1CF}"/>
              </c:ext>
            </c:extLst>
          </c:dPt>
          <c:dPt>
            <c:idx val="5"/>
            <c:invertIfNegative val="0"/>
            <c:bubble3D val="0"/>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dLbl>
              <c:idx val="4"/>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C16-4125-B97A-D0EBA9D0B1CF}"/>
                </c:ext>
              </c:extLst>
            </c:dLbl>
            <c:dLbl>
              <c:idx val="5"/>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B05-4EC0-B6C5-883B60DE7730}"/>
                </c:ext>
              </c:extLst>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c:v>
                </c:pt>
                <c:pt idx="1">
                  <c:v>Schick</c:v>
                </c:pt>
                <c:pt idx="2">
                  <c:v>Dollar Shave Club</c:v>
                </c:pt>
                <c:pt idx="3">
                  <c:v>Harry's</c:v>
                </c:pt>
                <c:pt idx="4">
                  <c:v>Equate</c:v>
                </c:pt>
                <c:pt idx="5">
                  <c:v>Van Der Hagen</c:v>
                </c:pt>
              </c:strCache>
            </c:strRef>
          </c:cat>
          <c:val>
            <c:numRef>
              <c:f>Sheet1!$B$2:$B$7</c:f>
              <c:numCache>
                <c:formatCode>General</c:formatCode>
                <c:ptCount val="6"/>
                <c:pt idx="0">
                  <c:v>1</c:v>
                </c:pt>
                <c:pt idx="1">
                  <c:v>-0.17500000000000004</c:v>
                </c:pt>
                <c:pt idx="2">
                  <c:v>1.25</c:v>
                </c:pt>
                <c:pt idx="3">
                  <c:v>-0.88900000000000001</c:v>
                </c:pt>
                <c:pt idx="4">
                  <c:v>0</c:v>
                </c:pt>
                <c:pt idx="5">
                  <c:v>0</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2-B1F3-4B1C-B6BD-D7555A955EE3}"/>
              </c:ext>
            </c:extLst>
          </c:dPt>
          <c:dPt>
            <c:idx val="1"/>
            <c:invertIfNegative val="0"/>
            <c:bubble3D val="0"/>
            <c:extLst>
              <c:ext xmlns:c16="http://schemas.microsoft.com/office/drawing/2014/chart" uri="{C3380CC4-5D6E-409C-BE32-E72D297353CC}">
                <c16:uniqueId val="{00000000-1D88-4E66-AA3A-770CA96ED1E8}"/>
              </c:ext>
            </c:extLst>
          </c:dPt>
          <c:dPt>
            <c:idx val="2"/>
            <c:invertIfNegative val="0"/>
            <c:bubble3D val="0"/>
            <c:spPr>
              <a:solidFill>
                <a:srgbClr val="FFBFBF"/>
              </a:solidFill>
            </c:spPr>
            <c:extLst>
              <c:ext xmlns:c16="http://schemas.microsoft.com/office/drawing/2014/chart" uri="{C3380CC4-5D6E-409C-BE32-E72D297353CC}">
                <c16:uniqueId val="{00000003-B1F3-4B1C-B6BD-D7555A955EE3}"/>
              </c:ext>
            </c:extLst>
          </c:dPt>
          <c:dPt>
            <c:idx val="3"/>
            <c:invertIfNegative val="0"/>
            <c:bubble3D val="0"/>
            <c:spPr>
              <a:solidFill>
                <a:srgbClr val="FFBFBF"/>
              </a:solidFill>
            </c:spPr>
            <c:extLst>
              <c:ext xmlns:c16="http://schemas.microsoft.com/office/drawing/2014/chart" uri="{C3380CC4-5D6E-409C-BE32-E72D297353CC}">
                <c16:uniqueId val="{00000001-1D88-4E66-AA3A-770CA96ED1E8}"/>
              </c:ext>
            </c:extLst>
          </c:dPt>
          <c:dPt>
            <c:idx val="4"/>
            <c:invertIfNegative val="0"/>
            <c:bubble3D val="0"/>
            <c:spPr>
              <a:solidFill>
                <a:srgbClr val="FFBFBF"/>
              </a:solidFill>
            </c:spPr>
            <c:extLst>
              <c:ext xmlns:c16="http://schemas.microsoft.com/office/drawing/2014/chart" uri="{C3380CC4-5D6E-409C-BE32-E72D297353CC}">
                <c16:uniqueId val="{00000004-B1F3-4B1C-B6BD-D7555A955EE3}"/>
              </c:ext>
            </c:extLst>
          </c:dPt>
          <c:dPt>
            <c:idx val="5"/>
            <c:invertIfNegative val="0"/>
            <c:bubble3D val="0"/>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dLbl>
              <c:idx val="5"/>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6D8A-4B36-B874-4E9C8B692C25}"/>
                </c:ext>
              </c:extLst>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c:v>
                </c:pt>
                <c:pt idx="1">
                  <c:v>Schick</c:v>
                </c:pt>
                <c:pt idx="2">
                  <c:v>Dollar Shave Club</c:v>
                </c:pt>
                <c:pt idx="3">
                  <c:v>Harry's</c:v>
                </c:pt>
                <c:pt idx="4">
                  <c:v>Equate</c:v>
                </c:pt>
                <c:pt idx="5">
                  <c:v>Van Der Hagen</c:v>
                </c:pt>
              </c:strCache>
            </c:strRef>
          </c:cat>
          <c:val>
            <c:numRef>
              <c:f>Sheet1!$B$2:$B$7</c:f>
              <c:numCache>
                <c:formatCode>General</c:formatCode>
                <c:ptCount val="6"/>
                <c:pt idx="0">
                  <c:v>2.7633454415940304</c:v>
                </c:pt>
                <c:pt idx="1">
                  <c:v>2.9925587526523074</c:v>
                </c:pt>
                <c:pt idx="2">
                  <c:v>-1.015202234085993</c:v>
                </c:pt>
                <c:pt idx="3">
                  <c:v>-1</c:v>
                </c:pt>
                <c:pt idx="4">
                  <c:v>-1</c:v>
                </c:pt>
                <c:pt idx="5">
                  <c:v>0</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3-3C16-4125-B97A-D0EBA9D0B1CF}"/>
              </c:ext>
            </c:extLst>
          </c:dPt>
          <c:dPt>
            <c:idx val="1"/>
            <c:invertIfNegative val="0"/>
            <c:bubble3D val="0"/>
            <c:extLst>
              <c:ext xmlns:c16="http://schemas.microsoft.com/office/drawing/2014/chart" uri="{C3380CC4-5D6E-409C-BE32-E72D297353CC}">
                <c16:uniqueId val="{00000001-615A-458F-B49B-C3992C8CBC6B}"/>
              </c:ext>
            </c:extLst>
          </c:dPt>
          <c:dPt>
            <c:idx val="2"/>
            <c:invertIfNegative val="0"/>
            <c:bubble3D val="0"/>
            <c:extLst>
              <c:ext xmlns:c16="http://schemas.microsoft.com/office/drawing/2014/chart" uri="{C3380CC4-5D6E-409C-BE32-E72D297353CC}">
                <c16:uniqueId val="{00000004-3C16-4125-B97A-D0EBA9D0B1CF}"/>
              </c:ext>
            </c:extLst>
          </c:dPt>
          <c:dPt>
            <c:idx val="3"/>
            <c:invertIfNegative val="0"/>
            <c:bubble3D val="0"/>
            <c:extLst>
              <c:ext xmlns:c16="http://schemas.microsoft.com/office/drawing/2014/chart" uri="{C3380CC4-5D6E-409C-BE32-E72D297353CC}">
                <c16:uniqueId val="{00000002-615A-458F-B49B-C3992C8CBC6B}"/>
              </c:ext>
            </c:extLst>
          </c:dPt>
          <c:dPt>
            <c:idx val="4"/>
            <c:invertIfNegative val="0"/>
            <c:bubble3D val="0"/>
            <c:extLst>
              <c:ext xmlns:c16="http://schemas.microsoft.com/office/drawing/2014/chart" uri="{C3380CC4-5D6E-409C-BE32-E72D297353CC}">
                <c16:uniqueId val="{00000002-3C16-4125-B97A-D0EBA9D0B1CF}"/>
              </c:ext>
            </c:extLst>
          </c:dPt>
          <c:dPt>
            <c:idx val="5"/>
            <c:invertIfNegative val="0"/>
            <c:bubble3D val="0"/>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dLbl>
              <c:idx val="4"/>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C16-4125-B97A-D0EBA9D0B1CF}"/>
                </c:ext>
              </c:extLst>
            </c:dLbl>
            <c:dLbl>
              <c:idx val="5"/>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B05-4EC0-B6C5-883B60DE7730}"/>
                </c:ext>
              </c:extLst>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c:v>
                </c:pt>
                <c:pt idx="1">
                  <c:v>Schick</c:v>
                </c:pt>
                <c:pt idx="2">
                  <c:v>Dollar Shave Club</c:v>
                </c:pt>
                <c:pt idx="3">
                  <c:v>Equate</c:v>
                </c:pt>
                <c:pt idx="4">
                  <c:v>Harry's</c:v>
                </c:pt>
                <c:pt idx="5">
                  <c:v>Van Der Hagen</c:v>
                </c:pt>
              </c:strCache>
            </c:strRef>
          </c:cat>
          <c:val>
            <c:numRef>
              <c:f>Sheet1!$B$2:$B$7</c:f>
              <c:numCache>
                <c:formatCode>General</c:formatCode>
                <c:ptCount val="6"/>
                <c:pt idx="0">
                  <c:v>1</c:v>
                </c:pt>
                <c:pt idx="1">
                  <c:v>1.0710000000000002</c:v>
                </c:pt>
                <c:pt idx="2">
                  <c:v>0.44399999999999995</c:v>
                </c:pt>
                <c:pt idx="3">
                  <c:v>1</c:v>
                </c:pt>
                <c:pt idx="4">
                  <c:v>0</c:v>
                </c:pt>
                <c:pt idx="5">
                  <c:v>0</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spPr>
              <a:solidFill>
                <a:srgbClr val="FFBFBF"/>
              </a:solidFill>
            </c:spPr>
            <c:extLst>
              <c:ext xmlns:c16="http://schemas.microsoft.com/office/drawing/2014/chart" uri="{C3380CC4-5D6E-409C-BE32-E72D297353CC}">
                <c16:uniqueId val="{00000003-B1F3-4B1C-B6BD-D7555A955EE3}"/>
              </c:ext>
            </c:extLst>
          </c:dPt>
          <c:dPt>
            <c:idx val="3"/>
            <c:invertIfNegative val="0"/>
            <c:bubble3D val="0"/>
            <c:spPr>
              <a:solidFill>
                <a:srgbClr val="FFBFBF"/>
              </a:solidFill>
            </c:spPr>
            <c:extLst>
              <c:ext xmlns:c16="http://schemas.microsoft.com/office/drawing/2014/chart" uri="{C3380CC4-5D6E-409C-BE32-E72D297353CC}">
                <c16:uniqueId val="{00000001-1D88-4E66-AA3A-770CA96ED1E8}"/>
              </c:ext>
            </c:extLst>
          </c:dPt>
          <c:dPt>
            <c:idx val="4"/>
            <c:invertIfNegative val="0"/>
            <c:bubble3D val="0"/>
            <c:extLst>
              <c:ext xmlns:c16="http://schemas.microsoft.com/office/drawing/2014/chart" uri="{C3380CC4-5D6E-409C-BE32-E72D297353CC}">
                <c16:uniqueId val="{00000004-B1F3-4B1C-B6BD-D7555A955EE3}"/>
              </c:ext>
            </c:extLst>
          </c:dPt>
          <c:dPt>
            <c:idx val="5"/>
            <c:invertIfNegative val="0"/>
            <c:bubble3D val="0"/>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dLbl>
              <c:idx val="4"/>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B1F3-4B1C-B6BD-D7555A955EE3}"/>
                </c:ext>
              </c:extLst>
            </c:dLbl>
            <c:dLbl>
              <c:idx val="5"/>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6D8A-4B36-B874-4E9C8B692C25}"/>
                </c:ext>
              </c:extLst>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c:v>
                </c:pt>
                <c:pt idx="1">
                  <c:v>Schick</c:v>
                </c:pt>
                <c:pt idx="2">
                  <c:v>Dollar Shave Club</c:v>
                </c:pt>
                <c:pt idx="3">
                  <c:v>Equate</c:v>
                </c:pt>
                <c:pt idx="4">
                  <c:v>Harry's</c:v>
                </c:pt>
                <c:pt idx="5">
                  <c:v>Van Der Hagen</c:v>
                </c:pt>
              </c:strCache>
            </c:strRef>
          </c:cat>
          <c:val>
            <c:numRef>
              <c:f>Sheet1!$B$2:$B$7</c:f>
              <c:numCache>
                <c:formatCode>General</c:formatCode>
                <c:ptCount val="6"/>
                <c:pt idx="0">
                  <c:v>4.3110918061391574</c:v>
                </c:pt>
                <c:pt idx="1">
                  <c:v>-0.54199151078099717</c:v>
                </c:pt>
                <c:pt idx="2">
                  <c:v>-0.64558707894090683</c:v>
                </c:pt>
                <c:pt idx="3">
                  <c:v>-0.83333633432079912</c:v>
                </c:pt>
                <c:pt idx="4">
                  <c:v>0</c:v>
                </c:pt>
                <c:pt idx="5">
                  <c:v>0</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64864197530864"/>
          <c:y val="0.12152940918360107"/>
          <c:w val="0.83974691358024689"/>
          <c:h val="0.72254306602702423"/>
        </c:manualLayout>
      </c:layout>
      <c:bubbleChart>
        <c:varyColors val="0"/>
        <c:ser>
          <c:idx val="0"/>
          <c:order val="0"/>
          <c:tx>
            <c:strRef>
              <c:f>Sheet1!$B$1</c:f>
              <c:strCache>
                <c:ptCount val="1"/>
                <c:pt idx="0">
                  <c:v>Average Value Uplift</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26FB-4B52-8D72-D56D618E8EAF}"/>
              </c:ext>
            </c:extLst>
          </c:dPt>
          <c:dPt>
            <c:idx val="1"/>
            <c:invertIfNegative val="0"/>
            <c:bubble3D val="0"/>
            <c:spPr>
              <a:solidFill>
                <a:srgbClr val="7ECAC4"/>
              </a:solidFill>
              <a:ln>
                <a:noFill/>
              </a:ln>
              <a:effectLst/>
            </c:spPr>
            <c:extLst>
              <c:ext xmlns:c16="http://schemas.microsoft.com/office/drawing/2014/chart" uri="{C3380CC4-5D6E-409C-BE32-E72D297353CC}">
                <c16:uniqueId val="{00000003-26FB-4B52-8D72-D56D618E8EAF}"/>
              </c:ext>
            </c:extLst>
          </c:dPt>
          <c:dPt>
            <c:idx val="2"/>
            <c:invertIfNegative val="0"/>
            <c:bubble3D val="0"/>
            <c:spPr>
              <a:solidFill>
                <a:srgbClr val="E6E5E5"/>
              </a:solidFill>
              <a:ln>
                <a:noFill/>
              </a:ln>
              <a:effectLst/>
            </c:spPr>
            <c:extLst>
              <c:ext xmlns:c16="http://schemas.microsoft.com/office/drawing/2014/chart" uri="{C3380CC4-5D6E-409C-BE32-E72D297353CC}">
                <c16:uniqueId val="{00000005-26FB-4B52-8D72-D56D618E8EAF}"/>
              </c:ext>
            </c:extLst>
          </c:dPt>
          <c:dPt>
            <c:idx val="3"/>
            <c:invertIfNegative val="0"/>
            <c:bubble3D val="0"/>
            <c:spPr>
              <a:solidFill>
                <a:srgbClr val="E6E5E5"/>
              </a:solidFill>
              <a:ln>
                <a:noFill/>
              </a:ln>
              <a:effectLst/>
            </c:spPr>
            <c:extLst>
              <c:ext xmlns:c16="http://schemas.microsoft.com/office/drawing/2014/chart" uri="{C3380CC4-5D6E-409C-BE32-E72D297353CC}">
                <c16:uniqueId val="{00000007-26FB-4B52-8D72-D56D618E8EAF}"/>
              </c:ext>
            </c:extLst>
          </c:dPt>
          <c:dPt>
            <c:idx val="4"/>
            <c:invertIfNegative val="0"/>
            <c:bubble3D val="0"/>
            <c:spPr>
              <a:solidFill>
                <a:srgbClr val="E6E5E5"/>
              </a:solidFill>
              <a:ln>
                <a:noFill/>
              </a:ln>
              <a:effectLst/>
            </c:spPr>
            <c:extLst>
              <c:ext xmlns:c16="http://schemas.microsoft.com/office/drawing/2014/chart" uri="{C3380CC4-5D6E-409C-BE32-E72D297353CC}">
                <c16:uniqueId val="{00000009-26FB-4B52-8D72-D56D618E8EAF}"/>
              </c:ext>
            </c:extLst>
          </c:dPt>
          <c:dPt>
            <c:idx val="5"/>
            <c:invertIfNegative val="0"/>
            <c:bubble3D val="0"/>
            <c:spPr>
              <a:solidFill>
                <a:srgbClr val="E6E5E5"/>
              </a:solidFill>
              <a:ln>
                <a:noFill/>
              </a:ln>
              <a:effectLst/>
            </c:spPr>
            <c:extLst>
              <c:ext xmlns:c16="http://schemas.microsoft.com/office/drawing/2014/chart" uri="{C3380CC4-5D6E-409C-BE32-E72D297353CC}">
                <c16:uniqueId val="{0000000B-26FB-4B52-8D72-D56D618E8EAF}"/>
              </c:ext>
            </c:extLst>
          </c:dPt>
          <c:dPt>
            <c:idx val="6"/>
            <c:invertIfNegative val="0"/>
            <c:bubble3D val="0"/>
            <c:spPr>
              <a:solidFill>
                <a:srgbClr val="7ECAC4"/>
              </a:solidFill>
              <a:ln>
                <a:noFill/>
              </a:ln>
              <a:effectLst/>
            </c:spPr>
            <c:extLst>
              <c:ext xmlns:c16="http://schemas.microsoft.com/office/drawing/2014/chart" uri="{C3380CC4-5D6E-409C-BE32-E72D297353CC}">
                <c16:uniqueId val="{0000000D-26FB-4B52-8D72-D56D618E8EAF}"/>
              </c:ext>
            </c:extLst>
          </c:dPt>
          <c:dPt>
            <c:idx val="7"/>
            <c:invertIfNegative val="0"/>
            <c:bubble3D val="0"/>
            <c:spPr>
              <a:solidFill>
                <a:srgbClr val="7ECAC4"/>
              </a:solidFill>
              <a:ln>
                <a:noFill/>
              </a:ln>
              <a:effectLst/>
            </c:spPr>
            <c:extLst>
              <c:ext xmlns:c16="http://schemas.microsoft.com/office/drawing/2014/chart" uri="{C3380CC4-5D6E-409C-BE32-E72D297353CC}">
                <c16:uniqueId val="{0000000F-26FB-4B52-8D72-D56D618E8EAF}"/>
              </c:ext>
            </c:extLst>
          </c:dPt>
          <c:dPt>
            <c:idx val="8"/>
            <c:invertIfNegative val="0"/>
            <c:bubble3D val="0"/>
            <c:spPr>
              <a:solidFill>
                <a:srgbClr val="E6E5E5"/>
              </a:solidFill>
              <a:ln>
                <a:noFill/>
              </a:ln>
              <a:effectLst/>
            </c:spPr>
            <c:extLst>
              <c:ext xmlns:c16="http://schemas.microsoft.com/office/drawing/2014/chart" uri="{C3380CC4-5D6E-409C-BE32-E72D297353CC}">
                <c16:uniqueId val="{00000011-26FB-4B52-8D72-D56D618E8EAF}"/>
              </c:ext>
            </c:extLst>
          </c:dPt>
          <c:dPt>
            <c:idx val="9"/>
            <c:invertIfNegative val="1"/>
            <c:bubble3D val="0"/>
            <c:spPr>
              <a:solidFill>
                <a:srgbClr val="E6E5E5"/>
              </a:solidFill>
              <a:ln>
                <a:noFill/>
              </a:ln>
              <a:effectLst/>
            </c:spPr>
            <c:extLst>
              <c:ext xmlns:c16="http://schemas.microsoft.com/office/drawing/2014/chart" uri="{C3380CC4-5D6E-409C-BE32-E72D297353CC}">
                <c16:uniqueId val="{00000000-7B2D-4A32-96D2-9C641BCDE5CC}"/>
              </c:ext>
            </c:extLst>
          </c:dPt>
          <c:dPt>
            <c:idx val="10"/>
            <c:invertIfNegative val="1"/>
            <c:bubble3D val="0"/>
            <c:spPr>
              <a:solidFill>
                <a:srgbClr val="E6E5E5"/>
              </a:solidFill>
              <a:ln>
                <a:noFill/>
              </a:ln>
              <a:effectLst/>
            </c:spPr>
            <c:extLst>
              <c:ext xmlns:c16="http://schemas.microsoft.com/office/drawing/2014/chart" uri="{C3380CC4-5D6E-409C-BE32-E72D297353CC}">
                <c16:uniqueId val="{00000001-7B2D-4A32-96D2-9C641BCDE5CC}"/>
              </c:ext>
            </c:extLst>
          </c:dPt>
          <c:dPt>
            <c:idx val="11"/>
            <c:invertIfNegative val="0"/>
            <c:bubble3D val="0"/>
            <c:spPr>
              <a:solidFill>
                <a:schemeClr val="bg2"/>
              </a:solidFill>
              <a:ln>
                <a:noFill/>
              </a:ln>
              <a:effectLst/>
            </c:spPr>
            <c:extLst>
              <c:ext xmlns:c16="http://schemas.microsoft.com/office/drawing/2014/chart" uri="{C3380CC4-5D6E-409C-BE32-E72D297353CC}">
                <c16:uniqueId val="{00000013-26FB-4B52-8D72-D56D618E8EAF}"/>
              </c:ext>
            </c:extLst>
          </c:dPt>
          <c:dPt>
            <c:idx val="12"/>
            <c:invertIfNegative val="0"/>
            <c:bubble3D val="0"/>
            <c:spPr>
              <a:solidFill>
                <a:schemeClr val="bg2"/>
              </a:solidFill>
              <a:ln>
                <a:noFill/>
              </a:ln>
              <a:effectLst/>
            </c:spPr>
            <c:extLst>
              <c:ext xmlns:c16="http://schemas.microsoft.com/office/drawing/2014/chart" uri="{C3380CC4-5D6E-409C-BE32-E72D297353CC}">
                <c16:uniqueId val="{00000002-7B2D-4A32-96D2-9C641BCDE5CC}"/>
              </c:ext>
            </c:extLst>
          </c:dPt>
          <c:dPt>
            <c:idx val="13"/>
            <c:invertIfNegative val="0"/>
            <c:bubble3D val="0"/>
            <c:extLst>
              <c:ext xmlns:c16="http://schemas.microsoft.com/office/drawing/2014/chart" uri="{C3380CC4-5D6E-409C-BE32-E72D297353CC}">
                <c16:uniqueId val="{00000017-26FB-4B52-8D72-D56D618E8EAF}"/>
              </c:ext>
            </c:extLst>
          </c:dPt>
          <c:dPt>
            <c:idx val="14"/>
            <c:invertIfNegative val="0"/>
            <c:bubble3D val="0"/>
            <c:spPr>
              <a:solidFill>
                <a:schemeClr val="bg2"/>
              </a:solidFill>
              <a:ln>
                <a:noFill/>
              </a:ln>
              <a:effectLst/>
            </c:spPr>
            <c:extLst>
              <c:ext xmlns:c16="http://schemas.microsoft.com/office/drawing/2014/chart" uri="{C3380CC4-5D6E-409C-BE32-E72D297353CC}">
                <c16:uniqueId val="{00000019-26FB-4B52-8D72-D56D618E8EAF}"/>
              </c:ext>
            </c:extLst>
          </c:dPt>
          <c:dPt>
            <c:idx val="15"/>
            <c:invertIfNegative val="0"/>
            <c:bubble3D val="0"/>
            <c:extLst>
              <c:ext xmlns:c16="http://schemas.microsoft.com/office/drawing/2014/chart" uri="{C3380CC4-5D6E-409C-BE32-E72D297353CC}">
                <c16:uniqueId val="{0000001C-26FB-4B52-8D72-D56D618E8EAF}"/>
              </c:ext>
            </c:extLst>
          </c:dPt>
          <c:dPt>
            <c:idx val="19"/>
            <c:invertIfNegative val="0"/>
            <c:bubble3D val="0"/>
            <c:spPr>
              <a:solidFill>
                <a:srgbClr val="7ECAC4"/>
              </a:solidFill>
              <a:ln>
                <a:noFill/>
              </a:ln>
              <a:effectLst/>
            </c:spPr>
            <c:extLst>
              <c:ext xmlns:c16="http://schemas.microsoft.com/office/drawing/2014/chart" uri="{C3380CC4-5D6E-409C-BE32-E72D297353CC}">
                <c16:uniqueId val="{00000002-0A6E-4C83-9A06-9C3309B2855E}"/>
              </c:ext>
            </c:extLst>
          </c:dPt>
          <c:dPt>
            <c:idx val="24"/>
            <c:invertIfNegative val="0"/>
            <c:bubble3D val="0"/>
            <c:spPr>
              <a:solidFill>
                <a:schemeClr val="bg2"/>
              </a:solidFill>
              <a:ln>
                <a:noFill/>
              </a:ln>
              <a:effectLst/>
            </c:spPr>
            <c:extLst>
              <c:ext xmlns:c16="http://schemas.microsoft.com/office/drawing/2014/chart" uri="{C3380CC4-5D6E-409C-BE32-E72D297353CC}">
                <c16:uniqueId val="{00000005-0A6E-4C83-9A06-9C3309B2855E}"/>
              </c:ext>
            </c:extLst>
          </c:dPt>
          <c:dPt>
            <c:idx val="29"/>
            <c:invertIfNegative val="0"/>
            <c:bubble3D val="0"/>
            <c:extLst>
              <c:ext xmlns:c16="http://schemas.microsoft.com/office/drawing/2014/chart" uri="{C3380CC4-5D6E-409C-BE32-E72D297353CC}">
                <c16:uniqueId val="{00000003-8F47-486F-B734-6012CEA493B3}"/>
              </c:ext>
            </c:extLst>
          </c:dPt>
          <c:dPt>
            <c:idx val="31"/>
            <c:invertIfNegative val="0"/>
            <c:bubble3D val="0"/>
            <c:spPr>
              <a:solidFill>
                <a:schemeClr val="accent2"/>
              </a:solidFill>
              <a:ln>
                <a:noFill/>
              </a:ln>
              <a:effectLst/>
            </c:spPr>
            <c:extLst>
              <c:ext xmlns:c16="http://schemas.microsoft.com/office/drawing/2014/chart" uri="{C3380CC4-5D6E-409C-BE32-E72D297353CC}">
                <c16:uniqueId val="{00000000-4D12-44DE-B956-CABCB15EBC04}"/>
              </c:ext>
            </c:extLst>
          </c:dPt>
          <c:dPt>
            <c:idx val="33"/>
            <c:invertIfNegative val="0"/>
            <c:bubble3D val="0"/>
            <c:spPr>
              <a:solidFill>
                <a:schemeClr val="accent2"/>
              </a:solidFill>
              <a:ln>
                <a:noFill/>
              </a:ln>
              <a:effectLst/>
            </c:spPr>
            <c:extLst>
              <c:ext xmlns:c16="http://schemas.microsoft.com/office/drawing/2014/chart" uri="{C3380CC4-5D6E-409C-BE32-E72D297353CC}">
                <c16:uniqueId val="{00000001-4D12-44DE-B956-CABCB15EBC04}"/>
              </c:ext>
            </c:extLst>
          </c:dPt>
          <c:dLbls>
            <c:dLbl>
              <c:idx val="0"/>
              <c:tx>
                <c:rich>
                  <a:bodyPr/>
                  <a:lstStyle/>
                  <a:p>
                    <a:fld id="{1C03AEEA-D2FF-46C7-BE3F-3D47141316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FB-4B52-8D72-D56D618E8EAF}"/>
                </c:ext>
              </c:extLst>
            </c:dLbl>
            <c:dLbl>
              <c:idx val="1"/>
              <c:tx>
                <c:rich>
                  <a:bodyPr/>
                  <a:lstStyle/>
                  <a:p>
                    <a:fld id="{2524E97C-7E33-47D8-9A39-3CC0D4D902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FB-4B52-8D72-D56D618E8EAF}"/>
                </c:ext>
              </c:extLst>
            </c:dLbl>
            <c:dLbl>
              <c:idx val="2"/>
              <c:tx>
                <c:rich>
                  <a:bodyPr/>
                  <a:lstStyle/>
                  <a:p>
                    <a:fld id="{70A9B94A-2179-44E0-9514-B8380EFCEA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26FB-4B52-8D72-D56D618E8EAF}"/>
                </c:ext>
              </c:extLst>
            </c:dLbl>
            <c:dLbl>
              <c:idx val="3"/>
              <c:tx>
                <c:rich>
                  <a:bodyPr/>
                  <a:lstStyle/>
                  <a:p>
                    <a:fld id="{CA4709B6-5EE4-431A-8AC3-DDE03530FB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FB-4B52-8D72-D56D618E8EAF}"/>
                </c:ext>
              </c:extLst>
            </c:dLbl>
            <c:dLbl>
              <c:idx val="4"/>
              <c:tx>
                <c:rich>
                  <a:bodyPr/>
                  <a:lstStyle/>
                  <a:p>
                    <a:fld id="{749E13E5-DCFE-43CA-93F4-004EFA11F3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FB-4B52-8D72-D56D618E8EAF}"/>
                </c:ext>
              </c:extLst>
            </c:dLbl>
            <c:dLbl>
              <c:idx val="5"/>
              <c:tx>
                <c:rich>
                  <a:bodyPr/>
                  <a:lstStyle/>
                  <a:p>
                    <a:fld id="{904778E9-975A-4BB7-BE8A-A667CCCC2B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26FB-4B52-8D72-D56D618E8EAF}"/>
                </c:ext>
              </c:extLst>
            </c:dLbl>
            <c:dLbl>
              <c:idx val="6"/>
              <c:tx>
                <c:rich>
                  <a:bodyPr/>
                  <a:lstStyle/>
                  <a:p>
                    <a:fld id="{1AB71D83-B3E1-4D09-98FE-C5019912A3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26FB-4B52-8D72-D56D618E8EAF}"/>
                </c:ext>
              </c:extLst>
            </c:dLbl>
            <c:dLbl>
              <c:idx val="7"/>
              <c:tx>
                <c:rich>
                  <a:bodyPr/>
                  <a:lstStyle/>
                  <a:p>
                    <a:fld id="{E090F00C-F213-4813-871D-10B7468C5F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26FB-4B52-8D72-D56D618E8EAF}"/>
                </c:ext>
              </c:extLst>
            </c:dLbl>
            <c:dLbl>
              <c:idx val="8"/>
              <c:tx>
                <c:rich>
                  <a:bodyPr/>
                  <a:lstStyle/>
                  <a:p>
                    <a:fld id="{250B9B84-DFCA-4F5E-AD3B-864EC9E390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26FB-4B52-8D72-D56D618E8EAF}"/>
                </c:ext>
              </c:extLst>
            </c:dLbl>
            <c:dLbl>
              <c:idx val="9"/>
              <c:tx>
                <c:rich>
                  <a:bodyPr/>
                  <a:lstStyle/>
                  <a:p>
                    <a:fld id="{C64F3348-46F2-4134-91FE-D193C09A9B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7B2D-4A32-96D2-9C641BCDE5CC}"/>
                </c:ext>
              </c:extLst>
            </c:dLbl>
            <c:dLbl>
              <c:idx val="10"/>
              <c:tx>
                <c:rich>
                  <a:bodyPr/>
                  <a:lstStyle/>
                  <a:p>
                    <a:fld id="{74AFC98F-2907-4A66-B66A-8EE4C5A473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B2D-4A32-96D2-9C641BCDE5CC}"/>
                </c:ext>
              </c:extLst>
            </c:dLbl>
            <c:dLbl>
              <c:idx val="11"/>
              <c:tx>
                <c:rich>
                  <a:bodyPr/>
                  <a:lstStyle/>
                  <a:p>
                    <a:fld id="{FA91F6EC-9E39-45C5-B5E2-9AFC754436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26FB-4B52-8D72-D56D618E8EAF}"/>
                </c:ext>
              </c:extLst>
            </c:dLbl>
            <c:dLbl>
              <c:idx val="12"/>
              <c:tx>
                <c:rich>
                  <a:bodyPr/>
                  <a:lstStyle/>
                  <a:p>
                    <a:fld id="{1A0F198C-C9B9-46EC-AB2A-3057C35343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7B2D-4A32-96D2-9C641BCDE5CC}"/>
                </c:ext>
              </c:extLst>
            </c:dLbl>
            <c:dLbl>
              <c:idx val="13"/>
              <c:tx>
                <c:rich>
                  <a:bodyPr/>
                  <a:lstStyle/>
                  <a:p>
                    <a:fld id="{F62F45E0-99AB-4071-9824-5120BBC1AC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26FB-4B52-8D72-D56D618E8EAF}"/>
                </c:ext>
              </c:extLst>
            </c:dLbl>
            <c:dLbl>
              <c:idx val="14"/>
              <c:tx>
                <c:rich>
                  <a:bodyPr/>
                  <a:lstStyle/>
                  <a:p>
                    <a:fld id="{5A66AE54-B09A-45AE-8846-5BFC93FD5E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26FB-4B52-8D72-D56D618E8EAF}"/>
                </c:ext>
              </c:extLst>
            </c:dLbl>
            <c:dLbl>
              <c:idx val="15"/>
              <c:tx>
                <c:rich>
                  <a:bodyPr/>
                  <a:lstStyle/>
                  <a:p>
                    <a:fld id="{7C26E370-B390-4ABD-A92A-FD48BE80DD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26FB-4B52-8D72-D56D618E8EAF}"/>
                </c:ext>
              </c:extLst>
            </c:dLbl>
            <c:dLbl>
              <c:idx val="16"/>
              <c:tx>
                <c:rich>
                  <a:bodyPr/>
                  <a:lstStyle/>
                  <a:p>
                    <a:fld id="{49DE1324-62E8-4ECE-80A6-08D028B91A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0A6E-4C83-9A06-9C3309B2855E}"/>
                </c:ext>
              </c:extLst>
            </c:dLbl>
            <c:dLbl>
              <c:idx val="17"/>
              <c:tx>
                <c:rich>
                  <a:bodyPr/>
                  <a:lstStyle/>
                  <a:p>
                    <a:fld id="{D1064D2A-F4D4-4159-8FE9-A549582540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0A6E-4C83-9A06-9C3309B2855E}"/>
                </c:ext>
              </c:extLst>
            </c:dLbl>
            <c:dLbl>
              <c:idx val="18"/>
              <c:tx>
                <c:rich>
                  <a:bodyPr/>
                  <a:lstStyle/>
                  <a:p>
                    <a:fld id="{FF145001-C27D-465D-840D-0060315D10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0A6E-4C83-9A06-9C3309B2855E}"/>
                </c:ext>
              </c:extLst>
            </c:dLbl>
            <c:dLbl>
              <c:idx val="19"/>
              <c:tx>
                <c:rich>
                  <a:bodyPr/>
                  <a:lstStyle/>
                  <a:p>
                    <a:fld id="{4D45F1CD-B21F-479E-BFED-BF8CAF9832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0A6E-4C83-9A06-9C3309B2855E}"/>
                </c:ext>
              </c:extLst>
            </c:dLbl>
            <c:dLbl>
              <c:idx val="20"/>
              <c:tx>
                <c:rich>
                  <a:bodyPr/>
                  <a:lstStyle/>
                  <a:p>
                    <a:fld id="{DCDC8ACB-2CA2-40DB-910E-878D14ADB4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5AD-4BCF-9CB2-60EDA2D7DB42}"/>
                </c:ext>
              </c:extLst>
            </c:dLbl>
            <c:dLbl>
              <c:idx val="21"/>
              <c:tx>
                <c:rich>
                  <a:bodyPr/>
                  <a:lstStyle/>
                  <a:p>
                    <a:fld id="{0DEB7E7C-8D39-47B5-BBAB-B0FD42E035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5AD-4BCF-9CB2-60EDA2D7DB42}"/>
                </c:ext>
              </c:extLst>
            </c:dLbl>
            <c:dLbl>
              <c:idx val="22"/>
              <c:tx>
                <c:rich>
                  <a:bodyPr/>
                  <a:lstStyle/>
                  <a:p>
                    <a:fld id="{FCB6A036-7C7D-4781-B681-32EE0B9F4A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5AD-4BCF-9CB2-60EDA2D7DB42}"/>
                </c:ext>
              </c:extLst>
            </c:dLbl>
            <c:dLbl>
              <c:idx val="23"/>
              <c:tx>
                <c:rich>
                  <a:bodyPr/>
                  <a:lstStyle/>
                  <a:p>
                    <a:fld id="{DDAA3983-1B7B-4499-91C9-1E66043727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5AD-4BCF-9CB2-60EDA2D7DB42}"/>
                </c:ext>
              </c:extLst>
            </c:dLbl>
            <c:dLbl>
              <c:idx val="24"/>
              <c:tx>
                <c:rich>
                  <a:bodyPr/>
                  <a:lstStyle/>
                  <a:p>
                    <a:fld id="{9245892C-077C-4614-BA2F-EA3EA72058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0A6E-4C83-9A06-9C3309B2855E}"/>
                </c:ext>
              </c:extLst>
            </c:dLbl>
            <c:dLbl>
              <c:idx val="25"/>
              <c:tx>
                <c:rich>
                  <a:bodyPr/>
                  <a:lstStyle/>
                  <a:p>
                    <a:fld id="{3FFFDEBA-DC5B-4085-BBDF-8A315D9827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4D12-44DE-B956-CABCB15EBC04}"/>
                </c:ext>
              </c:extLst>
            </c:dLbl>
            <c:dLbl>
              <c:idx val="26"/>
              <c:tx>
                <c:rich>
                  <a:bodyPr/>
                  <a:lstStyle/>
                  <a:p>
                    <a:fld id="{F6C79668-83C0-4670-BF46-8857D81D22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D12-44DE-B956-CABCB15EBC04}"/>
                </c:ext>
              </c:extLst>
            </c:dLbl>
            <c:dLbl>
              <c:idx val="27"/>
              <c:tx>
                <c:rich>
                  <a:bodyPr/>
                  <a:lstStyle/>
                  <a:p>
                    <a:fld id="{112100CF-058B-45F0-9BBD-D15690E68E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D12-44DE-B956-CABCB15EBC04}"/>
                </c:ext>
              </c:extLst>
            </c:dLbl>
            <c:dLbl>
              <c:idx val="28"/>
              <c:tx>
                <c:rich>
                  <a:bodyPr/>
                  <a:lstStyle/>
                  <a:p>
                    <a:fld id="{E850A086-A64C-49F8-9707-4F58343B36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D12-44DE-B956-CABCB15EBC04}"/>
                </c:ext>
              </c:extLst>
            </c:dLbl>
            <c:dLbl>
              <c:idx val="29"/>
              <c:tx>
                <c:rich>
                  <a:bodyPr/>
                  <a:lstStyle/>
                  <a:p>
                    <a:fld id="{D9926972-7167-43FF-8C40-C071497FF4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8F47-486F-B734-6012CEA493B3}"/>
                </c:ext>
              </c:extLst>
            </c:dLbl>
            <c:dLbl>
              <c:idx val="30"/>
              <c:tx>
                <c:rich>
                  <a:bodyPr/>
                  <a:lstStyle/>
                  <a:p>
                    <a:fld id="{E4544174-2696-4688-8EC4-469090B91B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D12-44DE-B956-CABCB15EBC04}"/>
                </c:ext>
              </c:extLst>
            </c:dLbl>
            <c:dLbl>
              <c:idx val="31"/>
              <c:tx>
                <c:rich>
                  <a:bodyPr/>
                  <a:lstStyle/>
                  <a:p>
                    <a:fld id="{FB8B33D0-3693-4582-A897-756257811F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D12-44DE-B956-CABCB15EBC04}"/>
                </c:ext>
              </c:extLst>
            </c:dLbl>
            <c:dLbl>
              <c:idx val="32"/>
              <c:tx>
                <c:rich>
                  <a:bodyPr/>
                  <a:lstStyle/>
                  <a:p>
                    <a:fld id="{94C1535D-E02F-4E80-BF1B-7161D323B1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D12-44DE-B956-CABCB15EBC04}"/>
                </c:ext>
              </c:extLst>
            </c:dLbl>
            <c:dLbl>
              <c:idx val="33"/>
              <c:tx>
                <c:rich>
                  <a:bodyPr/>
                  <a:lstStyle/>
                  <a:p>
                    <a:fld id="{6B401128-1D6A-4527-9568-385B37E4DA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D12-44DE-B956-CABCB15EBC04}"/>
                </c:ext>
              </c:extLst>
            </c:dLbl>
            <c:dLbl>
              <c:idx val="34"/>
              <c:tx>
                <c:rich>
                  <a:bodyPr/>
                  <a:lstStyle/>
                  <a:p>
                    <a:fld id="{C4A03EA0-CECA-4D4C-A725-40CE0ECF2E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D12-44DE-B956-CABCB15EBC04}"/>
                </c:ext>
              </c:extLst>
            </c:dLbl>
            <c:dLbl>
              <c:idx val="35"/>
              <c:tx>
                <c:rich>
                  <a:bodyPr/>
                  <a:lstStyle/>
                  <a:p>
                    <a:fld id="{82751890-EDD4-45AF-8B7F-1DC2AAE18F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4D12-44DE-B956-CABCB15EBC04}"/>
                </c:ext>
              </c:extLst>
            </c:dLbl>
            <c:dLbl>
              <c:idx val="36"/>
              <c:tx>
                <c:rich>
                  <a:bodyPr/>
                  <a:lstStyle/>
                  <a:p>
                    <a:fld id="{FEC502EE-5B5B-4E12-B2EA-28789734C6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4D12-44DE-B956-CABCB15EBC04}"/>
                </c:ext>
              </c:extLst>
            </c:dLbl>
            <c:dLbl>
              <c:idx val="37"/>
              <c:tx>
                <c:rich>
                  <a:bodyPr/>
                  <a:lstStyle/>
                  <a:p>
                    <a:fld id="{485E8165-9B14-480C-8333-86CD7CC7B9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4D12-44DE-B956-CABCB15EBC04}"/>
                </c:ext>
              </c:extLst>
            </c:dLbl>
            <c:dLbl>
              <c:idx val="38"/>
              <c:tx>
                <c:rich>
                  <a:bodyPr/>
                  <a:lstStyle/>
                  <a:p>
                    <a:fld id="{EEF7C445-E381-4D20-BA3A-BD8FAE7428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4D12-44DE-B956-CABCB15EBC04}"/>
                </c:ext>
              </c:extLst>
            </c:dLbl>
            <c:dLbl>
              <c:idx val="39"/>
              <c:tx>
                <c:rich>
                  <a:bodyPr/>
                  <a:lstStyle/>
                  <a:p>
                    <a:fld id="{58515B5C-4C31-47E4-B918-0BA51676FC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4D12-44DE-B956-CABCB15EBC04}"/>
                </c:ext>
              </c:extLst>
            </c:dLbl>
            <c:dLbl>
              <c:idx val="40"/>
              <c:tx>
                <c:rich>
                  <a:bodyPr/>
                  <a:lstStyle/>
                  <a:p>
                    <a:fld id="{039364C4-A8E4-4BE6-A16F-E38D152946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4D12-44DE-B956-CABCB15EBC04}"/>
                </c:ext>
              </c:extLst>
            </c:dLbl>
            <c:dLbl>
              <c:idx val="41"/>
              <c:tx>
                <c:rich>
                  <a:bodyPr/>
                  <a:lstStyle/>
                  <a:p>
                    <a:fld id="{850EA9C9-1D45-40F2-8BCB-8E3F02C8A9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4D12-44DE-B956-CABCB15EBC04}"/>
                </c:ext>
              </c:extLst>
            </c:dLbl>
            <c:dLbl>
              <c:idx val="42"/>
              <c:tx>
                <c:rich>
                  <a:bodyPr/>
                  <a:lstStyle/>
                  <a:p>
                    <a:fld id="{21FC755E-CB57-4963-95AA-1DCCE1764B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4D12-44DE-B956-CABCB15EBC04}"/>
                </c:ext>
              </c:extLst>
            </c:dLbl>
            <c:dLbl>
              <c:idx val="43"/>
              <c:tx>
                <c:rich>
                  <a:bodyPr/>
                  <a:lstStyle/>
                  <a:p>
                    <a:fld id="{CB6C705A-164A-40AD-B6D6-CADD0B6C62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4D12-44DE-B956-CABCB15EBC04}"/>
                </c:ext>
              </c:extLst>
            </c:dLbl>
            <c:dLbl>
              <c:idx val="44"/>
              <c:tx>
                <c:rich>
                  <a:bodyPr/>
                  <a:lstStyle/>
                  <a:p>
                    <a:fld id="{A30EC15A-8204-42F1-9761-5E19C7ECCB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4D12-44DE-B956-CABCB15EBC04}"/>
                </c:ext>
              </c:extLst>
            </c:dLbl>
            <c:dLbl>
              <c:idx val="45"/>
              <c:tx>
                <c:rich>
                  <a:bodyPr/>
                  <a:lstStyle/>
                  <a:p>
                    <a:fld id="{F73A74E0-5981-4781-8D73-8B88095DB7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4D12-44DE-B956-CABCB15EBC04}"/>
                </c:ext>
              </c:extLst>
            </c:dLbl>
            <c:dLbl>
              <c:idx val="46"/>
              <c:tx>
                <c:rich>
                  <a:bodyPr/>
                  <a:lstStyle/>
                  <a:p>
                    <a:fld id="{CA814617-E8B0-482B-A082-F2F15BC816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4D12-44DE-B956-CABCB15EBC04}"/>
                </c:ext>
              </c:extLst>
            </c:dLbl>
            <c:dLbl>
              <c:idx val="47"/>
              <c:tx>
                <c:rich>
                  <a:bodyPr/>
                  <a:lstStyle/>
                  <a:p>
                    <a:fld id="{03BA3EC6-1066-447F-AED6-AF99EAB8A9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4D12-44DE-B956-CABCB15EBC04}"/>
                </c:ext>
              </c:extLst>
            </c:dLbl>
            <c:dLbl>
              <c:idx val="48"/>
              <c:tx>
                <c:rich>
                  <a:bodyPr/>
                  <a:lstStyle/>
                  <a:p>
                    <a:fld id="{42689E88-A59F-4F6C-8086-3C58665A07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4D12-44DE-B956-CABCB15EBC04}"/>
                </c:ext>
              </c:extLst>
            </c:dLbl>
            <c:dLbl>
              <c:idx val="49"/>
              <c:tx>
                <c:rich>
                  <a:bodyPr/>
                  <a:lstStyle/>
                  <a:p>
                    <a:fld id="{B8E81504-0F95-4C0B-AC70-922302779C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4D12-44DE-B956-CABCB15EBC04}"/>
                </c:ext>
              </c:extLst>
            </c:dLbl>
            <c:dLbl>
              <c:idx val="50"/>
              <c:tx>
                <c:rich>
                  <a:bodyPr/>
                  <a:lstStyle/>
                  <a:p>
                    <a:fld id="{4B0A1D3D-F360-46AF-B602-70BB116063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4D12-44DE-B956-CABCB15EBC04}"/>
                </c:ext>
              </c:extLst>
            </c:dLbl>
            <c:dLbl>
              <c:idx val="51"/>
              <c:tx>
                <c:rich>
                  <a:bodyPr/>
                  <a:lstStyle/>
                  <a:p>
                    <a:fld id="{7A3BF502-6EF4-48EB-991E-6A3F825B46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4D12-44DE-B956-CABCB15EBC04}"/>
                </c:ext>
              </c:extLst>
            </c:dLbl>
            <c:dLbl>
              <c:idx val="52"/>
              <c:tx>
                <c:rich>
                  <a:bodyPr/>
                  <a:lstStyle/>
                  <a:p>
                    <a:fld id="{B5654C5D-BA84-41BC-BE02-F356677E1D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4D12-44DE-B956-CABCB15EBC04}"/>
                </c:ext>
              </c:extLst>
            </c:dLbl>
            <c:dLbl>
              <c:idx val="53"/>
              <c:tx>
                <c:rich>
                  <a:bodyPr/>
                  <a:lstStyle/>
                  <a:p>
                    <a:fld id="{0C6F164D-474F-4B91-91B9-765D606DE2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4D12-44DE-B956-CABCB15EBC04}"/>
                </c:ext>
              </c:extLst>
            </c:dLbl>
            <c:dLbl>
              <c:idx val="54"/>
              <c:tx>
                <c:rich>
                  <a:bodyPr/>
                  <a:lstStyle/>
                  <a:p>
                    <a:fld id="{DB7BDA88-645C-4E55-8451-28B28DDF24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4D12-44DE-B956-CABCB15EBC04}"/>
                </c:ext>
              </c:extLst>
            </c:dLbl>
            <c:dLbl>
              <c:idx val="55"/>
              <c:tx>
                <c:rich>
                  <a:bodyPr/>
                  <a:lstStyle/>
                  <a:p>
                    <a:fld id="{E6A66152-5EDE-402A-93E8-2598EA870A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D12-44DE-B956-CABCB15EBC04}"/>
                </c:ext>
              </c:extLst>
            </c:dLbl>
            <c:dLbl>
              <c:idx val="56"/>
              <c:tx>
                <c:rich>
                  <a:bodyPr/>
                  <a:lstStyle/>
                  <a:p>
                    <a:fld id="{23EE7747-9F57-4F98-93DB-62C5FFB22E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8E3F-4D1B-A313-C02BEC0FDBD1}"/>
                </c:ext>
              </c:extLst>
            </c:dLbl>
            <c:dLbl>
              <c:idx val="57"/>
              <c:tx>
                <c:rich>
                  <a:bodyPr/>
                  <a:lstStyle/>
                  <a:p>
                    <a:fld id="{BFC9C06F-13F5-471E-BC3A-AF0907A206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8E3F-4D1B-A313-C02BEC0FDBD1}"/>
                </c:ext>
              </c:extLst>
            </c:dLbl>
            <c:dLbl>
              <c:idx val="58"/>
              <c:tx>
                <c:rich>
                  <a:bodyPr/>
                  <a:lstStyle/>
                  <a:p>
                    <a:fld id="{0CEA7653-B45D-4B61-9269-E739498C9C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8E3F-4D1B-A313-C02BEC0FDBD1}"/>
                </c:ext>
              </c:extLst>
            </c:dLbl>
            <c:dLbl>
              <c:idx val="59"/>
              <c:tx>
                <c:rich>
                  <a:bodyPr/>
                  <a:lstStyle/>
                  <a:p>
                    <a:fld id="{85C06CBB-735B-4215-B2FD-79B5E79744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8E3F-4D1B-A313-C02BEC0FDBD1}"/>
                </c:ext>
              </c:extLst>
            </c:dLbl>
            <c:dLbl>
              <c:idx val="60"/>
              <c:tx>
                <c:rich>
                  <a:bodyPr/>
                  <a:lstStyle/>
                  <a:p>
                    <a:fld id="{30A37DDF-09A9-4361-BF7A-5DB61A5E58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8E3F-4D1B-A313-C02BEC0FDBD1}"/>
                </c:ext>
              </c:extLst>
            </c:dLbl>
            <c:dLbl>
              <c:idx val="61"/>
              <c:tx>
                <c:rich>
                  <a:bodyPr/>
                  <a:lstStyle/>
                  <a:p>
                    <a:fld id="{827A8D68-F1BB-49C8-8579-7518F68D7B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8E3F-4D1B-A313-C02BEC0FDBD1}"/>
                </c:ext>
              </c:extLst>
            </c:dLbl>
            <c:dLbl>
              <c:idx val="62"/>
              <c:tx>
                <c:rich>
                  <a:bodyPr/>
                  <a:lstStyle/>
                  <a:p>
                    <a:fld id="{A4E17F3F-F8F8-4574-9EAD-5270491F0F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8E3F-4D1B-A313-C02BEC0FDBD1}"/>
                </c:ext>
              </c:extLst>
            </c:dLbl>
            <c:dLbl>
              <c:idx val="63"/>
              <c:tx>
                <c:rich>
                  <a:bodyPr/>
                  <a:lstStyle/>
                  <a:p>
                    <a:fld id="{F1182364-CC1F-4AAD-8F4A-6237CE1B60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8E3F-4D1B-A313-C02BEC0FDBD1}"/>
                </c:ext>
              </c:extLst>
            </c:dLbl>
            <c:dLbl>
              <c:idx val="64"/>
              <c:tx>
                <c:rich>
                  <a:bodyPr/>
                  <a:lstStyle/>
                  <a:p>
                    <a:fld id="{EB55F6FD-F48D-4719-960C-F798BEAA7E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8E3F-4D1B-A313-C02BEC0FDBD1}"/>
                </c:ext>
              </c:extLst>
            </c:dLbl>
            <c:dLbl>
              <c:idx val="65"/>
              <c:tx>
                <c:rich>
                  <a:bodyPr/>
                  <a:lstStyle/>
                  <a:p>
                    <a:fld id="{B8A03690-DFC1-400B-BCA9-DE268569DA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8E3F-4D1B-A313-C02BEC0FDBD1}"/>
                </c:ext>
              </c:extLst>
            </c:dLbl>
            <c:dLbl>
              <c:idx val="66"/>
              <c:tx>
                <c:rich>
                  <a:bodyPr/>
                  <a:lstStyle/>
                  <a:p>
                    <a:fld id="{DE476A50-5A9A-4228-B806-D75E46F07B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8E3F-4D1B-A313-C02BEC0FDBD1}"/>
                </c:ext>
              </c:extLst>
            </c:dLbl>
            <c:dLbl>
              <c:idx val="67"/>
              <c:tx>
                <c:rich>
                  <a:bodyPr/>
                  <a:lstStyle/>
                  <a:p>
                    <a:fld id="{B78378E7-BD83-4225-A1D1-55ACCC20DF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8E3F-4D1B-A313-C02BEC0FDBD1}"/>
                </c:ext>
              </c:extLst>
            </c:dLbl>
            <c:dLbl>
              <c:idx val="68"/>
              <c:tx>
                <c:rich>
                  <a:bodyPr/>
                  <a:lstStyle/>
                  <a:p>
                    <a:fld id="{19637183-58B1-43DE-B5F5-0FF864BC64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8E3F-4D1B-A313-C02BEC0FDBD1}"/>
                </c:ext>
              </c:extLst>
            </c:dLbl>
            <c:dLbl>
              <c:idx val="69"/>
              <c:tx>
                <c:rich>
                  <a:bodyPr/>
                  <a:lstStyle/>
                  <a:p>
                    <a:fld id="{EEBC4682-3EF3-4A36-B8DA-3B71F403ED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8E3F-4D1B-A313-C02BEC0FDBD1}"/>
                </c:ext>
              </c:extLst>
            </c:dLbl>
            <c:dLbl>
              <c:idx val="70"/>
              <c:tx>
                <c:rich>
                  <a:bodyPr/>
                  <a:lstStyle/>
                  <a:p>
                    <a:fld id="{BE362F7C-2842-4868-8129-7376D6E2E8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8E3F-4D1B-A313-C02BEC0FDBD1}"/>
                </c:ext>
              </c:extLst>
            </c:dLbl>
            <c:dLbl>
              <c:idx val="71"/>
              <c:tx>
                <c:rich>
                  <a:bodyPr/>
                  <a:lstStyle/>
                  <a:p>
                    <a:fld id="{3106EF96-92DB-4256-A245-417136A3B5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8E3F-4D1B-A313-C02BEC0FDBD1}"/>
                </c:ext>
              </c:extLst>
            </c:dLbl>
            <c:dLbl>
              <c:idx val="72"/>
              <c:tx>
                <c:rich>
                  <a:bodyPr/>
                  <a:lstStyle/>
                  <a:p>
                    <a:fld id="{C57390D2-1476-4BFF-82D9-657AF2A0B4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8E3F-4D1B-A313-C02BEC0FDBD1}"/>
                </c:ext>
              </c:extLst>
            </c:dLbl>
            <c:dLbl>
              <c:idx val="73"/>
              <c:tx>
                <c:rich>
                  <a:bodyPr/>
                  <a:lstStyle/>
                  <a:p>
                    <a:fld id="{F71FDC06-050E-46C1-8DBC-9C040A4D1D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8E3F-4D1B-A313-C02BEC0FDBD1}"/>
                </c:ext>
              </c:extLst>
            </c:dLbl>
            <c:dLbl>
              <c:idx val="74"/>
              <c:tx>
                <c:rich>
                  <a:bodyPr/>
                  <a:lstStyle/>
                  <a:p>
                    <a:fld id="{866DA6DD-0079-4B63-8322-041D01CF3D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8E3F-4D1B-A313-C02BEC0FDBD1}"/>
                </c:ext>
              </c:extLst>
            </c:dLbl>
            <c:dLbl>
              <c:idx val="75"/>
              <c:tx>
                <c:rich>
                  <a:bodyPr/>
                  <a:lstStyle/>
                  <a:p>
                    <a:fld id="{6182C331-DAD5-426D-93DA-F242DDDF45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8E3F-4D1B-A313-C02BEC0FDBD1}"/>
                </c:ext>
              </c:extLst>
            </c:dLbl>
            <c:dLbl>
              <c:idx val="76"/>
              <c:tx>
                <c:rich>
                  <a:bodyPr/>
                  <a:lstStyle/>
                  <a:p>
                    <a:fld id="{4ED4A3A7-842F-4ACC-9403-4A7DDB9729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8E3F-4D1B-A313-C02BEC0FDBD1}"/>
                </c:ext>
              </c:extLst>
            </c:dLbl>
            <c:dLbl>
              <c:idx val="77"/>
              <c:tx>
                <c:rich>
                  <a:bodyPr/>
                  <a:lstStyle/>
                  <a:p>
                    <a:fld id="{9B86B0A1-86A3-4EA9-A73F-6566F8DBF5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8E3F-4D1B-A313-C02BEC0FDBD1}"/>
                </c:ext>
              </c:extLst>
            </c:dLbl>
            <c:dLbl>
              <c:idx val="78"/>
              <c:tx>
                <c:rich>
                  <a:bodyPr/>
                  <a:lstStyle/>
                  <a:p>
                    <a:fld id="{9A1B4688-1F9D-4916-A937-4DAFDF9090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8E3F-4D1B-A313-C02BEC0FDBD1}"/>
                </c:ext>
              </c:extLst>
            </c:dLbl>
            <c:dLbl>
              <c:idx val="79"/>
              <c:tx>
                <c:rich>
                  <a:bodyPr/>
                  <a:lstStyle/>
                  <a:p>
                    <a:fld id="{10918BA7-0912-4AB5-9CDF-5C32626821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8E3F-4D1B-A313-C02BEC0FDBD1}"/>
                </c:ext>
              </c:extLst>
            </c:dLbl>
            <c:dLbl>
              <c:idx val="80"/>
              <c:tx>
                <c:rich>
                  <a:bodyPr/>
                  <a:lstStyle/>
                  <a:p>
                    <a:fld id="{7C42D925-7EF9-4129-986A-8D2338D290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8E3F-4D1B-A313-C02BEC0FDBD1}"/>
                </c:ext>
              </c:extLst>
            </c:dLbl>
            <c:dLbl>
              <c:idx val="81"/>
              <c:tx>
                <c:rich>
                  <a:bodyPr/>
                  <a:lstStyle/>
                  <a:p>
                    <a:fld id="{0BE182E1-A413-4437-B8E3-A12962F09A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9-8E3F-4D1B-A313-C02BEC0FDBD1}"/>
                </c:ext>
              </c:extLst>
            </c:dLbl>
            <c:dLbl>
              <c:idx val="82"/>
              <c:tx>
                <c:rich>
                  <a:bodyPr/>
                  <a:lstStyle/>
                  <a:p>
                    <a:fld id="{42D2DB2A-D4DD-43E6-91D0-18B01D45DD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A-8E3F-4D1B-A313-C02BEC0FDBD1}"/>
                </c:ext>
              </c:extLst>
            </c:dLbl>
            <c:dLbl>
              <c:idx val="83"/>
              <c:tx>
                <c:rich>
                  <a:bodyPr/>
                  <a:lstStyle/>
                  <a:p>
                    <a:fld id="{17461A56-4093-4CF0-A8AA-591C56B94A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B-8E3F-4D1B-A313-C02BEC0FDBD1}"/>
                </c:ext>
              </c:extLst>
            </c:dLbl>
            <c:dLbl>
              <c:idx val="84"/>
              <c:tx>
                <c:rich>
                  <a:bodyPr/>
                  <a:lstStyle/>
                  <a:p>
                    <a:fld id="{3EEC688F-C5EA-46A7-9282-D57593C7BE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C-8E3F-4D1B-A313-C02BEC0FDBD1}"/>
                </c:ext>
              </c:extLst>
            </c:dLbl>
            <c:dLbl>
              <c:idx val="85"/>
              <c:tx>
                <c:rich>
                  <a:bodyPr/>
                  <a:lstStyle/>
                  <a:p>
                    <a:fld id="{A840F9CF-7ABC-4B75-9C2C-9407898808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D-8E3F-4D1B-A313-C02BEC0FDBD1}"/>
                </c:ext>
              </c:extLst>
            </c:dLbl>
            <c:dLbl>
              <c:idx val="86"/>
              <c:tx>
                <c:rich>
                  <a:bodyPr/>
                  <a:lstStyle/>
                  <a:p>
                    <a:fld id="{49FB5420-474C-4F09-954E-BF2E1FF785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E-8E3F-4D1B-A313-C02BEC0FDBD1}"/>
                </c:ext>
              </c:extLst>
            </c:dLbl>
            <c:dLbl>
              <c:idx val="87"/>
              <c:tx>
                <c:rich>
                  <a:bodyPr/>
                  <a:lstStyle/>
                  <a:p>
                    <a:fld id="{2623D109-EDEC-43A0-B026-5B1C1996B6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F-8E3F-4D1B-A313-C02BEC0FDBD1}"/>
                </c:ext>
              </c:extLst>
            </c:dLbl>
            <c:dLbl>
              <c:idx val="88"/>
              <c:tx>
                <c:rich>
                  <a:bodyPr/>
                  <a:lstStyle/>
                  <a:p>
                    <a:fld id="{56B639E6-59EC-40B4-8634-CE2AB135DF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0-8E3F-4D1B-A313-C02BEC0FDBD1}"/>
                </c:ext>
              </c:extLst>
            </c:dLbl>
            <c:dLbl>
              <c:idx val="89"/>
              <c:tx>
                <c:rich>
                  <a:bodyPr/>
                  <a:lstStyle/>
                  <a:p>
                    <a:fld id="{EB0CC9EF-7143-4E29-8A1D-5FAFD29CD7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1-8E3F-4D1B-A313-C02BEC0FDBD1}"/>
                </c:ext>
              </c:extLst>
            </c:dLbl>
            <c:dLbl>
              <c:idx val="90"/>
              <c:tx>
                <c:rich>
                  <a:bodyPr/>
                  <a:lstStyle/>
                  <a:p>
                    <a:fld id="{18EF7ECF-E013-46D1-BA2D-2E40CE446D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2-8E3F-4D1B-A313-C02BEC0FDBD1}"/>
                </c:ext>
              </c:extLst>
            </c:dLbl>
            <c:dLbl>
              <c:idx val="91"/>
              <c:tx>
                <c:rich>
                  <a:bodyPr/>
                  <a:lstStyle/>
                  <a:p>
                    <a:fld id="{C8818C79-936B-4DD2-AE92-ABD2DD15BD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3-8E3F-4D1B-A313-C02BEC0FDBD1}"/>
                </c:ext>
              </c:extLst>
            </c:dLbl>
            <c:dLbl>
              <c:idx val="92"/>
              <c:tx>
                <c:rich>
                  <a:bodyPr/>
                  <a:lstStyle/>
                  <a:p>
                    <a:fld id="{9A93A5FF-5B6D-420C-B983-10A79F5C35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4-8E3F-4D1B-A313-C02BEC0FDBD1}"/>
                </c:ext>
              </c:extLst>
            </c:dLbl>
            <c:dLbl>
              <c:idx val="93"/>
              <c:tx>
                <c:rich>
                  <a:bodyPr/>
                  <a:lstStyle/>
                  <a:p>
                    <a:fld id="{66E3AA4D-7A81-42EE-9056-DABECDC21F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5-8E3F-4D1B-A313-C02BEC0FDBD1}"/>
                </c:ext>
              </c:extLst>
            </c:dLbl>
            <c:dLbl>
              <c:idx val="94"/>
              <c:tx>
                <c:rich>
                  <a:bodyPr/>
                  <a:lstStyle/>
                  <a:p>
                    <a:fld id="{BB835B51-9731-4F35-8F8F-9C580414B0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6-8E3F-4D1B-A313-C02BEC0FDBD1}"/>
                </c:ext>
              </c:extLst>
            </c:dLbl>
            <c:dLbl>
              <c:idx val="95"/>
              <c:tx>
                <c:rich>
                  <a:bodyPr/>
                  <a:lstStyle/>
                  <a:p>
                    <a:fld id="{40B5DB78-EBEE-44DF-A12C-C9DF4464B7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7-8E3F-4D1B-A313-C02BEC0FDBD1}"/>
                </c:ext>
              </c:extLst>
            </c:dLbl>
            <c:dLbl>
              <c:idx val="96"/>
              <c:tx>
                <c:rich>
                  <a:bodyPr/>
                  <a:lstStyle/>
                  <a:p>
                    <a:fld id="{16642FC6-A600-45E6-A75A-6BE7B1491D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8-8E3F-4D1B-A313-C02BEC0FDBD1}"/>
                </c:ext>
              </c:extLst>
            </c:dLbl>
            <c:dLbl>
              <c:idx val="97"/>
              <c:tx>
                <c:rich>
                  <a:bodyPr/>
                  <a:lstStyle/>
                  <a:p>
                    <a:fld id="{2E6CBAF7-5EC0-41D3-A932-1B2BF2360A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9-8E3F-4D1B-A313-C02BEC0FDBD1}"/>
                </c:ext>
              </c:extLst>
            </c:dLbl>
            <c:dLbl>
              <c:idx val="98"/>
              <c:tx>
                <c:rich>
                  <a:bodyPr/>
                  <a:lstStyle/>
                  <a:p>
                    <a:fld id="{92D3B265-1CB3-4A43-AA92-F1F7E85E18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A-8E3F-4D1B-A313-C02BEC0FDBD1}"/>
                </c:ext>
              </c:extLst>
            </c:dLbl>
            <c:dLbl>
              <c:idx val="99"/>
              <c:tx>
                <c:rich>
                  <a:bodyPr/>
                  <a:lstStyle/>
                  <a:p>
                    <a:fld id="{F12775CC-702D-4501-A528-D4ED19A141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B-8E3F-4D1B-A313-C02BEC0FDBD1}"/>
                </c:ext>
              </c:extLst>
            </c:dLbl>
            <c:dLbl>
              <c:idx val="100"/>
              <c:tx>
                <c:rich>
                  <a:bodyPr/>
                  <a:lstStyle/>
                  <a:p>
                    <a:fld id="{F231ED6A-406A-4243-8147-4228D6B06C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C-8E3F-4D1B-A313-C02BEC0FDBD1}"/>
                </c:ext>
              </c:extLst>
            </c:dLbl>
            <c:dLbl>
              <c:idx val="101"/>
              <c:tx>
                <c:rich>
                  <a:bodyPr/>
                  <a:lstStyle/>
                  <a:p>
                    <a:fld id="{A4E5B750-6274-4EFE-9A91-F1E4050C5D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D-8E3F-4D1B-A313-C02BEC0FDBD1}"/>
                </c:ext>
              </c:extLst>
            </c:dLbl>
            <c:dLbl>
              <c:idx val="102"/>
              <c:tx>
                <c:rich>
                  <a:bodyPr/>
                  <a:lstStyle/>
                  <a:p>
                    <a:fld id="{B5E0BF5F-91AA-49C5-BADC-F03FE0CCB0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E-8E3F-4D1B-A313-C02BEC0FDBD1}"/>
                </c:ext>
              </c:extLst>
            </c:dLbl>
            <c:dLbl>
              <c:idx val="103"/>
              <c:tx>
                <c:rich>
                  <a:bodyPr/>
                  <a:lstStyle/>
                  <a:p>
                    <a:fld id="{E49105FC-8C92-4934-A255-1B1E766990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F-8E3F-4D1B-A313-C02BEC0FDBD1}"/>
                </c:ext>
              </c:extLst>
            </c:dLbl>
            <c:dLbl>
              <c:idx val="104"/>
              <c:tx>
                <c:rich>
                  <a:bodyPr/>
                  <a:lstStyle/>
                  <a:p>
                    <a:fld id="{49925BDE-2C68-4A2E-BA1E-468060B62F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0-8E3F-4D1B-A313-C02BEC0FDBD1}"/>
                </c:ext>
              </c:extLst>
            </c:dLbl>
            <c:dLbl>
              <c:idx val="105"/>
              <c:tx>
                <c:rich>
                  <a:bodyPr/>
                  <a:lstStyle/>
                  <a:p>
                    <a:fld id="{8D13662E-C751-43D8-B255-3A651C91B7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1-8E3F-4D1B-A313-C02BEC0FDBD1}"/>
                </c:ext>
              </c:extLst>
            </c:dLbl>
            <c:dLbl>
              <c:idx val="106"/>
              <c:tx>
                <c:rich>
                  <a:bodyPr/>
                  <a:lstStyle/>
                  <a:p>
                    <a:fld id="{4694F7B0-A3D5-4CA3-814E-683FF022EE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2-8E3F-4D1B-A313-C02BEC0FDBD1}"/>
                </c:ext>
              </c:extLst>
            </c:dLbl>
            <c:dLbl>
              <c:idx val="107"/>
              <c:tx>
                <c:rich>
                  <a:bodyPr/>
                  <a:lstStyle/>
                  <a:p>
                    <a:fld id="{3CDD95DE-0100-4713-B489-D02C83016F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3-8E3F-4D1B-A313-C02BEC0FDBD1}"/>
                </c:ext>
              </c:extLst>
            </c:dLbl>
            <c:dLbl>
              <c:idx val="108"/>
              <c:tx>
                <c:rich>
                  <a:bodyPr/>
                  <a:lstStyle/>
                  <a:p>
                    <a:fld id="{59DDB756-F84D-4C49-80DA-0D03A779B2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4-8E3F-4D1B-A313-C02BEC0FDBD1}"/>
                </c:ext>
              </c:extLst>
            </c:dLbl>
            <c:dLbl>
              <c:idx val="109"/>
              <c:tx>
                <c:rich>
                  <a:bodyPr/>
                  <a:lstStyle/>
                  <a:p>
                    <a:fld id="{A2B0590A-B66C-417C-8465-758EFB1E3E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5-8E3F-4D1B-A313-C02BEC0FDBD1}"/>
                </c:ext>
              </c:extLst>
            </c:dLbl>
            <c:dLbl>
              <c:idx val="110"/>
              <c:tx>
                <c:rich>
                  <a:bodyPr/>
                  <a:lstStyle/>
                  <a:p>
                    <a:fld id="{0772B3FA-6A78-4876-B01E-77B4B458C7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6-8E3F-4D1B-A313-C02BEC0FDBD1}"/>
                </c:ext>
              </c:extLst>
            </c:dLbl>
            <c:dLbl>
              <c:idx val="111"/>
              <c:tx>
                <c:rich>
                  <a:bodyPr/>
                  <a:lstStyle/>
                  <a:p>
                    <a:fld id="{E408C6B1-975F-4597-8C0C-46C9DFD134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7-8E3F-4D1B-A313-C02BEC0FDBD1}"/>
                </c:ext>
              </c:extLst>
            </c:dLbl>
            <c:dLbl>
              <c:idx val="112"/>
              <c:tx>
                <c:rich>
                  <a:bodyPr/>
                  <a:lstStyle/>
                  <a:p>
                    <a:fld id="{FFF04D87-62DA-42D8-AF0D-EC35C9A04D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8-8E3F-4D1B-A313-C02BEC0FDBD1}"/>
                </c:ext>
              </c:extLst>
            </c:dLbl>
            <c:dLbl>
              <c:idx val="113"/>
              <c:tx>
                <c:rich>
                  <a:bodyPr/>
                  <a:lstStyle/>
                  <a:p>
                    <a:fld id="{C8F3FF1F-2BBB-4D4A-9D18-275352E5BA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9-8E3F-4D1B-A313-C02BEC0FDBD1}"/>
                </c:ext>
              </c:extLst>
            </c:dLbl>
            <c:dLbl>
              <c:idx val="114"/>
              <c:tx>
                <c:rich>
                  <a:bodyPr/>
                  <a:lstStyle/>
                  <a:p>
                    <a:fld id="{F86543B8-AA0A-485E-A4A4-782B382A23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A-8E3F-4D1B-A313-C02BEC0FDBD1}"/>
                </c:ext>
              </c:extLst>
            </c:dLbl>
            <c:dLbl>
              <c:idx val="115"/>
              <c:tx>
                <c:rich>
                  <a:bodyPr/>
                  <a:lstStyle/>
                  <a:p>
                    <a:fld id="{E4EA671A-C884-4F5D-93C1-BF6A111EB7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B-8E3F-4D1B-A313-C02BEC0FDBD1}"/>
                </c:ext>
              </c:extLst>
            </c:dLbl>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2</c:f>
              <c:numCache>
                <c:formatCode>General</c:formatCode>
                <c:ptCount val="11"/>
                <c:pt idx="0">
                  <c:v>1</c:v>
                </c:pt>
                <c:pt idx="1">
                  <c:v>1</c:v>
                </c:pt>
                <c:pt idx="2">
                  <c:v>1</c:v>
                </c:pt>
                <c:pt idx="3">
                  <c:v>3</c:v>
                </c:pt>
                <c:pt idx="4">
                  <c:v>3</c:v>
                </c:pt>
                <c:pt idx="5">
                  <c:v>3</c:v>
                </c:pt>
                <c:pt idx="6">
                  <c:v>3</c:v>
                </c:pt>
                <c:pt idx="7">
                  <c:v>3</c:v>
                </c:pt>
                <c:pt idx="8">
                  <c:v>3</c:v>
                </c:pt>
                <c:pt idx="9">
                  <c:v>3</c:v>
                </c:pt>
                <c:pt idx="10">
                  <c:v>3</c:v>
                </c:pt>
              </c:numCache>
            </c:numRef>
          </c:xVal>
          <c:yVal>
            <c:numRef>
              <c:f>Sheet1!$B$2:$B$12</c:f>
              <c:numCache>
                <c:formatCode>General</c:formatCode>
                <c:ptCount val="11"/>
                <c:pt idx="0">
                  <c:v>0.22825514116575771</c:v>
                </c:pt>
                <c:pt idx="1">
                  <c:v>0.22309452807604779</c:v>
                </c:pt>
                <c:pt idx="2">
                  <c:v>0.53170732834111545</c:v>
                </c:pt>
                <c:pt idx="3">
                  <c:v>3.082142194196108E-2</c:v>
                </c:pt>
                <c:pt idx="4">
                  <c:v>0</c:v>
                </c:pt>
                <c:pt idx="5">
                  <c:v>0.1692757420813428</c:v>
                </c:pt>
                <c:pt idx="6">
                  <c:v>-6.0972079577359239E-3</c:v>
                </c:pt>
                <c:pt idx="7">
                  <c:v>0.1297490961084373</c:v>
                </c:pt>
                <c:pt idx="8">
                  <c:v>-3.6459231119494409E-2</c:v>
                </c:pt>
                <c:pt idx="9">
                  <c:v>0</c:v>
                </c:pt>
                <c:pt idx="10">
                  <c:v>9.1678040616062134E-2</c:v>
                </c:pt>
              </c:numCache>
            </c:numRef>
          </c:yVal>
          <c:bubbleSize>
            <c:numRef>
              <c:f>Sheet1!$C$2:$C$12</c:f>
              <c:numCache>
                <c:formatCode>General</c:formatCode>
                <c:ptCount val="11"/>
                <c:pt idx="0">
                  <c:v>56285498</c:v>
                </c:pt>
                <c:pt idx="1">
                  <c:v>6252872</c:v>
                </c:pt>
                <c:pt idx="2">
                  <c:v>892564</c:v>
                </c:pt>
                <c:pt idx="3">
                  <c:v>10656803</c:v>
                </c:pt>
                <c:pt idx="4">
                  <c:v>423669</c:v>
                </c:pt>
                <c:pt idx="5">
                  <c:v>4603858</c:v>
                </c:pt>
                <c:pt idx="6">
                  <c:v>1471589</c:v>
                </c:pt>
                <c:pt idx="7">
                  <c:v>6271036</c:v>
                </c:pt>
                <c:pt idx="8">
                  <c:v>1929113</c:v>
                </c:pt>
                <c:pt idx="9">
                  <c:v>9544</c:v>
                </c:pt>
                <c:pt idx="10">
                  <c:v>773970</c:v>
                </c:pt>
              </c:numCache>
            </c:numRef>
          </c:bubbleSize>
          <c:bubble3D val="0"/>
          <c:extLst>
            <c:ext xmlns:c15="http://schemas.microsoft.com/office/drawing/2012/chart" uri="{02D57815-91ED-43cb-92C2-25804820EDAC}">
              <c15:datalabelsRange>
                <c15:f>Sheet1!$E$2:$E$150</c15:f>
                <c15:dlblRangeCache>
                  <c:ptCount val="149"/>
                  <c:pt idx="0">
                    <c:v>Gillette</c:v>
                  </c:pt>
                  <c:pt idx="1">
                    <c:v>Schick</c:v>
                  </c:pt>
                  <c:pt idx="2">
                    <c:v>Harry's</c:v>
                  </c:pt>
                  <c:pt idx="3">
                    <c:v>Gillette</c:v>
                  </c:pt>
                  <c:pt idx="4">
                    <c:v>Harry's</c:v>
                  </c:pt>
                  <c:pt idx="5">
                    <c:v>Bic</c:v>
                  </c:pt>
                  <c:pt idx="6">
                    <c:v>Equate</c:v>
                  </c:pt>
                  <c:pt idx="7">
                    <c:v>Schick</c:v>
                  </c:pt>
                  <c:pt idx="8">
                    <c:v>Dollar Shave Club</c:v>
                  </c:pt>
                  <c:pt idx="9">
                    <c:v>Van Der Hagen</c:v>
                  </c:pt>
                  <c:pt idx="10">
                    <c:v>Comfort 3</c:v>
                  </c:pt>
                </c15:dlblRangeCache>
              </c15:datalabelsRange>
            </c:ext>
            <c:ext xmlns:c16="http://schemas.microsoft.com/office/drawing/2014/chart" uri="{C3380CC4-5D6E-409C-BE32-E72D297353CC}">
              <c16:uniqueId val="{00000026-26FB-4B52-8D72-D56D618E8EAF}"/>
            </c:ext>
          </c:extLst>
        </c:ser>
        <c:dLbls>
          <c:dLblPos val="ctr"/>
          <c:showLegendKey val="0"/>
          <c:showVal val="1"/>
          <c:showCatName val="0"/>
          <c:showSerName val="0"/>
          <c:showPercent val="0"/>
          <c:showBubbleSize val="0"/>
        </c:dLbls>
        <c:bubbleScale val="75"/>
        <c:showNegBubbles val="0"/>
        <c:axId val="804121775"/>
        <c:axId val="804116783"/>
      </c:bubbleChart>
      <c:valAx>
        <c:axId val="804121775"/>
        <c:scaling>
          <c:orientation val="minMax"/>
          <c:max val="4"/>
          <c:min val="0"/>
        </c:scaling>
        <c:delete val="0"/>
        <c:axPos val="b"/>
        <c:numFmt formatCode="0%" sourceLinked="0"/>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16783"/>
        <c:crosses val="autoZero"/>
        <c:crossBetween val="midCat"/>
        <c:minorUnit val="0.1"/>
      </c:valAx>
      <c:valAx>
        <c:axId val="804116783"/>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en-US" sz="800" dirty="0">
                    <a:solidFill>
                      <a:schemeClr val="tx1"/>
                    </a:solidFill>
                    <a:latin typeface="Nexa Bold" panose="00000800000000000000" pitchFamily="2" charset="0"/>
                  </a:rPr>
                  <a:t>Averag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Valu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uplift</a:t>
                </a:r>
                <a:endParaRPr lang="en-CH" sz="800" dirty="0">
                  <a:solidFill>
                    <a:schemeClr val="tx1"/>
                  </a:solidFill>
                  <a:latin typeface="Nexa Bold" panose="00000800000000000000" pitchFamily="2" charset="0"/>
                </a:endParaRPr>
              </a:p>
            </c:rich>
          </c:tx>
          <c:layout>
            <c:manualLayout>
              <c:xMode val="edge"/>
              <c:yMode val="edge"/>
              <c:x val="2.0811111111111117E-3"/>
              <c:y val="0.10078557265656676"/>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CH"/>
            </a:p>
          </c:txPr>
        </c:title>
        <c:numFmt formatCode="0%" sourceLinked="0"/>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21775"/>
        <c:crosses val="autoZero"/>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64864197530864"/>
          <c:y val="0.12152940918360107"/>
          <c:w val="0.83974691358024689"/>
          <c:h val="0.72254306602702423"/>
        </c:manualLayout>
      </c:layout>
      <c:bubbleChart>
        <c:varyColors val="0"/>
        <c:ser>
          <c:idx val="0"/>
          <c:order val="0"/>
          <c:tx>
            <c:strRef>
              <c:f>Sheet1!$B$1</c:f>
              <c:strCache>
                <c:ptCount val="1"/>
                <c:pt idx="0">
                  <c:v>Average Value Uplift</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26FB-4B52-8D72-D56D618E8EAF}"/>
              </c:ext>
            </c:extLst>
          </c:dPt>
          <c:dPt>
            <c:idx val="1"/>
            <c:invertIfNegative val="0"/>
            <c:bubble3D val="0"/>
            <c:spPr>
              <a:solidFill>
                <a:srgbClr val="E6E5E5"/>
              </a:solidFill>
              <a:ln>
                <a:noFill/>
              </a:ln>
              <a:effectLst/>
            </c:spPr>
            <c:extLst>
              <c:ext xmlns:c16="http://schemas.microsoft.com/office/drawing/2014/chart" uri="{C3380CC4-5D6E-409C-BE32-E72D297353CC}">
                <c16:uniqueId val="{00000003-26FB-4B52-8D72-D56D618E8EAF}"/>
              </c:ext>
            </c:extLst>
          </c:dPt>
          <c:dPt>
            <c:idx val="2"/>
            <c:invertIfNegative val="0"/>
            <c:bubble3D val="0"/>
            <c:spPr>
              <a:solidFill>
                <a:srgbClr val="E6E5E5"/>
              </a:solidFill>
              <a:ln>
                <a:noFill/>
              </a:ln>
              <a:effectLst/>
            </c:spPr>
            <c:extLst>
              <c:ext xmlns:c16="http://schemas.microsoft.com/office/drawing/2014/chart" uri="{C3380CC4-5D6E-409C-BE32-E72D297353CC}">
                <c16:uniqueId val="{00000005-26FB-4B52-8D72-D56D618E8EAF}"/>
              </c:ext>
            </c:extLst>
          </c:dPt>
          <c:dPt>
            <c:idx val="3"/>
            <c:invertIfNegative val="0"/>
            <c:bubble3D val="0"/>
            <c:spPr>
              <a:solidFill>
                <a:srgbClr val="E6E5E5"/>
              </a:solidFill>
              <a:ln>
                <a:noFill/>
              </a:ln>
              <a:effectLst/>
            </c:spPr>
            <c:extLst>
              <c:ext xmlns:c16="http://schemas.microsoft.com/office/drawing/2014/chart" uri="{C3380CC4-5D6E-409C-BE32-E72D297353CC}">
                <c16:uniqueId val="{00000007-26FB-4B52-8D72-D56D618E8EAF}"/>
              </c:ext>
            </c:extLst>
          </c:dPt>
          <c:dPt>
            <c:idx val="4"/>
            <c:invertIfNegative val="0"/>
            <c:bubble3D val="0"/>
            <c:spPr>
              <a:solidFill>
                <a:srgbClr val="E6E5E5"/>
              </a:solidFill>
              <a:ln>
                <a:noFill/>
              </a:ln>
              <a:effectLst/>
            </c:spPr>
            <c:extLst>
              <c:ext xmlns:c16="http://schemas.microsoft.com/office/drawing/2014/chart" uri="{C3380CC4-5D6E-409C-BE32-E72D297353CC}">
                <c16:uniqueId val="{00000009-26FB-4B52-8D72-D56D618E8EAF}"/>
              </c:ext>
            </c:extLst>
          </c:dPt>
          <c:dPt>
            <c:idx val="5"/>
            <c:invertIfNegative val="0"/>
            <c:bubble3D val="0"/>
            <c:spPr>
              <a:solidFill>
                <a:srgbClr val="7ECAC4"/>
              </a:solidFill>
              <a:ln>
                <a:noFill/>
              </a:ln>
              <a:effectLst/>
            </c:spPr>
            <c:extLst>
              <c:ext xmlns:c16="http://schemas.microsoft.com/office/drawing/2014/chart" uri="{C3380CC4-5D6E-409C-BE32-E72D297353CC}">
                <c16:uniqueId val="{0000000B-26FB-4B52-8D72-D56D618E8EAF}"/>
              </c:ext>
            </c:extLst>
          </c:dPt>
          <c:dPt>
            <c:idx val="6"/>
            <c:invertIfNegative val="0"/>
            <c:bubble3D val="0"/>
            <c:spPr>
              <a:solidFill>
                <a:srgbClr val="E6E5E5"/>
              </a:solidFill>
              <a:ln>
                <a:noFill/>
              </a:ln>
              <a:effectLst/>
            </c:spPr>
            <c:extLst>
              <c:ext xmlns:c16="http://schemas.microsoft.com/office/drawing/2014/chart" uri="{C3380CC4-5D6E-409C-BE32-E72D297353CC}">
                <c16:uniqueId val="{0000000D-26FB-4B52-8D72-D56D618E8EAF}"/>
              </c:ext>
            </c:extLst>
          </c:dPt>
          <c:dPt>
            <c:idx val="7"/>
            <c:invertIfNegative val="0"/>
            <c:bubble3D val="0"/>
            <c:spPr>
              <a:solidFill>
                <a:srgbClr val="7ECAC4"/>
              </a:solidFill>
              <a:ln>
                <a:noFill/>
              </a:ln>
              <a:effectLst/>
            </c:spPr>
            <c:extLst>
              <c:ext xmlns:c16="http://schemas.microsoft.com/office/drawing/2014/chart" uri="{C3380CC4-5D6E-409C-BE32-E72D297353CC}">
                <c16:uniqueId val="{0000000F-26FB-4B52-8D72-D56D618E8EAF}"/>
              </c:ext>
            </c:extLst>
          </c:dPt>
          <c:dPt>
            <c:idx val="8"/>
            <c:invertIfNegative val="0"/>
            <c:bubble3D val="0"/>
            <c:spPr>
              <a:solidFill>
                <a:srgbClr val="E6E5E5"/>
              </a:solidFill>
              <a:ln>
                <a:noFill/>
              </a:ln>
              <a:effectLst/>
            </c:spPr>
            <c:extLst>
              <c:ext xmlns:c16="http://schemas.microsoft.com/office/drawing/2014/chart" uri="{C3380CC4-5D6E-409C-BE32-E72D297353CC}">
                <c16:uniqueId val="{00000011-26FB-4B52-8D72-D56D618E8EAF}"/>
              </c:ext>
            </c:extLst>
          </c:dPt>
          <c:dPt>
            <c:idx val="9"/>
            <c:invertIfNegative val="1"/>
            <c:bubble3D val="0"/>
            <c:spPr>
              <a:solidFill>
                <a:srgbClr val="E6E5E5"/>
              </a:solidFill>
              <a:ln>
                <a:noFill/>
              </a:ln>
              <a:effectLst/>
            </c:spPr>
            <c:extLst>
              <c:ext xmlns:c16="http://schemas.microsoft.com/office/drawing/2014/chart" uri="{C3380CC4-5D6E-409C-BE32-E72D297353CC}">
                <c16:uniqueId val="{00000000-7B2D-4A32-96D2-9C641BCDE5CC}"/>
              </c:ext>
            </c:extLst>
          </c:dPt>
          <c:dPt>
            <c:idx val="11"/>
            <c:invertIfNegative val="0"/>
            <c:bubble3D val="0"/>
            <c:spPr>
              <a:solidFill>
                <a:schemeClr val="bg2"/>
              </a:solidFill>
              <a:ln>
                <a:noFill/>
              </a:ln>
              <a:effectLst/>
            </c:spPr>
            <c:extLst>
              <c:ext xmlns:c16="http://schemas.microsoft.com/office/drawing/2014/chart" uri="{C3380CC4-5D6E-409C-BE32-E72D297353CC}">
                <c16:uniqueId val="{00000013-26FB-4B52-8D72-D56D618E8EAF}"/>
              </c:ext>
            </c:extLst>
          </c:dPt>
          <c:dPt>
            <c:idx val="12"/>
            <c:invertIfNegative val="0"/>
            <c:bubble3D val="0"/>
            <c:spPr>
              <a:solidFill>
                <a:schemeClr val="bg2"/>
              </a:solidFill>
              <a:ln>
                <a:noFill/>
              </a:ln>
              <a:effectLst/>
            </c:spPr>
            <c:extLst>
              <c:ext xmlns:c16="http://schemas.microsoft.com/office/drawing/2014/chart" uri="{C3380CC4-5D6E-409C-BE32-E72D297353CC}">
                <c16:uniqueId val="{00000002-7B2D-4A32-96D2-9C641BCDE5CC}"/>
              </c:ext>
            </c:extLst>
          </c:dPt>
          <c:dPt>
            <c:idx val="13"/>
            <c:invertIfNegative val="0"/>
            <c:bubble3D val="0"/>
            <c:extLst>
              <c:ext xmlns:c16="http://schemas.microsoft.com/office/drawing/2014/chart" uri="{C3380CC4-5D6E-409C-BE32-E72D297353CC}">
                <c16:uniqueId val="{00000017-26FB-4B52-8D72-D56D618E8EAF}"/>
              </c:ext>
            </c:extLst>
          </c:dPt>
          <c:dPt>
            <c:idx val="14"/>
            <c:invertIfNegative val="0"/>
            <c:bubble3D val="0"/>
            <c:spPr>
              <a:solidFill>
                <a:schemeClr val="bg2"/>
              </a:solidFill>
              <a:ln>
                <a:noFill/>
              </a:ln>
              <a:effectLst/>
            </c:spPr>
            <c:extLst>
              <c:ext xmlns:c16="http://schemas.microsoft.com/office/drawing/2014/chart" uri="{C3380CC4-5D6E-409C-BE32-E72D297353CC}">
                <c16:uniqueId val="{00000019-26FB-4B52-8D72-D56D618E8EAF}"/>
              </c:ext>
            </c:extLst>
          </c:dPt>
          <c:dPt>
            <c:idx val="15"/>
            <c:invertIfNegative val="0"/>
            <c:bubble3D val="0"/>
            <c:extLst>
              <c:ext xmlns:c16="http://schemas.microsoft.com/office/drawing/2014/chart" uri="{C3380CC4-5D6E-409C-BE32-E72D297353CC}">
                <c16:uniqueId val="{0000001C-26FB-4B52-8D72-D56D618E8EAF}"/>
              </c:ext>
            </c:extLst>
          </c:dPt>
          <c:dPt>
            <c:idx val="19"/>
            <c:invertIfNegative val="0"/>
            <c:bubble3D val="0"/>
            <c:spPr>
              <a:solidFill>
                <a:srgbClr val="7ECAC4"/>
              </a:solidFill>
              <a:ln>
                <a:noFill/>
              </a:ln>
              <a:effectLst/>
            </c:spPr>
            <c:extLst>
              <c:ext xmlns:c16="http://schemas.microsoft.com/office/drawing/2014/chart" uri="{C3380CC4-5D6E-409C-BE32-E72D297353CC}">
                <c16:uniqueId val="{00000002-0A6E-4C83-9A06-9C3309B2855E}"/>
              </c:ext>
            </c:extLst>
          </c:dPt>
          <c:dPt>
            <c:idx val="24"/>
            <c:invertIfNegative val="0"/>
            <c:bubble3D val="0"/>
            <c:spPr>
              <a:solidFill>
                <a:schemeClr val="bg2"/>
              </a:solidFill>
              <a:ln>
                <a:noFill/>
              </a:ln>
              <a:effectLst/>
            </c:spPr>
            <c:extLst>
              <c:ext xmlns:c16="http://schemas.microsoft.com/office/drawing/2014/chart" uri="{C3380CC4-5D6E-409C-BE32-E72D297353CC}">
                <c16:uniqueId val="{00000005-0A6E-4C83-9A06-9C3309B2855E}"/>
              </c:ext>
            </c:extLst>
          </c:dPt>
          <c:dPt>
            <c:idx val="29"/>
            <c:invertIfNegative val="0"/>
            <c:bubble3D val="0"/>
            <c:extLst>
              <c:ext xmlns:c16="http://schemas.microsoft.com/office/drawing/2014/chart" uri="{C3380CC4-5D6E-409C-BE32-E72D297353CC}">
                <c16:uniqueId val="{00000003-8F47-486F-B734-6012CEA493B3}"/>
              </c:ext>
            </c:extLst>
          </c:dPt>
          <c:dPt>
            <c:idx val="31"/>
            <c:invertIfNegative val="0"/>
            <c:bubble3D val="0"/>
            <c:spPr>
              <a:solidFill>
                <a:schemeClr val="accent2"/>
              </a:solidFill>
              <a:ln>
                <a:noFill/>
              </a:ln>
              <a:effectLst/>
            </c:spPr>
            <c:extLst>
              <c:ext xmlns:c16="http://schemas.microsoft.com/office/drawing/2014/chart" uri="{C3380CC4-5D6E-409C-BE32-E72D297353CC}">
                <c16:uniqueId val="{00000000-4D12-44DE-B956-CABCB15EBC04}"/>
              </c:ext>
            </c:extLst>
          </c:dPt>
          <c:dPt>
            <c:idx val="33"/>
            <c:invertIfNegative val="0"/>
            <c:bubble3D val="0"/>
            <c:spPr>
              <a:solidFill>
                <a:schemeClr val="accent2"/>
              </a:solidFill>
              <a:ln>
                <a:noFill/>
              </a:ln>
              <a:effectLst/>
            </c:spPr>
            <c:extLst>
              <c:ext xmlns:c16="http://schemas.microsoft.com/office/drawing/2014/chart" uri="{C3380CC4-5D6E-409C-BE32-E72D297353CC}">
                <c16:uniqueId val="{00000001-4D12-44DE-B956-CABCB15EBC04}"/>
              </c:ext>
            </c:extLst>
          </c:dPt>
          <c:dLbls>
            <c:dLbl>
              <c:idx val="0"/>
              <c:tx>
                <c:rich>
                  <a:bodyPr/>
                  <a:lstStyle/>
                  <a:p>
                    <a:fld id="{E01039DF-1F5D-4DB8-B0B2-EF37B2F23C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FB-4B52-8D72-D56D618E8EAF}"/>
                </c:ext>
              </c:extLst>
            </c:dLbl>
            <c:dLbl>
              <c:idx val="1"/>
              <c:tx>
                <c:rich>
                  <a:bodyPr/>
                  <a:lstStyle/>
                  <a:p>
                    <a:fld id="{C736EFB7-BE6C-4C62-990A-0B10484320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FB-4B52-8D72-D56D618E8EAF}"/>
                </c:ext>
              </c:extLst>
            </c:dLbl>
            <c:dLbl>
              <c:idx val="2"/>
              <c:tx>
                <c:rich>
                  <a:bodyPr/>
                  <a:lstStyle/>
                  <a:p>
                    <a:fld id="{AE3C459D-2519-411C-A105-953D84F8CE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26FB-4B52-8D72-D56D618E8EAF}"/>
                </c:ext>
              </c:extLst>
            </c:dLbl>
            <c:dLbl>
              <c:idx val="3"/>
              <c:tx>
                <c:rich>
                  <a:bodyPr/>
                  <a:lstStyle/>
                  <a:p>
                    <a:fld id="{C9D91639-4C26-4709-AC82-D90F584894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FB-4B52-8D72-D56D618E8EAF}"/>
                </c:ext>
              </c:extLst>
            </c:dLbl>
            <c:dLbl>
              <c:idx val="4"/>
              <c:tx>
                <c:rich>
                  <a:bodyPr/>
                  <a:lstStyle/>
                  <a:p>
                    <a:fld id="{D5F0D83F-553A-4E1C-A314-18655A44D3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FB-4B52-8D72-D56D618E8EAF}"/>
                </c:ext>
              </c:extLst>
            </c:dLbl>
            <c:dLbl>
              <c:idx val="5"/>
              <c:tx>
                <c:rich>
                  <a:bodyPr/>
                  <a:lstStyle/>
                  <a:p>
                    <a:fld id="{2653895B-73FE-45C1-BD1A-3BFB68CF71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26FB-4B52-8D72-D56D618E8EAF}"/>
                </c:ext>
              </c:extLst>
            </c:dLbl>
            <c:dLbl>
              <c:idx val="6"/>
              <c:tx>
                <c:rich>
                  <a:bodyPr/>
                  <a:lstStyle/>
                  <a:p>
                    <a:fld id="{C76EBDBE-DDD3-4672-9898-297C7F0681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26FB-4B52-8D72-D56D618E8EAF}"/>
                </c:ext>
              </c:extLst>
            </c:dLbl>
            <c:dLbl>
              <c:idx val="7"/>
              <c:tx>
                <c:rich>
                  <a:bodyPr/>
                  <a:lstStyle/>
                  <a:p>
                    <a:fld id="{9FDE6682-0B9A-4C1D-806D-1EA50CDE03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26FB-4B52-8D72-D56D618E8EAF}"/>
                </c:ext>
              </c:extLst>
            </c:dLbl>
            <c:dLbl>
              <c:idx val="8"/>
              <c:tx>
                <c:rich>
                  <a:bodyPr/>
                  <a:lstStyle/>
                  <a:p>
                    <a:fld id="{3A63997C-0502-42CF-96CF-5D2F8CED40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26FB-4B52-8D72-D56D618E8EAF}"/>
                </c:ext>
              </c:extLst>
            </c:dLbl>
            <c:dLbl>
              <c:idx val="9"/>
              <c:tx>
                <c:rich>
                  <a:bodyPr/>
                  <a:lstStyle/>
                  <a:p>
                    <a:fld id="{22BC25F9-CD7A-4529-9527-8C68A99A31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7B2D-4A32-96D2-9C641BCDE5CC}"/>
                </c:ext>
              </c:extLst>
            </c:dLbl>
            <c:dLbl>
              <c:idx val="10"/>
              <c:tx>
                <c:rich>
                  <a:bodyPr/>
                  <a:lstStyle/>
                  <a:p>
                    <a:fld id="{1DA8011C-4569-4D82-9ACD-C86F3C34F8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7B2D-4A32-96D2-9C641BCDE5CC}"/>
                </c:ext>
              </c:extLst>
            </c:dLbl>
            <c:dLbl>
              <c:idx val="11"/>
              <c:tx>
                <c:rich>
                  <a:bodyPr/>
                  <a:lstStyle/>
                  <a:p>
                    <a:fld id="{A808F140-D39D-4218-8813-20AE3CBC95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26FB-4B52-8D72-D56D618E8EAF}"/>
                </c:ext>
              </c:extLst>
            </c:dLbl>
            <c:dLbl>
              <c:idx val="12"/>
              <c:tx>
                <c:rich>
                  <a:bodyPr/>
                  <a:lstStyle/>
                  <a:p>
                    <a:fld id="{118CF5EA-A3C9-4444-89BA-0FF3321881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7B2D-4A32-96D2-9C641BCDE5CC}"/>
                </c:ext>
              </c:extLst>
            </c:dLbl>
            <c:dLbl>
              <c:idx val="13"/>
              <c:tx>
                <c:rich>
                  <a:bodyPr/>
                  <a:lstStyle/>
                  <a:p>
                    <a:fld id="{C1990125-68E5-454A-8DE9-3B37B7A0B5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26FB-4B52-8D72-D56D618E8EAF}"/>
                </c:ext>
              </c:extLst>
            </c:dLbl>
            <c:dLbl>
              <c:idx val="14"/>
              <c:tx>
                <c:rich>
                  <a:bodyPr/>
                  <a:lstStyle/>
                  <a:p>
                    <a:fld id="{159AAD96-C07A-4582-9095-53D90889B0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26FB-4B52-8D72-D56D618E8EAF}"/>
                </c:ext>
              </c:extLst>
            </c:dLbl>
            <c:dLbl>
              <c:idx val="15"/>
              <c:tx>
                <c:rich>
                  <a:bodyPr/>
                  <a:lstStyle/>
                  <a:p>
                    <a:fld id="{ED7F9ED4-3912-4A10-971F-053894C9F3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26FB-4B52-8D72-D56D618E8EAF}"/>
                </c:ext>
              </c:extLst>
            </c:dLbl>
            <c:dLbl>
              <c:idx val="16"/>
              <c:tx>
                <c:rich>
                  <a:bodyPr/>
                  <a:lstStyle/>
                  <a:p>
                    <a:fld id="{D43DF478-F009-4BFF-90B9-0944C9074B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0A6E-4C83-9A06-9C3309B2855E}"/>
                </c:ext>
              </c:extLst>
            </c:dLbl>
            <c:dLbl>
              <c:idx val="17"/>
              <c:tx>
                <c:rich>
                  <a:bodyPr/>
                  <a:lstStyle/>
                  <a:p>
                    <a:fld id="{6A5B7AE5-3A64-4657-818A-9955B317EF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0A6E-4C83-9A06-9C3309B2855E}"/>
                </c:ext>
              </c:extLst>
            </c:dLbl>
            <c:dLbl>
              <c:idx val="18"/>
              <c:tx>
                <c:rich>
                  <a:bodyPr/>
                  <a:lstStyle/>
                  <a:p>
                    <a:fld id="{E876DF68-5F1C-4BA2-9E4D-E99A182281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0A6E-4C83-9A06-9C3309B2855E}"/>
                </c:ext>
              </c:extLst>
            </c:dLbl>
            <c:dLbl>
              <c:idx val="19"/>
              <c:tx>
                <c:rich>
                  <a:bodyPr/>
                  <a:lstStyle/>
                  <a:p>
                    <a:fld id="{B6090FD1-563B-4B93-840F-281D8920F2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0A6E-4C83-9A06-9C3309B2855E}"/>
                </c:ext>
              </c:extLst>
            </c:dLbl>
            <c:dLbl>
              <c:idx val="20"/>
              <c:tx>
                <c:rich>
                  <a:bodyPr/>
                  <a:lstStyle/>
                  <a:p>
                    <a:fld id="{57E96327-D5A1-4A48-9913-4CDC733C39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5AD-4BCF-9CB2-60EDA2D7DB42}"/>
                </c:ext>
              </c:extLst>
            </c:dLbl>
            <c:dLbl>
              <c:idx val="21"/>
              <c:tx>
                <c:rich>
                  <a:bodyPr/>
                  <a:lstStyle/>
                  <a:p>
                    <a:fld id="{60A60BDE-31E5-4FD3-925D-0411793C69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5AD-4BCF-9CB2-60EDA2D7DB42}"/>
                </c:ext>
              </c:extLst>
            </c:dLbl>
            <c:dLbl>
              <c:idx val="22"/>
              <c:tx>
                <c:rich>
                  <a:bodyPr/>
                  <a:lstStyle/>
                  <a:p>
                    <a:fld id="{BA7C1035-EED5-4CF1-BCD0-431BF673EE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5AD-4BCF-9CB2-60EDA2D7DB42}"/>
                </c:ext>
              </c:extLst>
            </c:dLbl>
            <c:dLbl>
              <c:idx val="23"/>
              <c:tx>
                <c:rich>
                  <a:bodyPr/>
                  <a:lstStyle/>
                  <a:p>
                    <a:fld id="{A7FD90C6-0C29-4069-A9C5-A07C4892ED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5AD-4BCF-9CB2-60EDA2D7DB42}"/>
                </c:ext>
              </c:extLst>
            </c:dLbl>
            <c:dLbl>
              <c:idx val="24"/>
              <c:tx>
                <c:rich>
                  <a:bodyPr/>
                  <a:lstStyle/>
                  <a:p>
                    <a:fld id="{6AADA2F2-F1E5-4D31-B19D-16A96D1D0E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0A6E-4C83-9A06-9C3309B2855E}"/>
                </c:ext>
              </c:extLst>
            </c:dLbl>
            <c:dLbl>
              <c:idx val="25"/>
              <c:tx>
                <c:rich>
                  <a:bodyPr/>
                  <a:lstStyle/>
                  <a:p>
                    <a:fld id="{C857452B-68A1-4666-92AD-B6B1B7FCEE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4D12-44DE-B956-CABCB15EBC04}"/>
                </c:ext>
              </c:extLst>
            </c:dLbl>
            <c:dLbl>
              <c:idx val="26"/>
              <c:tx>
                <c:rich>
                  <a:bodyPr/>
                  <a:lstStyle/>
                  <a:p>
                    <a:fld id="{29C699F7-3056-4405-89DA-92B45DCD0A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D12-44DE-B956-CABCB15EBC04}"/>
                </c:ext>
              </c:extLst>
            </c:dLbl>
            <c:dLbl>
              <c:idx val="27"/>
              <c:tx>
                <c:rich>
                  <a:bodyPr/>
                  <a:lstStyle/>
                  <a:p>
                    <a:fld id="{87264D98-ABD6-410A-8293-B5A2D2A522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D12-44DE-B956-CABCB15EBC04}"/>
                </c:ext>
              </c:extLst>
            </c:dLbl>
            <c:dLbl>
              <c:idx val="28"/>
              <c:tx>
                <c:rich>
                  <a:bodyPr/>
                  <a:lstStyle/>
                  <a:p>
                    <a:fld id="{F975EA16-4322-48C5-9441-9AA580E354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D12-44DE-B956-CABCB15EBC04}"/>
                </c:ext>
              </c:extLst>
            </c:dLbl>
            <c:dLbl>
              <c:idx val="29"/>
              <c:tx>
                <c:rich>
                  <a:bodyPr/>
                  <a:lstStyle/>
                  <a:p>
                    <a:fld id="{96DE1A0B-FC47-40A8-933B-1B0F52ABE1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8F47-486F-B734-6012CEA493B3}"/>
                </c:ext>
              </c:extLst>
            </c:dLbl>
            <c:dLbl>
              <c:idx val="30"/>
              <c:tx>
                <c:rich>
                  <a:bodyPr/>
                  <a:lstStyle/>
                  <a:p>
                    <a:fld id="{030107A1-A47B-4B20-BB2A-3663311C60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D12-44DE-B956-CABCB15EBC04}"/>
                </c:ext>
              </c:extLst>
            </c:dLbl>
            <c:dLbl>
              <c:idx val="31"/>
              <c:tx>
                <c:rich>
                  <a:bodyPr/>
                  <a:lstStyle/>
                  <a:p>
                    <a:fld id="{21D2B993-6F25-49E2-8E00-B56C592EE4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D12-44DE-B956-CABCB15EBC04}"/>
                </c:ext>
              </c:extLst>
            </c:dLbl>
            <c:dLbl>
              <c:idx val="32"/>
              <c:tx>
                <c:rich>
                  <a:bodyPr/>
                  <a:lstStyle/>
                  <a:p>
                    <a:fld id="{EFE5C063-C7AD-43A6-BA6E-C91A989A86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D12-44DE-B956-CABCB15EBC04}"/>
                </c:ext>
              </c:extLst>
            </c:dLbl>
            <c:dLbl>
              <c:idx val="33"/>
              <c:tx>
                <c:rich>
                  <a:bodyPr/>
                  <a:lstStyle/>
                  <a:p>
                    <a:fld id="{22CA83FB-9EEF-467D-BCF9-36443016E4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D12-44DE-B956-CABCB15EBC04}"/>
                </c:ext>
              </c:extLst>
            </c:dLbl>
            <c:dLbl>
              <c:idx val="34"/>
              <c:tx>
                <c:rich>
                  <a:bodyPr/>
                  <a:lstStyle/>
                  <a:p>
                    <a:fld id="{1733B93F-DB2C-4AA2-BCB8-4F059C7E99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D12-44DE-B956-CABCB15EBC04}"/>
                </c:ext>
              </c:extLst>
            </c:dLbl>
            <c:dLbl>
              <c:idx val="35"/>
              <c:tx>
                <c:rich>
                  <a:bodyPr/>
                  <a:lstStyle/>
                  <a:p>
                    <a:fld id="{98A61139-2C3B-4ED2-9AFA-DF18171093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4D12-44DE-B956-CABCB15EBC04}"/>
                </c:ext>
              </c:extLst>
            </c:dLbl>
            <c:dLbl>
              <c:idx val="36"/>
              <c:tx>
                <c:rich>
                  <a:bodyPr/>
                  <a:lstStyle/>
                  <a:p>
                    <a:fld id="{985A8A25-632B-4812-ACCA-7DADE2D21F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4D12-44DE-B956-CABCB15EBC04}"/>
                </c:ext>
              </c:extLst>
            </c:dLbl>
            <c:dLbl>
              <c:idx val="37"/>
              <c:tx>
                <c:rich>
                  <a:bodyPr/>
                  <a:lstStyle/>
                  <a:p>
                    <a:fld id="{A1980E38-3407-4E98-A068-82B16BAF8A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4D12-44DE-B956-CABCB15EBC04}"/>
                </c:ext>
              </c:extLst>
            </c:dLbl>
            <c:dLbl>
              <c:idx val="38"/>
              <c:tx>
                <c:rich>
                  <a:bodyPr/>
                  <a:lstStyle/>
                  <a:p>
                    <a:fld id="{6F7B8F64-6746-4321-AE81-351CC690F4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4D12-44DE-B956-CABCB15EBC04}"/>
                </c:ext>
              </c:extLst>
            </c:dLbl>
            <c:dLbl>
              <c:idx val="39"/>
              <c:tx>
                <c:rich>
                  <a:bodyPr/>
                  <a:lstStyle/>
                  <a:p>
                    <a:fld id="{363E03C0-8B30-40AD-A3CE-6C2590331B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4D12-44DE-B956-CABCB15EBC04}"/>
                </c:ext>
              </c:extLst>
            </c:dLbl>
            <c:dLbl>
              <c:idx val="40"/>
              <c:tx>
                <c:rich>
                  <a:bodyPr/>
                  <a:lstStyle/>
                  <a:p>
                    <a:fld id="{A4108151-976C-4231-B554-0AA8CD8149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4D12-44DE-B956-CABCB15EBC04}"/>
                </c:ext>
              </c:extLst>
            </c:dLbl>
            <c:dLbl>
              <c:idx val="41"/>
              <c:tx>
                <c:rich>
                  <a:bodyPr/>
                  <a:lstStyle/>
                  <a:p>
                    <a:fld id="{9B547E40-2691-40DB-A60B-277ACAC06A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4D12-44DE-B956-CABCB15EBC04}"/>
                </c:ext>
              </c:extLst>
            </c:dLbl>
            <c:dLbl>
              <c:idx val="42"/>
              <c:tx>
                <c:rich>
                  <a:bodyPr/>
                  <a:lstStyle/>
                  <a:p>
                    <a:fld id="{163F2A6C-FDD5-4364-9842-F9C819B71E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4D12-44DE-B956-CABCB15EBC04}"/>
                </c:ext>
              </c:extLst>
            </c:dLbl>
            <c:dLbl>
              <c:idx val="43"/>
              <c:tx>
                <c:rich>
                  <a:bodyPr/>
                  <a:lstStyle/>
                  <a:p>
                    <a:fld id="{2E01E6B5-95E6-4F5B-866B-91D02548DB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4D12-44DE-B956-CABCB15EBC04}"/>
                </c:ext>
              </c:extLst>
            </c:dLbl>
            <c:dLbl>
              <c:idx val="44"/>
              <c:tx>
                <c:rich>
                  <a:bodyPr/>
                  <a:lstStyle/>
                  <a:p>
                    <a:fld id="{D5E1E512-EB8A-46AA-92B4-6A67AAE8D9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4D12-44DE-B956-CABCB15EBC04}"/>
                </c:ext>
              </c:extLst>
            </c:dLbl>
            <c:dLbl>
              <c:idx val="45"/>
              <c:tx>
                <c:rich>
                  <a:bodyPr/>
                  <a:lstStyle/>
                  <a:p>
                    <a:fld id="{EBC61721-A3FC-49FC-8D3A-400ADDD075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4D12-44DE-B956-CABCB15EBC04}"/>
                </c:ext>
              </c:extLst>
            </c:dLbl>
            <c:dLbl>
              <c:idx val="46"/>
              <c:tx>
                <c:rich>
                  <a:bodyPr/>
                  <a:lstStyle/>
                  <a:p>
                    <a:fld id="{AAF3F728-ADAD-4AAC-AA32-5F87CB2C5A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4D12-44DE-B956-CABCB15EBC04}"/>
                </c:ext>
              </c:extLst>
            </c:dLbl>
            <c:dLbl>
              <c:idx val="47"/>
              <c:tx>
                <c:rich>
                  <a:bodyPr/>
                  <a:lstStyle/>
                  <a:p>
                    <a:fld id="{0ED94792-A382-44E1-997D-09FC4417D3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4D12-44DE-B956-CABCB15EBC04}"/>
                </c:ext>
              </c:extLst>
            </c:dLbl>
            <c:dLbl>
              <c:idx val="48"/>
              <c:tx>
                <c:rich>
                  <a:bodyPr/>
                  <a:lstStyle/>
                  <a:p>
                    <a:fld id="{596C0867-DDA7-4650-A224-19DEE42700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4D12-44DE-B956-CABCB15EBC04}"/>
                </c:ext>
              </c:extLst>
            </c:dLbl>
            <c:dLbl>
              <c:idx val="49"/>
              <c:tx>
                <c:rich>
                  <a:bodyPr/>
                  <a:lstStyle/>
                  <a:p>
                    <a:fld id="{CBEF1138-41A5-4DC9-8036-64761899C9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4D12-44DE-B956-CABCB15EBC04}"/>
                </c:ext>
              </c:extLst>
            </c:dLbl>
            <c:dLbl>
              <c:idx val="50"/>
              <c:tx>
                <c:rich>
                  <a:bodyPr/>
                  <a:lstStyle/>
                  <a:p>
                    <a:fld id="{EDC5D542-AAA4-4912-96F2-93DCFB97A1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4D12-44DE-B956-CABCB15EBC04}"/>
                </c:ext>
              </c:extLst>
            </c:dLbl>
            <c:dLbl>
              <c:idx val="51"/>
              <c:tx>
                <c:rich>
                  <a:bodyPr/>
                  <a:lstStyle/>
                  <a:p>
                    <a:fld id="{82FA55B8-8681-4EE4-981F-865A1EA29B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4D12-44DE-B956-CABCB15EBC04}"/>
                </c:ext>
              </c:extLst>
            </c:dLbl>
            <c:dLbl>
              <c:idx val="52"/>
              <c:tx>
                <c:rich>
                  <a:bodyPr/>
                  <a:lstStyle/>
                  <a:p>
                    <a:fld id="{D9F0F243-E311-4EE3-AEE1-4AF88E8983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4D12-44DE-B956-CABCB15EBC04}"/>
                </c:ext>
              </c:extLst>
            </c:dLbl>
            <c:dLbl>
              <c:idx val="53"/>
              <c:tx>
                <c:rich>
                  <a:bodyPr/>
                  <a:lstStyle/>
                  <a:p>
                    <a:fld id="{5BC0E9B5-48D0-4613-B21D-804F983390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4D12-44DE-B956-CABCB15EBC04}"/>
                </c:ext>
              </c:extLst>
            </c:dLbl>
            <c:dLbl>
              <c:idx val="54"/>
              <c:tx>
                <c:rich>
                  <a:bodyPr/>
                  <a:lstStyle/>
                  <a:p>
                    <a:fld id="{84353E46-F21C-41E3-BAF3-B50482D48C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4D12-44DE-B956-CABCB15EBC04}"/>
                </c:ext>
              </c:extLst>
            </c:dLbl>
            <c:dLbl>
              <c:idx val="55"/>
              <c:tx>
                <c:rich>
                  <a:bodyPr/>
                  <a:lstStyle/>
                  <a:p>
                    <a:fld id="{56E07E0F-033A-4801-A695-918542C5BE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D12-44DE-B956-CABCB15EBC04}"/>
                </c:ext>
              </c:extLst>
            </c:dLbl>
            <c:dLbl>
              <c:idx val="56"/>
              <c:tx>
                <c:rich>
                  <a:bodyPr/>
                  <a:lstStyle/>
                  <a:p>
                    <a:fld id="{7FFA46E8-B089-47A4-93DA-252AF2418B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8E3F-4D1B-A313-C02BEC0FDBD1}"/>
                </c:ext>
              </c:extLst>
            </c:dLbl>
            <c:dLbl>
              <c:idx val="57"/>
              <c:tx>
                <c:rich>
                  <a:bodyPr/>
                  <a:lstStyle/>
                  <a:p>
                    <a:fld id="{50A01CCF-2A1D-4511-BD82-78616FEE45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8E3F-4D1B-A313-C02BEC0FDBD1}"/>
                </c:ext>
              </c:extLst>
            </c:dLbl>
            <c:dLbl>
              <c:idx val="58"/>
              <c:tx>
                <c:rich>
                  <a:bodyPr/>
                  <a:lstStyle/>
                  <a:p>
                    <a:fld id="{DEFE7B7F-9F83-4966-A646-2ED375A3ED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8E3F-4D1B-A313-C02BEC0FDBD1}"/>
                </c:ext>
              </c:extLst>
            </c:dLbl>
            <c:dLbl>
              <c:idx val="59"/>
              <c:tx>
                <c:rich>
                  <a:bodyPr/>
                  <a:lstStyle/>
                  <a:p>
                    <a:fld id="{EF46D040-CAB3-44ED-8AD7-BBC31A5755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8E3F-4D1B-A313-C02BEC0FDBD1}"/>
                </c:ext>
              </c:extLst>
            </c:dLbl>
            <c:dLbl>
              <c:idx val="60"/>
              <c:tx>
                <c:rich>
                  <a:bodyPr/>
                  <a:lstStyle/>
                  <a:p>
                    <a:fld id="{082D1DF3-78D7-4670-AC73-A104F8CB1E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8E3F-4D1B-A313-C02BEC0FDBD1}"/>
                </c:ext>
              </c:extLst>
            </c:dLbl>
            <c:dLbl>
              <c:idx val="61"/>
              <c:tx>
                <c:rich>
                  <a:bodyPr/>
                  <a:lstStyle/>
                  <a:p>
                    <a:fld id="{01A795F6-A282-43DC-A441-BF70D7252A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8E3F-4D1B-A313-C02BEC0FDBD1}"/>
                </c:ext>
              </c:extLst>
            </c:dLbl>
            <c:dLbl>
              <c:idx val="62"/>
              <c:tx>
                <c:rich>
                  <a:bodyPr/>
                  <a:lstStyle/>
                  <a:p>
                    <a:fld id="{CE137496-0CCD-4303-8A68-F105B76E06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8E3F-4D1B-A313-C02BEC0FDBD1}"/>
                </c:ext>
              </c:extLst>
            </c:dLbl>
            <c:dLbl>
              <c:idx val="63"/>
              <c:tx>
                <c:rich>
                  <a:bodyPr/>
                  <a:lstStyle/>
                  <a:p>
                    <a:fld id="{DF68D9FE-4EAB-46F6-9614-6D54408DD6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8E3F-4D1B-A313-C02BEC0FDBD1}"/>
                </c:ext>
              </c:extLst>
            </c:dLbl>
            <c:dLbl>
              <c:idx val="64"/>
              <c:tx>
                <c:rich>
                  <a:bodyPr/>
                  <a:lstStyle/>
                  <a:p>
                    <a:fld id="{6900816B-04C8-49BE-AA6C-17981638F3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8E3F-4D1B-A313-C02BEC0FDBD1}"/>
                </c:ext>
              </c:extLst>
            </c:dLbl>
            <c:dLbl>
              <c:idx val="65"/>
              <c:tx>
                <c:rich>
                  <a:bodyPr/>
                  <a:lstStyle/>
                  <a:p>
                    <a:fld id="{308EC8DA-D3AD-49B0-9239-2304C4DAD6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8E3F-4D1B-A313-C02BEC0FDBD1}"/>
                </c:ext>
              </c:extLst>
            </c:dLbl>
            <c:dLbl>
              <c:idx val="66"/>
              <c:tx>
                <c:rich>
                  <a:bodyPr/>
                  <a:lstStyle/>
                  <a:p>
                    <a:fld id="{0F358187-94F1-4FF6-8094-F9DDDA007D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8E3F-4D1B-A313-C02BEC0FDBD1}"/>
                </c:ext>
              </c:extLst>
            </c:dLbl>
            <c:dLbl>
              <c:idx val="67"/>
              <c:tx>
                <c:rich>
                  <a:bodyPr/>
                  <a:lstStyle/>
                  <a:p>
                    <a:fld id="{5CBC39AB-D638-4345-8B22-59E6080817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8E3F-4D1B-A313-C02BEC0FDBD1}"/>
                </c:ext>
              </c:extLst>
            </c:dLbl>
            <c:dLbl>
              <c:idx val="68"/>
              <c:tx>
                <c:rich>
                  <a:bodyPr/>
                  <a:lstStyle/>
                  <a:p>
                    <a:fld id="{7A126AA5-B401-4D0D-94CA-54AFC5DA69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8E3F-4D1B-A313-C02BEC0FDBD1}"/>
                </c:ext>
              </c:extLst>
            </c:dLbl>
            <c:dLbl>
              <c:idx val="69"/>
              <c:tx>
                <c:rich>
                  <a:bodyPr/>
                  <a:lstStyle/>
                  <a:p>
                    <a:fld id="{558EBAD9-1053-43C8-A79B-05549074CC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8E3F-4D1B-A313-C02BEC0FDBD1}"/>
                </c:ext>
              </c:extLst>
            </c:dLbl>
            <c:dLbl>
              <c:idx val="70"/>
              <c:tx>
                <c:rich>
                  <a:bodyPr/>
                  <a:lstStyle/>
                  <a:p>
                    <a:fld id="{73D3544B-0E2D-4B1C-971E-D2F6DAECF8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8E3F-4D1B-A313-C02BEC0FDBD1}"/>
                </c:ext>
              </c:extLst>
            </c:dLbl>
            <c:dLbl>
              <c:idx val="71"/>
              <c:tx>
                <c:rich>
                  <a:bodyPr/>
                  <a:lstStyle/>
                  <a:p>
                    <a:fld id="{A34691B1-22AA-4DC5-ACD4-DC9087DB1A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8E3F-4D1B-A313-C02BEC0FDBD1}"/>
                </c:ext>
              </c:extLst>
            </c:dLbl>
            <c:dLbl>
              <c:idx val="72"/>
              <c:tx>
                <c:rich>
                  <a:bodyPr/>
                  <a:lstStyle/>
                  <a:p>
                    <a:fld id="{BA01D84A-4049-4B9E-B9CD-874D53E1AA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8E3F-4D1B-A313-C02BEC0FDBD1}"/>
                </c:ext>
              </c:extLst>
            </c:dLbl>
            <c:dLbl>
              <c:idx val="73"/>
              <c:tx>
                <c:rich>
                  <a:bodyPr/>
                  <a:lstStyle/>
                  <a:p>
                    <a:fld id="{4AF14D1A-30EB-4D57-A147-19AC97F025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8E3F-4D1B-A313-C02BEC0FDBD1}"/>
                </c:ext>
              </c:extLst>
            </c:dLbl>
            <c:dLbl>
              <c:idx val="74"/>
              <c:tx>
                <c:rich>
                  <a:bodyPr/>
                  <a:lstStyle/>
                  <a:p>
                    <a:fld id="{E2F0899A-BFB9-4DF8-B8B3-E0AA610D5E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8E3F-4D1B-A313-C02BEC0FDBD1}"/>
                </c:ext>
              </c:extLst>
            </c:dLbl>
            <c:dLbl>
              <c:idx val="75"/>
              <c:tx>
                <c:rich>
                  <a:bodyPr/>
                  <a:lstStyle/>
                  <a:p>
                    <a:fld id="{444517C4-8654-416A-AAB0-19BF612E0B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8E3F-4D1B-A313-C02BEC0FDBD1}"/>
                </c:ext>
              </c:extLst>
            </c:dLbl>
            <c:dLbl>
              <c:idx val="76"/>
              <c:tx>
                <c:rich>
                  <a:bodyPr/>
                  <a:lstStyle/>
                  <a:p>
                    <a:fld id="{98A0A13F-9E18-4689-8E96-325BA37AD6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8E3F-4D1B-A313-C02BEC0FDBD1}"/>
                </c:ext>
              </c:extLst>
            </c:dLbl>
            <c:dLbl>
              <c:idx val="77"/>
              <c:tx>
                <c:rich>
                  <a:bodyPr/>
                  <a:lstStyle/>
                  <a:p>
                    <a:fld id="{B87BDC22-F5B9-470C-B9BE-52110BC23A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8E3F-4D1B-A313-C02BEC0FDBD1}"/>
                </c:ext>
              </c:extLst>
            </c:dLbl>
            <c:dLbl>
              <c:idx val="78"/>
              <c:tx>
                <c:rich>
                  <a:bodyPr/>
                  <a:lstStyle/>
                  <a:p>
                    <a:fld id="{C7EAFB2B-C235-4277-88A7-CC0A39BE99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8E3F-4D1B-A313-C02BEC0FDBD1}"/>
                </c:ext>
              </c:extLst>
            </c:dLbl>
            <c:dLbl>
              <c:idx val="79"/>
              <c:tx>
                <c:rich>
                  <a:bodyPr/>
                  <a:lstStyle/>
                  <a:p>
                    <a:fld id="{F4927BB8-797B-491A-A1EB-9F8DA2C343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8E3F-4D1B-A313-C02BEC0FDBD1}"/>
                </c:ext>
              </c:extLst>
            </c:dLbl>
            <c:dLbl>
              <c:idx val="80"/>
              <c:tx>
                <c:rich>
                  <a:bodyPr/>
                  <a:lstStyle/>
                  <a:p>
                    <a:fld id="{23F57AC2-2BFC-46BC-BCF7-86E8B89D30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8E3F-4D1B-A313-C02BEC0FDBD1}"/>
                </c:ext>
              </c:extLst>
            </c:dLbl>
            <c:dLbl>
              <c:idx val="81"/>
              <c:tx>
                <c:rich>
                  <a:bodyPr/>
                  <a:lstStyle/>
                  <a:p>
                    <a:fld id="{71D3DCC0-3B85-4C12-9444-4BAD0E4A64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9-8E3F-4D1B-A313-C02BEC0FDBD1}"/>
                </c:ext>
              </c:extLst>
            </c:dLbl>
            <c:dLbl>
              <c:idx val="82"/>
              <c:tx>
                <c:rich>
                  <a:bodyPr/>
                  <a:lstStyle/>
                  <a:p>
                    <a:fld id="{372F57E4-9665-4685-A176-040F5718CB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A-8E3F-4D1B-A313-C02BEC0FDBD1}"/>
                </c:ext>
              </c:extLst>
            </c:dLbl>
            <c:dLbl>
              <c:idx val="83"/>
              <c:tx>
                <c:rich>
                  <a:bodyPr/>
                  <a:lstStyle/>
                  <a:p>
                    <a:fld id="{1678DF56-F963-4F0E-B350-C6AD3B59CF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B-8E3F-4D1B-A313-C02BEC0FDBD1}"/>
                </c:ext>
              </c:extLst>
            </c:dLbl>
            <c:dLbl>
              <c:idx val="84"/>
              <c:tx>
                <c:rich>
                  <a:bodyPr/>
                  <a:lstStyle/>
                  <a:p>
                    <a:fld id="{719368E1-6CE4-461C-938D-64D7109966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C-8E3F-4D1B-A313-C02BEC0FDBD1}"/>
                </c:ext>
              </c:extLst>
            </c:dLbl>
            <c:dLbl>
              <c:idx val="85"/>
              <c:tx>
                <c:rich>
                  <a:bodyPr/>
                  <a:lstStyle/>
                  <a:p>
                    <a:fld id="{044AA22A-F2D9-47DB-A5C2-233DF04321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D-8E3F-4D1B-A313-C02BEC0FDBD1}"/>
                </c:ext>
              </c:extLst>
            </c:dLbl>
            <c:dLbl>
              <c:idx val="86"/>
              <c:tx>
                <c:rich>
                  <a:bodyPr/>
                  <a:lstStyle/>
                  <a:p>
                    <a:fld id="{36D7A27E-ECBE-42F7-ACF3-57ADD6E149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E-8E3F-4D1B-A313-C02BEC0FDBD1}"/>
                </c:ext>
              </c:extLst>
            </c:dLbl>
            <c:dLbl>
              <c:idx val="87"/>
              <c:tx>
                <c:rich>
                  <a:bodyPr/>
                  <a:lstStyle/>
                  <a:p>
                    <a:fld id="{D4E47C43-9C33-4E7D-8137-6909281453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F-8E3F-4D1B-A313-C02BEC0FDBD1}"/>
                </c:ext>
              </c:extLst>
            </c:dLbl>
            <c:dLbl>
              <c:idx val="88"/>
              <c:tx>
                <c:rich>
                  <a:bodyPr/>
                  <a:lstStyle/>
                  <a:p>
                    <a:fld id="{7909FBA3-517D-4C21-A548-7E8DF32F5C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0-8E3F-4D1B-A313-C02BEC0FDBD1}"/>
                </c:ext>
              </c:extLst>
            </c:dLbl>
            <c:dLbl>
              <c:idx val="89"/>
              <c:tx>
                <c:rich>
                  <a:bodyPr/>
                  <a:lstStyle/>
                  <a:p>
                    <a:fld id="{352A9BB2-F8B8-4F48-9BB5-7A7DDE9606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1-8E3F-4D1B-A313-C02BEC0FDBD1}"/>
                </c:ext>
              </c:extLst>
            </c:dLbl>
            <c:dLbl>
              <c:idx val="90"/>
              <c:tx>
                <c:rich>
                  <a:bodyPr/>
                  <a:lstStyle/>
                  <a:p>
                    <a:fld id="{65FA10A5-075F-4915-AA41-93B7CE70F7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2-8E3F-4D1B-A313-C02BEC0FDBD1}"/>
                </c:ext>
              </c:extLst>
            </c:dLbl>
            <c:dLbl>
              <c:idx val="91"/>
              <c:tx>
                <c:rich>
                  <a:bodyPr/>
                  <a:lstStyle/>
                  <a:p>
                    <a:fld id="{66F3F6BE-9C60-48B3-BA94-044328B0B0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3-8E3F-4D1B-A313-C02BEC0FDBD1}"/>
                </c:ext>
              </c:extLst>
            </c:dLbl>
            <c:dLbl>
              <c:idx val="92"/>
              <c:tx>
                <c:rich>
                  <a:bodyPr/>
                  <a:lstStyle/>
                  <a:p>
                    <a:fld id="{1EA12821-9367-416C-B1B3-B51A1AE2E1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4-8E3F-4D1B-A313-C02BEC0FDBD1}"/>
                </c:ext>
              </c:extLst>
            </c:dLbl>
            <c:dLbl>
              <c:idx val="93"/>
              <c:tx>
                <c:rich>
                  <a:bodyPr/>
                  <a:lstStyle/>
                  <a:p>
                    <a:fld id="{55D1A136-F35E-4BC7-9394-0EFCCCA96C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5-8E3F-4D1B-A313-C02BEC0FDBD1}"/>
                </c:ext>
              </c:extLst>
            </c:dLbl>
            <c:dLbl>
              <c:idx val="94"/>
              <c:tx>
                <c:rich>
                  <a:bodyPr/>
                  <a:lstStyle/>
                  <a:p>
                    <a:fld id="{B77D14F1-9AC3-4106-931B-6C134E6F12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6-8E3F-4D1B-A313-C02BEC0FDBD1}"/>
                </c:ext>
              </c:extLst>
            </c:dLbl>
            <c:dLbl>
              <c:idx val="95"/>
              <c:tx>
                <c:rich>
                  <a:bodyPr/>
                  <a:lstStyle/>
                  <a:p>
                    <a:fld id="{C80411E8-576B-4280-8082-A1FD9CD65E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7-8E3F-4D1B-A313-C02BEC0FDBD1}"/>
                </c:ext>
              </c:extLst>
            </c:dLbl>
            <c:dLbl>
              <c:idx val="96"/>
              <c:tx>
                <c:rich>
                  <a:bodyPr/>
                  <a:lstStyle/>
                  <a:p>
                    <a:fld id="{68C8C3AA-D12A-472D-B82C-62007C21DF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8-8E3F-4D1B-A313-C02BEC0FDBD1}"/>
                </c:ext>
              </c:extLst>
            </c:dLbl>
            <c:dLbl>
              <c:idx val="97"/>
              <c:tx>
                <c:rich>
                  <a:bodyPr/>
                  <a:lstStyle/>
                  <a:p>
                    <a:fld id="{6BF9C57E-E1AE-4BDE-AB19-093CD5B4E1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9-8E3F-4D1B-A313-C02BEC0FDBD1}"/>
                </c:ext>
              </c:extLst>
            </c:dLbl>
            <c:dLbl>
              <c:idx val="98"/>
              <c:tx>
                <c:rich>
                  <a:bodyPr/>
                  <a:lstStyle/>
                  <a:p>
                    <a:fld id="{6B30120A-DF32-415F-9FF2-290A0D5B29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A-8E3F-4D1B-A313-C02BEC0FDBD1}"/>
                </c:ext>
              </c:extLst>
            </c:dLbl>
            <c:dLbl>
              <c:idx val="99"/>
              <c:tx>
                <c:rich>
                  <a:bodyPr/>
                  <a:lstStyle/>
                  <a:p>
                    <a:fld id="{A39B6172-0E2E-44C9-871A-3D9E8EE12A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B-8E3F-4D1B-A313-C02BEC0FDBD1}"/>
                </c:ext>
              </c:extLst>
            </c:dLbl>
            <c:dLbl>
              <c:idx val="100"/>
              <c:tx>
                <c:rich>
                  <a:bodyPr/>
                  <a:lstStyle/>
                  <a:p>
                    <a:fld id="{DACA5C51-A8F9-430E-9F5F-CACA9CD546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C-8E3F-4D1B-A313-C02BEC0FDBD1}"/>
                </c:ext>
              </c:extLst>
            </c:dLbl>
            <c:dLbl>
              <c:idx val="101"/>
              <c:tx>
                <c:rich>
                  <a:bodyPr/>
                  <a:lstStyle/>
                  <a:p>
                    <a:fld id="{C054CF57-4474-4018-B2F9-86BAB51792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D-8E3F-4D1B-A313-C02BEC0FDBD1}"/>
                </c:ext>
              </c:extLst>
            </c:dLbl>
            <c:dLbl>
              <c:idx val="102"/>
              <c:tx>
                <c:rich>
                  <a:bodyPr/>
                  <a:lstStyle/>
                  <a:p>
                    <a:fld id="{18075798-5641-4D75-806E-3E167E5516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E-8E3F-4D1B-A313-C02BEC0FDBD1}"/>
                </c:ext>
              </c:extLst>
            </c:dLbl>
            <c:dLbl>
              <c:idx val="103"/>
              <c:tx>
                <c:rich>
                  <a:bodyPr/>
                  <a:lstStyle/>
                  <a:p>
                    <a:fld id="{E3063D8C-E885-45D5-AAD5-12B9D30ECF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F-8E3F-4D1B-A313-C02BEC0FDBD1}"/>
                </c:ext>
              </c:extLst>
            </c:dLbl>
            <c:dLbl>
              <c:idx val="104"/>
              <c:tx>
                <c:rich>
                  <a:bodyPr/>
                  <a:lstStyle/>
                  <a:p>
                    <a:fld id="{1DEB27B0-F763-4C08-A93A-7043AA369B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0-8E3F-4D1B-A313-C02BEC0FDBD1}"/>
                </c:ext>
              </c:extLst>
            </c:dLbl>
            <c:dLbl>
              <c:idx val="105"/>
              <c:tx>
                <c:rich>
                  <a:bodyPr/>
                  <a:lstStyle/>
                  <a:p>
                    <a:fld id="{A1EB45D5-F7B8-42E8-B614-400D02884A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1-8E3F-4D1B-A313-C02BEC0FDBD1}"/>
                </c:ext>
              </c:extLst>
            </c:dLbl>
            <c:dLbl>
              <c:idx val="106"/>
              <c:tx>
                <c:rich>
                  <a:bodyPr/>
                  <a:lstStyle/>
                  <a:p>
                    <a:fld id="{E3A555B9-9EB0-4428-9EEF-2C6A1969E0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2-8E3F-4D1B-A313-C02BEC0FDBD1}"/>
                </c:ext>
              </c:extLst>
            </c:dLbl>
            <c:dLbl>
              <c:idx val="107"/>
              <c:tx>
                <c:rich>
                  <a:bodyPr/>
                  <a:lstStyle/>
                  <a:p>
                    <a:fld id="{4191DAF2-23EA-496D-8F00-E79E4BD285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3-8E3F-4D1B-A313-C02BEC0FDBD1}"/>
                </c:ext>
              </c:extLst>
            </c:dLbl>
            <c:dLbl>
              <c:idx val="108"/>
              <c:tx>
                <c:rich>
                  <a:bodyPr/>
                  <a:lstStyle/>
                  <a:p>
                    <a:fld id="{DB2FE18D-4A5C-4F20-95C9-B1FA303EBB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4-8E3F-4D1B-A313-C02BEC0FDBD1}"/>
                </c:ext>
              </c:extLst>
            </c:dLbl>
            <c:dLbl>
              <c:idx val="109"/>
              <c:tx>
                <c:rich>
                  <a:bodyPr/>
                  <a:lstStyle/>
                  <a:p>
                    <a:fld id="{886C6F2E-CB65-44DF-B149-229BB8BAEC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5-8E3F-4D1B-A313-C02BEC0FDBD1}"/>
                </c:ext>
              </c:extLst>
            </c:dLbl>
            <c:dLbl>
              <c:idx val="110"/>
              <c:tx>
                <c:rich>
                  <a:bodyPr/>
                  <a:lstStyle/>
                  <a:p>
                    <a:fld id="{F8743EF8-4B1B-4AF0-992C-C94FD343FB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6-8E3F-4D1B-A313-C02BEC0FDBD1}"/>
                </c:ext>
              </c:extLst>
            </c:dLbl>
            <c:dLbl>
              <c:idx val="111"/>
              <c:tx>
                <c:rich>
                  <a:bodyPr/>
                  <a:lstStyle/>
                  <a:p>
                    <a:fld id="{E226A8CE-A554-47AE-9723-41DF3F18FB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7-8E3F-4D1B-A313-C02BEC0FDBD1}"/>
                </c:ext>
              </c:extLst>
            </c:dLbl>
            <c:dLbl>
              <c:idx val="112"/>
              <c:tx>
                <c:rich>
                  <a:bodyPr/>
                  <a:lstStyle/>
                  <a:p>
                    <a:fld id="{74F37164-530B-49AB-AB1A-4E1F04690D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8-8E3F-4D1B-A313-C02BEC0FDBD1}"/>
                </c:ext>
              </c:extLst>
            </c:dLbl>
            <c:dLbl>
              <c:idx val="113"/>
              <c:tx>
                <c:rich>
                  <a:bodyPr/>
                  <a:lstStyle/>
                  <a:p>
                    <a:fld id="{3A27D968-E3FC-4B9E-8345-06E87771C3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9-8E3F-4D1B-A313-C02BEC0FDBD1}"/>
                </c:ext>
              </c:extLst>
            </c:dLbl>
            <c:dLbl>
              <c:idx val="114"/>
              <c:tx>
                <c:rich>
                  <a:bodyPr/>
                  <a:lstStyle/>
                  <a:p>
                    <a:fld id="{24899AB6-448B-4817-941B-14D215027F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A-8E3F-4D1B-A313-C02BEC0FDBD1}"/>
                </c:ext>
              </c:extLst>
            </c:dLbl>
            <c:dLbl>
              <c:idx val="115"/>
              <c:tx>
                <c:rich>
                  <a:bodyPr/>
                  <a:lstStyle/>
                  <a:p>
                    <a:fld id="{3E001420-9FE0-476C-AD8C-36D7365093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B-8E3F-4D1B-A313-C02BEC0FDBD1}"/>
                </c:ext>
              </c:extLst>
            </c:dLbl>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1</c:f>
              <c:numCache>
                <c:formatCode>General</c:formatCode>
                <c:ptCount val="10"/>
                <c:pt idx="0">
                  <c:v>1</c:v>
                </c:pt>
                <c:pt idx="1">
                  <c:v>1</c:v>
                </c:pt>
                <c:pt idx="2">
                  <c:v>3</c:v>
                </c:pt>
                <c:pt idx="3">
                  <c:v>3</c:v>
                </c:pt>
                <c:pt idx="4">
                  <c:v>3</c:v>
                </c:pt>
                <c:pt idx="5">
                  <c:v>3</c:v>
                </c:pt>
                <c:pt idx="6">
                  <c:v>3</c:v>
                </c:pt>
                <c:pt idx="7">
                  <c:v>3</c:v>
                </c:pt>
                <c:pt idx="8">
                  <c:v>3</c:v>
                </c:pt>
                <c:pt idx="9">
                  <c:v>3</c:v>
                </c:pt>
              </c:numCache>
            </c:numRef>
          </c:xVal>
          <c:yVal>
            <c:numRef>
              <c:f>Sheet1!$B$2:$B$11</c:f>
              <c:numCache>
                <c:formatCode>General</c:formatCode>
                <c:ptCount val="10"/>
                <c:pt idx="0">
                  <c:v>0.22209595652105529</c:v>
                </c:pt>
                <c:pt idx="1">
                  <c:v>0.53170732834111545</c:v>
                </c:pt>
                <c:pt idx="2">
                  <c:v>3.9749746923176003E-2</c:v>
                </c:pt>
                <c:pt idx="3">
                  <c:v>0</c:v>
                </c:pt>
                <c:pt idx="4">
                  <c:v>0.30405198995387789</c:v>
                </c:pt>
                <c:pt idx="5">
                  <c:v>0.1052421368175942</c:v>
                </c:pt>
                <c:pt idx="6">
                  <c:v>-3.6459231119494409E-2</c:v>
                </c:pt>
                <c:pt idx="7">
                  <c:v>-8.5461039641385059E-2</c:v>
                </c:pt>
                <c:pt idx="8">
                  <c:v>0</c:v>
                </c:pt>
                <c:pt idx="9">
                  <c:v>9.1678040616062134E-2</c:v>
                </c:pt>
              </c:numCache>
            </c:numRef>
          </c:yVal>
          <c:bubbleSize>
            <c:numRef>
              <c:f>Sheet1!$C$2:$C$11</c:f>
              <c:numCache>
                <c:formatCode>General</c:formatCode>
                <c:ptCount val="10"/>
                <c:pt idx="0">
                  <c:v>46417119</c:v>
                </c:pt>
                <c:pt idx="1">
                  <c:v>892564</c:v>
                </c:pt>
                <c:pt idx="2">
                  <c:v>10301310</c:v>
                </c:pt>
                <c:pt idx="3">
                  <c:v>423084</c:v>
                </c:pt>
                <c:pt idx="4">
                  <c:v>2887750</c:v>
                </c:pt>
                <c:pt idx="5">
                  <c:v>4032718</c:v>
                </c:pt>
                <c:pt idx="6">
                  <c:v>1929113</c:v>
                </c:pt>
                <c:pt idx="7">
                  <c:v>330412</c:v>
                </c:pt>
                <c:pt idx="8">
                  <c:v>9544</c:v>
                </c:pt>
                <c:pt idx="9">
                  <c:v>773970</c:v>
                </c:pt>
              </c:numCache>
            </c:numRef>
          </c:bubbleSize>
          <c:bubble3D val="0"/>
          <c:extLst>
            <c:ext xmlns:c15="http://schemas.microsoft.com/office/drawing/2012/chart" uri="{02D57815-91ED-43cb-92C2-25804820EDAC}">
              <c15:datalabelsRange>
                <c15:f>Sheet1!$E$2:$E$150</c15:f>
                <c15:dlblRangeCache>
                  <c:ptCount val="149"/>
                  <c:pt idx="0">
                    <c:v>Gillette</c:v>
                  </c:pt>
                  <c:pt idx="1">
                    <c:v>Harry's</c:v>
                  </c:pt>
                  <c:pt idx="2">
                    <c:v>Gillette</c:v>
                  </c:pt>
                  <c:pt idx="3">
                    <c:v>Harry's</c:v>
                  </c:pt>
                  <c:pt idx="4">
                    <c:v>Bic</c:v>
                  </c:pt>
                  <c:pt idx="5">
                    <c:v>Schick</c:v>
                  </c:pt>
                  <c:pt idx="6">
                    <c:v>Dollar Shave Club</c:v>
                  </c:pt>
                  <c:pt idx="7">
                    <c:v>Equate</c:v>
                  </c:pt>
                  <c:pt idx="8">
                    <c:v>Van Der Hagen</c:v>
                  </c:pt>
                  <c:pt idx="9">
                    <c:v>Comfort 3</c:v>
                  </c:pt>
                </c15:dlblRangeCache>
              </c15:datalabelsRange>
            </c:ext>
            <c:ext xmlns:c16="http://schemas.microsoft.com/office/drawing/2014/chart" uri="{C3380CC4-5D6E-409C-BE32-E72D297353CC}">
              <c16:uniqueId val="{00000026-26FB-4B52-8D72-D56D618E8EAF}"/>
            </c:ext>
          </c:extLst>
        </c:ser>
        <c:dLbls>
          <c:dLblPos val="ctr"/>
          <c:showLegendKey val="0"/>
          <c:showVal val="1"/>
          <c:showCatName val="0"/>
          <c:showSerName val="0"/>
          <c:showPercent val="0"/>
          <c:showBubbleSize val="0"/>
        </c:dLbls>
        <c:bubbleScale val="75"/>
        <c:showNegBubbles val="0"/>
        <c:axId val="804121775"/>
        <c:axId val="804116783"/>
      </c:bubbleChart>
      <c:valAx>
        <c:axId val="804121775"/>
        <c:scaling>
          <c:orientation val="minMax"/>
          <c:max val="4"/>
          <c:min val="0"/>
        </c:scaling>
        <c:delete val="0"/>
        <c:axPos val="b"/>
        <c:numFmt formatCode="0%" sourceLinked="0"/>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16783"/>
        <c:crosses val="autoZero"/>
        <c:crossBetween val="midCat"/>
        <c:minorUnit val="0.1"/>
      </c:valAx>
      <c:valAx>
        <c:axId val="804116783"/>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en-US" sz="800" dirty="0">
                    <a:solidFill>
                      <a:schemeClr val="tx1"/>
                    </a:solidFill>
                    <a:latin typeface="Nexa Bold" panose="00000800000000000000" pitchFamily="2" charset="0"/>
                  </a:rPr>
                  <a:t>Averag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Valu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uplift</a:t>
                </a:r>
                <a:endParaRPr lang="en-CH" sz="800" dirty="0">
                  <a:solidFill>
                    <a:schemeClr val="tx1"/>
                  </a:solidFill>
                  <a:latin typeface="Nexa Bold" panose="00000800000000000000" pitchFamily="2" charset="0"/>
                </a:endParaRPr>
              </a:p>
            </c:rich>
          </c:tx>
          <c:layout>
            <c:manualLayout>
              <c:xMode val="edge"/>
              <c:yMode val="edge"/>
              <c:x val="2.0811111111111117E-3"/>
              <c:y val="0.10078557265656676"/>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CH"/>
            </a:p>
          </c:txPr>
        </c:title>
        <c:numFmt formatCode="0%" sourceLinked="0"/>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21775"/>
        <c:crosses val="autoZero"/>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64864197530864"/>
          <c:y val="0.12152940918360107"/>
          <c:w val="0.83974691358024689"/>
          <c:h val="0.72254306602702423"/>
        </c:manualLayout>
      </c:layout>
      <c:bubbleChart>
        <c:varyColors val="0"/>
        <c:ser>
          <c:idx val="0"/>
          <c:order val="0"/>
          <c:tx>
            <c:strRef>
              <c:f>Sheet1!$B$1</c:f>
              <c:strCache>
                <c:ptCount val="1"/>
                <c:pt idx="0">
                  <c:v>Average Value Uplift</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26FB-4B52-8D72-D56D618E8EAF}"/>
              </c:ext>
            </c:extLst>
          </c:dPt>
          <c:dPt>
            <c:idx val="1"/>
            <c:invertIfNegative val="0"/>
            <c:bubble3D val="0"/>
            <c:spPr>
              <a:solidFill>
                <a:srgbClr val="7ECAC4"/>
              </a:solidFill>
              <a:ln>
                <a:noFill/>
              </a:ln>
              <a:effectLst/>
            </c:spPr>
            <c:extLst>
              <c:ext xmlns:c16="http://schemas.microsoft.com/office/drawing/2014/chart" uri="{C3380CC4-5D6E-409C-BE32-E72D297353CC}">
                <c16:uniqueId val="{00000003-26FB-4B52-8D72-D56D618E8EAF}"/>
              </c:ext>
            </c:extLst>
          </c:dPt>
          <c:dPt>
            <c:idx val="2"/>
            <c:invertIfNegative val="0"/>
            <c:bubble3D val="0"/>
            <c:spPr>
              <a:solidFill>
                <a:srgbClr val="E6E5E5"/>
              </a:solidFill>
              <a:ln>
                <a:noFill/>
              </a:ln>
              <a:effectLst/>
            </c:spPr>
            <c:extLst>
              <c:ext xmlns:c16="http://schemas.microsoft.com/office/drawing/2014/chart" uri="{C3380CC4-5D6E-409C-BE32-E72D297353CC}">
                <c16:uniqueId val="{00000005-26FB-4B52-8D72-D56D618E8EAF}"/>
              </c:ext>
            </c:extLst>
          </c:dPt>
          <c:dPt>
            <c:idx val="3"/>
            <c:invertIfNegative val="0"/>
            <c:bubble3D val="0"/>
            <c:spPr>
              <a:solidFill>
                <a:srgbClr val="E6E5E5"/>
              </a:solidFill>
              <a:ln>
                <a:noFill/>
              </a:ln>
              <a:effectLst/>
            </c:spPr>
            <c:extLst>
              <c:ext xmlns:c16="http://schemas.microsoft.com/office/drawing/2014/chart" uri="{C3380CC4-5D6E-409C-BE32-E72D297353CC}">
                <c16:uniqueId val="{00000007-26FB-4B52-8D72-D56D618E8EAF}"/>
              </c:ext>
            </c:extLst>
          </c:dPt>
          <c:dPt>
            <c:idx val="4"/>
            <c:invertIfNegative val="0"/>
            <c:bubble3D val="0"/>
            <c:spPr>
              <a:solidFill>
                <a:srgbClr val="E6E5E5"/>
              </a:solidFill>
              <a:ln>
                <a:noFill/>
              </a:ln>
              <a:effectLst/>
            </c:spPr>
            <c:extLst>
              <c:ext xmlns:c16="http://schemas.microsoft.com/office/drawing/2014/chart" uri="{C3380CC4-5D6E-409C-BE32-E72D297353CC}">
                <c16:uniqueId val="{00000009-26FB-4B52-8D72-D56D618E8EAF}"/>
              </c:ext>
            </c:extLst>
          </c:dPt>
          <c:dPt>
            <c:idx val="5"/>
            <c:invertIfNegative val="0"/>
            <c:bubble3D val="0"/>
            <c:spPr>
              <a:solidFill>
                <a:srgbClr val="7ECAC4"/>
              </a:solidFill>
              <a:ln>
                <a:noFill/>
              </a:ln>
              <a:effectLst/>
            </c:spPr>
            <c:extLst>
              <c:ext xmlns:c16="http://schemas.microsoft.com/office/drawing/2014/chart" uri="{C3380CC4-5D6E-409C-BE32-E72D297353CC}">
                <c16:uniqueId val="{0000000B-26FB-4B52-8D72-D56D618E8EAF}"/>
              </c:ext>
            </c:extLst>
          </c:dPt>
          <c:dPt>
            <c:idx val="6"/>
            <c:invertIfNegative val="0"/>
            <c:bubble3D val="0"/>
            <c:spPr>
              <a:solidFill>
                <a:srgbClr val="7ECAC4"/>
              </a:solidFill>
              <a:ln>
                <a:noFill/>
              </a:ln>
              <a:effectLst/>
            </c:spPr>
            <c:extLst>
              <c:ext xmlns:c16="http://schemas.microsoft.com/office/drawing/2014/chart" uri="{C3380CC4-5D6E-409C-BE32-E72D297353CC}">
                <c16:uniqueId val="{0000000D-26FB-4B52-8D72-D56D618E8EAF}"/>
              </c:ext>
            </c:extLst>
          </c:dPt>
          <c:dPt>
            <c:idx val="7"/>
            <c:invertIfNegative val="0"/>
            <c:bubble3D val="0"/>
            <c:spPr>
              <a:solidFill>
                <a:schemeClr val="bg2"/>
              </a:solidFill>
              <a:ln>
                <a:noFill/>
              </a:ln>
              <a:effectLst/>
            </c:spPr>
            <c:extLst>
              <c:ext xmlns:c16="http://schemas.microsoft.com/office/drawing/2014/chart" uri="{C3380CC4-5D6E-409C-BE32-E72D297353CC}">
                <c16:uniqueId val="{0000000F-26FB-4B52-8D72-D56D618E8EAF}"/>
              </c:ext>
            </c:extLst>
          </c:dPt>
          <c:dPt>
            <c:idx val="8"/>
            <c:invertIfNegative val="0"/>
            <c:bubble3D val="0"/>
            <c:spPr>
              <a:solidFill>
                <a:schemeClr val="bg2"/>
              </a:solidFill>
              <a:ln>
                <a:noFill/>
              </a:ln>
              <a:effectLst/>
            </c:spPr>
            <c:extLst>
              <c:ext xmlns:c16="http://schemas.microsoft.com/office/drawing/2014/chart" uri="{C3380CC4-5D6E-409C-BE32-E72D297353CC}">
                <c16:uniqueId val="{00000011-26FB-4B52-8D72-D56D618E8EAF}"/>
              </c:ext>
            </c:extLst>
          </c:dPt>
          <c:dPt>
            <c:idx val="11"/>
            <c:invertIfNegative val="0"/>
            <c:bubble3D val="0"/>
            <c:spPr>
              <a:solidFill>
                <a:schemeClr val="bg2"/>
              </a:solidFill>
              <a:ln>
                <a:noFill/>
              </a:ln>
              <a:effectLst/>
            </c:spPr>
            <c:extLst>
              <c:ext xmlns:c16="http://schemas.microsoft.com/office/drawing/2014/chart" uri="{C3380CC4-5D6E-409C-BE32-E72D297353CC}">
                <c16:uniqueId val="{00000013-26FB-4B52-8D72-D56D618E8EAF}"/>
              </c:ext>
            </c:extLst>
          </c:dPt>
          <c:dPt>
            <c:idx val="12"/>
            <c:invertIfNegative val="0"/>
            <c:bubble3D val="0"/>
            <c:spPr>
              <a:solidFill>
                <a:schemeClr val="bg2"/>
              </a:solidFill>
              <a:ln>
                <a:noFill/>
              </a:ln>
              <a:effectLst/>
            </c:spPr>
            <c:extLst>
              <c:ext xmlns:c16="http://schemas.microsoft.com/office/drawing/2014/chart" uri="{C3380CC4-5D6E-409C-BE32-E72D297353CC}">
                <c16:uniqueId val="{00000002-7B2D-4A32-96D2-9C641BCDE5CC}"/>
              </c:ext>
            </c:extLst>
          </c:dPt>
          <c:dPt>
            <c:idx val="13"/>
            <c:invertIfNegative val="0"/>
            <c:bubble3D val="0"/>
            <c:extLst>
              <c:ext xmlns:c16="http://schemas.microsoft.com/office/drawing/2014/chart" uri="{C3380CC4-5D6E-409C-BE32-E72D297353CC}">
                <c16:uniqueId val="{00000017-26FB-4B52-8D72-D56D618E8EAF}"/>
              </c:ext>
            </c:extLst>
          </c:dPt>
          <c:dPt>
            <c:idx val="14"/>
            <c:invertIfNegative val="0"/>
            <c:bubble3D val="0"/>
            <c:spPr>
              <a:solidFill>
                <a:schemeClr val="bg2"/>
              </a:solidFill>
              <a:ln>
                <a:noFill/>
              </a:ln>
              <a:effectLst/>
            </c:spPr>
            <c:extLst>
              <c:ext xmlns:c16="http://schemas.microsoft.com/office/drawing/2014/chart" uri="{C3380CC4-5D6E-409C-BE32-E72D297353CC}">
                <c16:uniqueId val="{00000019-26FB-4B52-8D72-D56D618E8EAF}"/>
              </c:ext>
            </c:extLst>
          </c:dPt>
          <c:dPt>
            <c:idx val="15"/>
            <c:invertIfNegative val="0"/>
            <c:bubble3D val="0"/>
            <c:extLst>
              <c:ext xmlns:c16="http://schemas.microsoft.com/office/drawing/2014/chart" uri="{C3380CC4-5D6E-409C-BE32-E72D297353CC}">
                <c16:uniqueId val="{0000001C-26FB-4B52-8D72-D56D618E8EAF}"/>
              </c:ext>
            </c:extLst>
          </c:dPt>
          <c:dPt>
            <c:idx val="19"/>
            <c:invertIfNegative val="0"/>
            <c:bubble3D val="0"/>
            <c:spPr>
              <a:solidFill>
                <a:srgbClr val="7ECAC4"/>
              </a:solidFill>
              <a:ln>
                <a:noFill/>
              </a:ln>
              <a:effectLst/>
            </c:spPr>
            <c:extLst>
              <c:ext xmlns:c16="http://schemas.microsoft.com/office/drawing/2014/chart" uri="{C3380CC4-5D6E-409C-BE32-E72D297353CC}">
                <c16:uniqueId val="{00000002-0A6E-4C83-9A06-9C3309B2855E}"/>
              </c:ext>
            </c:extLst>
          </c:dPt>
          <c:dPt>
            <c:idx val="24"/>
            <c:invertIfNegative val="0"/>
            <c:bubble3D val="0"/>
            <c:spPr>
              <a:solidFill>
                <a:schemeClr val="bg2"/>
              </a:solidFill>
              <a:ln>
                <a:noFill/>
              </a:ln>
              <a:effectLst/>
            </c:spPr>
            <c:extLst>
              <c:ext xmlns:c16="http://schemas.microsoft.com/office/drawing/2014/chart" uri="{C3380CC4-5D6E-409C-BE32-E72D297353CC}">
                <c16:uniqueId val="{00000005-0A6E-4C83-9A06-9C3309B2855E}"/>
              </c:ext>
            </c:extLst>
          </c:dPt>
          <c:dPt>
            <c:idx val="29"/>
            <c:invertIfNegative val="0"/>
            <c:bubble3D val="0"/>
            <c:extLst>
              <c:ext xmlns:c16="http://schemas.microsoft.com/office/drawing/2014/chart" uri="{C3380CC4-5D6E-409C-BE32-E72D297353CC}">
                <c16:uniqueId val="{00000003-8F47-486F-B734-6012CEA493B3}"/>
              </c:ext>
            </c:extLst>
          </c:dPt>
          <c:dPt>
            <c:idx val="31"/>
            <c:invertIfNegative val="0"/>
            <c:bubble3D val="0"/>
            <c:spPr>
              <a:solidFill>
                <a:schemeClr val="accent2"/>
              </a:solidFill>
              <a:ln>
                <a:noFill/>
              </a:ln>
              <a:effectLst/>
            </c:spPr>
            <c:extLst>
              <c:ext xmlns:c16="http://schemas.microsoft.com/office/drawing/2014/chart" uri="{C3380CC4-5D6E-409C-BE32-E72D297353CC}">
                <c16:uniqueId val="{00000000-4D12-44DE-B956-CABCB15EBC04}"/>
              </c:ext>
            </c:extLst>
          </c:dPt>
          <c:dPt>
            <c:idx val="33"/>
            <c:invertIfNegative val="0"/>
            <c:bubble3D val="0"/>
            <c:spPr>
              <a:solidFill>
                <a:schemeClr val="accent2"/>
              </a:solidFill>
              <a:ln>
                <a:noFill/>
              </a:ln>
              <a:effectLst/>
            </c:spPr>
            <c:extLst>
              <c:ext xmlns:c16="http://schemas.microsoft.com/office/drawing/2014/chart" uri="{C3380CC4-5D6E-409C-BE32-E72D297353CC}">
                <c16:uniqueId val="{00000001-4D12-44DE-B956-CABCB15EBC04}"/>
              </c:ext>
            </c:extLst>
          </c:dPt>
          <c:dLbls>
            <c:dLbl>
              <c:idx val="0"/>
              <c:tx>
                <c:rich>
                  <a:bodyPr/>
                  <a:lstStyle/>
                  <a:p>
                    <a:fld id="{5B3CE6C3-7EF9-4B79-B2F5-0228C8635B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FB-4B52-8D72-D56D618E8EAF}"/>
                </c:ext>
              </c:extLst>
            </c:dLbl>
            <c:dLbl>
              <c:idx val="1"/>
              <c:tx>
                <c:rich>
                  <a:bodyPr/>
                  <a:lstStyle/>
                  <a:p>
                    <a:fld id="{1FE63DEB-2D19-454C-A5F2-533711B9BC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FB-4B52-8D72-D56D618E8EAF}"/>
                </c:ext>
              </c:extLst>
            </c:dLbl>
            <c:dLbl>
              <c:idx val="2"/>
              <c:tx>
                <c:rich>
                  <a:bodyPr/>
                  <a:lstStyle/>
                  <a:p>
                    <a:fld id="{3CC4793B-3AEA-4C36-A073-EB48C9915F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26FB-4B52-8D72-D56D618E8EAF}"/>
                </c:ext>
              </c:extLst>
            </c:dLbl>
            <c:dLbl>
              <c:idx val="3"/>
              <c:tx>
                <c:rich>
                  <a:bodyPr/>
                  <a:lstStyle/>
                  <a:p>
                    <a:fld id="{D065B8AB-88E7-4013-B07E-9B39B6C252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FB-4B52-8D72-D56D618E8EAF}"/>
                </c:ext>
              </c:extLst>
            </c:dLbl>
            <c:dLbl>
              <c:idx val="4"/>
              <c:tx>
                <c:rich>
                  <a:bodyPr/>
                  <a:lstStyle/>
                  <a:p>
                    <a:fld id="{08C4544F-67F5-4815-9F03-7089021C3F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FB-4B52-8D72-D56D618E8EAF}"/>
                </c:ext>
              </c:extLst>
            </c:dLbl>
            <c:dLbl>
              <c:idx val="5"/>
              <c:tx>
                <c:rich>
                  <a:bodyPr/>
                  <a:lstStyle/>
                  <a:p>
                    <a:fld id="{B4230273-CE0B-4793-B6A4-AC2C5E00AD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26FB-4B52-8D72-D56D618E8EAF}"/>
                </c:ext>
              </c:extLst>
            </c:dLbl>
            <c:dLbl>
              <c:idx val="6"/>
              <c:tx>
                <c:rich>
                  <a:bodyPr/>
                  <a:lstStyle/>
                  <a:p>
                    <a:fld id="{919C3019-28BD-4056-8F1A-FFA240B3C1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26FB-4B52-8D72-D56D618E8EAF}"/>
                </c:ext>
              </c:extLst>
            </c:dLbl>
            <c:dLbl>
              <c:idx val="7"/>
              <c:tx>
                <c:rich>
                  <a:bodyPr/>
                  <a:lstStyle/>
                  <a:p>
                    <a:fld id="{6E46979D-1C98-4765-84EF-BA0AAC0ED4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26FB-4B52-8D72-D56D618E8EAF}"/>
                </c:ext>
              </c:extLst>
            </c:dLbl>
            <c:dLbl>
              <c:idx val="8"/>
              <c:tx>
                <c:rich>
                  <a:bodyPr/>
                  <a:lstStyle/>
                  <a:p>
                    <a:fld id="{5B601426-7B04-4B32-8651-82254A2AEC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26FB-4B52-8D72-D56D618E8EAF}"/>
                </c:ext>
              </c:extLst>
            </c:dLbl>
            <c:dLbl>
              <c:idx val="9"/>
              <c:tx>
                <c:rich>
                  <a:bodyPr/>
                  <a:lstStyle/>
                  <a:p>
                    <a:fld id="{A8213E6F-907D-4A88-9F0D-05520644AD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B2D-4A32-96D2-9C641BCDE5CC}"/>
                </c:ext>
              </c:extLst>
            </c:dLbl>
            <c:dLbl>
              <c:idx val="10"/>
              <c:tx>
                <c:rich>
                  <a:bodyPr/>
                  <a:lstStyle/>
                  <a:p>
                    <a:fld id="{5775B627-2951-43D5-B457-FFCE9ED8C5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7B2D-4A32-96D2-9C641BCDE5CC}"/>
                </c:ext>
              </c:extLst>
            </c:dLbl>
            <c:dLbl>
              <c:idx val="11"/>
              <c:tx>
                <c:rich>
                  <a:bodyPr/>
                  <a:lstStyle/>
                  <a:p>
                    <a:fld id="{3C22CFF9-539B-4BAE-9FC0-3E18836F60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26FB-4B52-8D72-D56D618E8EAF}"/>
                </c:ext>
              </c:extLst>
            </c:dLbl>
            <c:dLbl>
              <c:idx val="12"/>
              <c:tx>
                <c:rich>
                  <a:bodyPr/>
                  <a:lstStyle/>
                  <a:p>
                    <a:fld id="{6F63832A-EA30-409B-BBDC-896E6A8833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7B2D-4A32-96D2-9C641BCDE5CC}"/>
                </c:ext>
              </c:extLst>
            </c:dLbl>
            <c:dLbl>
              <c:idx val="13"/>
              <c:tx>
                <c:rich>
                  <a:bodyPr/>
                  <a:lstStyle/>
                  <a:p>
                    <a:fld id="{258F90DE-55AA-4FDC-AC91-EE99981584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26FB-4B52-8D72-D56D618E8EAF}"/>
                </c:ext>
              </c:extLst>
            </c:dLbl>
            <c:dLbl>
              <c:idx val="14"/>
              <c:tx>
                <c:rich>
                  <a:bodyPr/>
                  <a:lstStyle/>
                  <a:p>
                    <a:fld id="{E582B31C-6E32-4D4C-95D0-E9B9E83ACF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26FB-4B52-8D72-D56D618E8EAF}"/>
                </c:ext>
              </c:extLst>
            </c:dLbl>
            <c:dLbl>
              <c:idx val="15"/>
              <c:tx>
                <c:rich>
                  <a:bodyPr/>
                  <a:lstStyle/>
                  <a:p>
                    <a:fld id="{57D26568-B7A3-4F87-BD77-BCCF426630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26FB-4B52-8D72-D56D618E8EAF}"/>
                </c:ext>
              </c:extLst>
            </c:dLbl>
            <c:dLbl>
              <c:idx val="16"/>
              <c:tx>
                <c:rich>
                  <a:bodyPr/>
                  <a:lstStyle/>
                  <a:p>
                    <a:fld id="{99D1A8E9-58F0-45AB-BDB0-ADDFE8A7C2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0A6E-4C83-9A06-9C3309B2855E}"/>
                </c:ext>
              </c:extLst>
            </c:dLbl>
            <c:dLbl>
              <c:idx val="17"/>
              <c:tx>
                <c:rich>
                  <a:bodyPr/>
                  <a:lstStyle/>
                  <a:p>
                    <a:fld id="{6C6A86F1-C016-4070-9821-292C33E5BE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0A6E-4C83-9A06-9C3309B2855E}"/>
                </c:ext>
              </c:extLst>
            </c:dLbl>
            <c:dLbl>
              <c:idx val="18"/>
              <c:tx>
                <c:rich>
                  <a:bodyPr/>
                  <a:lstStyle/>
                  <a:p>
                    <a:fld id="{36D94032-BF1D-47A3-9974-A182C66391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0A6E-4C83-9A06-9C3309B2855E}"/>
                </c:ext>
              </c:extLst>
            </c:dLbl>
            <c:dLbl>
              <c:idx val="19"/>
              <c:tx>
                <c:rich>
                  <a:bodyPr/>
                  <a:lstStyle/>
                  <a:p>
                    <a:fld id="{ECE39091-2DB2-406E-BAFE-CE2AACCEC7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0A6E-4C83-9A06-9C3309B2855E}"/>
                </c:ext>
              </c:extLst>
            </c:dLbl>
            <c:dLbl>
              <c:idx val="20"/>
              <c:tx>
                <c:rich>
                  <a:bodyPr/>
                  <a:lstStyle/>
                  <a:p>
                    <a:fld id="{4C6D071F-A90B-4E32-9F17-F2AA9481C4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5AD-4BCF-9CB2-60EDA2D7DB42}"/>
                </c:ext>
              </c:extLst>
            </c:dLbl>
            <c:dLbl>
              <c:idx val="21"/>
              <c:tx>
                <c:rich>
                  <a:bodyPr/>
                  <a:lstStyle/>
                  <a:p>
                    <a:fld id="{D2761970-B3E4-4427-B7AF-C9A26829E5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5AD-4BCF-9CB2-60EDA2D7DB42}"/>
                </c:ext>
              </c:extLst>
            </c:dLbl>
            <c:dLbl>
              <c:idx val="22"/>
              <c:tx>
                <c:rich>
                  <a:bodyPr/>
                  <a:lstStyle/>
                  <a:p>
                    <a:fld id="{B9183E17-6509-4DF8-999C-7233BC97B8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5AD-4BCF-9CB2-60EDA2D7DB42}"/>
                </c:ext>
              </c:extLst>
            </c:dLbl>
            <c:dLbl>
              <c:idx val="23"/>
              <c:tx>
                <c:rich>
                  <a:bodyPr/>
                  <a:lstStyle/>
                  <a:p>
                    <a:fld id="{FD99F447-5815-429F-8EBC-2DA3FE08DC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5AD-4BCF-9CB2-60EDA2D7DB42}"/>
                </c:ext>
              </c:extLst>
            </c:dLbl>
            <c:dLbl>
              <c:idx val="24"/>
              <c:tx>
                <c:rich>
                  <a:bodyPr/>
                  <a:lstStyle/>
                  <a:p>
                    <a:fld id="{4DD23D53-FA0A-4A68-AC5F-134FE15CD5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0A6E-4C83-9A06-9C3309B2855E}"/>
                </c:ext>
              </c:extLst>
            </c:dLbl>
            <c:dLbl>
              <c:idx val="25"/>
              <c:tx>
                <c:rich>
                  <a:bodyPr/>
                  <a:lstStyle/>
                  <a:p>
                    <a:fld id="{A411E0AA-276B-42F1-97CD-5995481FEF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4D12-44DE-B956-CABCB15EBC04}"/>
                </c:ext>
              </c:extLst>
            </c:dLbl>
            <c:dLbl>
              <c:idx val="26"/>
              <c:tx>
                <c:rich>
                  <a:bodyPr/>
                  <a:lstStyle/>
                  <a:p>
                    <a:fld id="{D002D07B-BAFD-4264-807A-4B1EBE9A18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D12-44DE-B956-CABCB15EBC04}"/>
                </c:ext>
              </c:extLst>
            </c:dLbl>
            <c:dLbl>
              <c:idx val="27"/>
              <c:tx>
                <c:rich>
                  <a:bodyPr/>
                  <a:lstStyle/>
                  <a:p>
                    <a:fld id="{9F828114-06E3-4E2E-AFFD-21EF63B083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D12-44DE-B956-CABCB15EBC04}"/>
                </c:ext>
              </c:extLst>
            </c:dLbl>
            <c:dLbl>
              <c:idx val="28"/>
              <c:tx>
                <c:rich>
                  <a:bodyPr/>
                  <a:lstStyle/>
                  <a:p>
                    <a:fld id="{3D899A43-E41F-4D7D-B309-675C3BDEEA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D12-44DE-B956-CABCB15EBC04}"/>
                </c:ext>
              </c:extLst>
            </c:dLbl>
            <c:dLbl>
              <c:idx val="29"/>
              <c:tx>
                <c:rich>
                  <a:bodyPr/>
                  <a:lstStyle/>
                  <a:p>
                    <a:fld id="{B4A8CE72-7355-46D0-A26C-752B514072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8F47-486F-B734-6012CEA493B3}"/>
                </c:ext>
              </c:extLst>
            </c:dLbl>
            <c:dLbl>
              <c:idx val="30"/>
              <c:tx>
                <c:rich>
                  <a:bodyPr/>
                  <a:lstStyle/>
                  <a:p>
                    <a:fld id="{C7CA8397-9D2A-4E8A-8027-A9E6668900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D12-44DE-B956-CABCB15EBC04}"/>
                </c:ext>
              </c:extLst>
            </c:dLbl>
            <c:dLbl>
              <c:idx val="31"/>
              <c:tx>
                <c:rich>
                  <a:bodyPr/>
                  <a:lstStyle/>
                  <a:p>
                    <a:fld id="{4E0A1045-8538-47C3-91DC-7B8784F959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D12-44DE-B956-CABCB15EBC04}"/>
                </c:ext>
              </c:extLst>
            </c:dLbl>
            <c:dLbl>
              <c:idx val="32"/>
              <c:tx>
                <c:rich>
                  <a:bodyPr/>
                  <a:lstStyle/>
                  <a:p>
                    <a:fld id="{C875A800-5622-4E59-8B8E-DC45849D7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D12-44DE-B956-CABCB15EBC04}"/>
                </c:ext>
              </c:extLst>
            </c:dLbl>
            <c:dLbl>
              <c:idx val="33"/>
              <c:tx>
                <c:rich>
                  <a:bodyPr/>
                  <a:lstStyle/>
                  <a:p>
                    <a:fld id="{CFAD3F9A-17FA-4C39-AA27-A0B8391F2C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D12-44DE-B956-CABCB15EBC04}"/>
                </c:ext>
              </c:extLst>
            </c:dLbl>
            <c:dLbl>
              <c:idx val="34"/>
              <c:tx>
                <c:rich>
                  <a:bodyPr/>
                  <a:lstStyle/>
                  <a:p>
                    <a:fld id="{0DFF081B-39E6-44D4-80A4-EEC1F2C83A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D12-44DE-B956-CABCB15EBC04}"/>
                </c:ext>
              </c:extLst>
            </c:dLbl>
            <c:dLbl>
              <c:idx val="35"/>
              <c:tx>
                <c:rich>
                  <a:bodyPr/>
                  <a:lstStyle/>
                  <a:p>
                    <a:fld id="{86807B94-1496-4C5C-B65A-2DE6D67395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4D12-44DE-B956-CABCB15EBC04}"/>
                </c:ext>
              </c:extLst>
            </c:dLbl>
            <c:dLbl>
              <c:idx val="36"/>
              <c:tx>
                <c:rich>
                  <a:bodyPr/>
                  <a:lstStyle/>
                  <a:p>
                    <a:fld id="{D55399D3-70B3-40B1-9B45-F3AAD3A8C9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4D12-44DE-B956-CABCB15EBC04}"/>
                </c:ext>
              </c:extLst>
            </c:dLbl>
            <c:dLbl>
              <c:idx val="37"/>
              <c:tx>
                <c:rich>
                  <a:bodyPr/>
                  <a:lstStyle/>
                  <a:p>
                    <a:fld id="{23EF65F1-E635-4CFC-A0E7-7FAA2654A5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4D12-44DE-B956-CABCB15EBC04}"/>
                </c:ext>
              </c:extLst>
            </c:dLbl>
            <c:dLbl>
              <c:idx val="38"/>
              <c:tx>
                <c:rich>
                  <a:bodyPr/>
                  <a:lstStyle/>
                  <a:p>
                    <a:fld id="{6A3E5115-7E0F-4CF6-9DDC-66AC7A3250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4D12-44DE-B956-CABCB15EBC04}"/>
                </c:ext>
              </c:extLst>
            </c:dLbl>
            <c:dLbl>
              <c:idx val="39"/>
              <c:tx>
                <c:rich>
                  <a:bodyPr/>
                  <a:lstStyle/>
                  <a:p>
                    <a:fld id="{2D5E1359-D485-4231-97DF-84B40A1BD8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4D12-44DE-B956-CABCB15EBC04}"/>
                </c:ext>
              </c:extLst>
            </c:dLbl>
            <c:dLbl>
              <c:idx val="40"/>
              <c:tx>
                <c:rich>
                  <a:bodyPr/>
                  <a:lstStyle/>
                  <a:p>
                    <a:fld id="{481E3FBF-BB47-402B-B129-7B229512A9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4D12-44DE-B956-CABCB15EBC04}"/>
                </c:ext>
              </c:extLst>
            </c:dLbl>
            <c:dLbl>
              <c:idx val="41"/>
              <c:tx>
                <c:rich>
                  <a:bodyPr/>
                  <a:lstStyle/>
                  <a:p>
                    <a:fld id="{293CB8F7-5BE0-4D95-98E8-F9EF3D43D0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4D12-44DE-B956-CABCB15EBC04}"/>
                </c:ext>
              </c:extLst>
            </c:dLbl>
            <c:dLbl>
              <c:idx val="42"/>
              <c:tx>
                <c:rich>
                  <a:bodyPr/>
                  <a:lstStyle/>
                  <a:p>
                    <a:fld id="{1925D0A1-0F5F-49E1-BB54-C37E724DAD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4D12-44DE-B956-CABCB15EBC04}"/>
                </c:ext>
              </c:extLst>
            </c:dLbl>
            <c:dLbl>
              <c:idx val="43"/>
              <c:tx>
                <c:rich>
                  <a:bodyPr/>
                  <a:lstStyle/>
                  <a:p>
                    <a:fld id="{89C4D67B-3663-42AB-B232-0AD3F95195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4D12-44DE-B956-CABCB15EBC04}"/>
                </c:ext>
              </c:extLst>
            </c:dLbl>
            <c:dLbl>
              <c:idx val="44"/>
              <c:tx>
                <c:rich>
                  <a:bodyPr/>
                  <a:lstStyle/>
                  <a:p>
                    <a:fld id="{EC24D14C-FC9D-4A1B-85C4-2534653839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4D12-44DE-B956-CABCB15EBC04}"/>
                </c:ext>
              </c:extLst>
            </c:dLbl>
            <c:dLbl>
              <c:idx val="45"/>
              <c:tx>
                <c:rich>
                  <a:bodyPr/>
                  <a:lstStyle/>
                  <a:p>
                    <a:fld id="{A2A551AC-5600-449F-B87B-E5CF29FF10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4D12-44DE-B956-CABCB15EBC04}"/>
                </c:ext>
              </c:extLst>
            </c:dLbl>
            <c:dLbl>
              <c:idx val="46"/>
              <c:tx>
                <c:rich>
                  <a:bodyPr/>
                  <a:lstStyle/>
                  <a:p>
                    <a:fld id="{4A661FDE-29F9-4CAD-B619-9ED435B790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4D12-44DE-B956-CABCB15EBC04}"/>
                </c:ext>
              </c:extLst>
            </c:dLbl>
            <c:dLbl>
              <c:idx val="47"/>
              <c:tx>
                <c:rich>
                  <a:bodyPr/>
                  <a:lstStyle/>
                  <a:p>
                    <a:fld id="{14D1C92A-D734-4C2C-AD5C-4A128EB4C0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4D12-44DE-B956-CABCB15EBC04}"/>
                </c:ext>
              </c:extLst>
            </c:dLbl>
            <c:dLbl>
              <c:idx val="48"/>
              <c:tx>
                <c:rich>
                  <a:bodyPr/>
                  <a:lstStyle/>
                  <a:p>
                    <a:fld id="{D693517D-8BE9-4156-AEE8-F95C11CA85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4D12-44DE-B956-CABCB15EBC04}"/>
                </c:ext>
              </c:extLst>
            </c:dLbl>
            <c:dLbl>
              <c:idx val="49"/>
              <c:tx>
                <c:rich>
                  <a:bodyPr/>
                  <a:lstStyle/>
                  <a:p>
                    <a:fld id="{793C32C6-89F6-4773-BD93-6B70689E2C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4D12-44DE-B956-CABCB15EBC04}"/>
                </c:ext>
              </c:extLst>
            </c:dLbl>
            <c:dLbl>
              <c:idx val="50"/>
              <c:tx>
                <c:rich>
                  <a:bodyPr/>
                  <a:lstStyle/>
                  <a:p>
                    <a:fld id="{877AD4A7-3B77-4530-9499-4DD75663A2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4D12-44DE-B956-CABCB15EBC04}"/>
                </c:ext>
              </c:extLst>
            </c:dLbl>
            <c:dLbl>
              <c:idx val="51"/>
              <c:tx>
                <c:rich>
                  <a:bodyPr/>
                  <a:lstStyle/>
                  <a:p>
                    <a:fld id="{9D6FF8DD-0E01-42B8-92C3-4620E1C4C2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4D12-44DE-B956-CABCB15EBC04}"/>
                </c:ext>
              </c:extLst>
            </c:dLbl>
            <c:dLbl>
              <c:idx val="52"/>
              <c:tx>
                <c:rich>
                  <a:bodyPr/>
                  <a:lstStyle/>
                  <a:p>
                    <a:fld id="{1DF9F9C6-45BC-44C3-AF73-DF12E002EE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4D12-44DE-B956-CABCB15EBC04}"/>
                </c:ext>
              </c:extLst>
            </c:dLbl>
            <c:dLbl>
              <c:idx val="53"/>
              <c:tx>
                <c:rich>
                  <a:bodyPr/>
                  <a:lstStyle/>
                  <a:p>
                    <a:fld id="{0C1136D2-D686-45E1-A00C-BDC084D1E7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4D12-44DE-B956-CABCB15EBC04}"/>
                </c:ext>
              </c:extLst>
            </c:dLbl>
            <c:dLbl>
              <c:idx val="54"/>
              <c:tx>
                <c:rich>
                  <a:bodyPr/>
                  <a:lstStyle/>
                  <a:p>
                    <a:fld id="{E92FF380-8CC5-471F-A153-2C60E509A1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4D12-44DE-B956-CABCB15EBC04}"/>
                </c:ext>
              </c:extLst>
            </c:dLbl>
            <c:dLbl>
              <c:idx val="55"/>
              <c:tx>
                <c:rich>
                  <a:bodyPr/>
                  <a:lstStyle/>
                  <a:p>
                    <a:fld id="{5A50BD2D-0A69-4849-B5CE-E8D3DF0C05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D12-44DE-B956-CABCB15EBC04}"/>
                </c:ext>
              </c:extLst>
            </c:dLbl>
            <c:dLbl>
              <c:idx val="56"/>
              <c:tx>
                <c:rich>
                  <a:bodyPr/>
                  <a:lstStyle/>
                  <a:p>
                    <a:fld id="{11F19E6B-897C-4356-B039-83603A96EF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8E3F-4D1B-A313-C02BEC0FDBD1}"/>
                </c:ext>
              </c:extLst>
            </c:dLbl>
            <c:dLbl>
              <c:idx val="57"/>
              <c:tx>
                <c:rich>
                  <a:bodyPr/>
                  <a:lstStyle/>
                  <a:p>
                    <a:fld id="{3F2039CA-0830-4419-8162-D67E373BAD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8E3F-4D1B-A313-C02BEC0FDBD1}"/>
                </c:ext>
              </c:extLst>
            </c:dLbl>
            <c:dLbl>
              <c:idx val="58"/>
              <c:tx>
                <c:rich>
                  <a:bodyPr/>
                  <a:lstStyle/>
                  <a:p>
                    <a:fld id="{76D2D73B-FBFA-43D7-920C-58EF6FFD76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8E3F-4D1B-A313-C02BEC0FDBD1}"/>
                </c:ext>
              </c:extLst>
            </c:dLbl>
            <c:dLbl>
              <c:idx val="59"/>
              <c:tx>
                <c:rich>
                  <a:bodyPr/>
                  <a:lstStyle/>
                  <a:p>
                    <a:fld id="{AB8C5F11-64AF-496D-8E89-DBF4370424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8E3F-4D1B-A313-C02BEC0FDBD1}"/>
                </c:ext>
              </c:extLst>
            </c:dLbl>
            <c:dLbl>
              <c:idx val="60"/>
              <c:tx>
                <c:rich>
                  <a:bodyPr/>
                  <a:lstStyle/>
                  <a:p>
                    <a:fld id="{79440E47-CA8B-4530-B592-30B487F233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8E3F-4D1B-A313-C02BEC0FDBD1}"/>
                </c:ext>
              </c:extLst>
            </c:dLbl>
            <c:dLbl>
              <c:idx val="61"/>
              <c:tx>
                <c:rich>
                  <a:bodyPr/>
                  <a:lstStyle/>
                  <a:p>
                    <a:fld id="{2CFF67AB-9B57-4880-88BB-6B60E1F24F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8E3F-4D1B-A313-C02BEC0FDBD1}"/>
                </c:ext>
              </c:extLst>
            </c:dLbl>
            <c:dLbl>
              <c:idx val="62"/>
              <c:tx>
                <c:rich>
                  <a:bodyPr/>
                  <a:lstStyle/>
                  <a:p>
                    <a:fld id="{9B23BD95-2690-417E-B238-44D76251B7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8E3F-4D1B-A313-C02BEC0FDBD1}"/>
                </c:ext>
              </c:extLst>
            </c:dLbl>
            <c:dLbl>
              <c:idx val="63"/>
              <c:tx>
                <c:rich>
                  <a:bodyPr/>
                  <a:lstStyle/>
                  <a:p>
                    <a:fld id="{C46F8C18-C702-4F67-87DB-08AB3A4D56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8E3F-4D1B-A313-C02BEC0FDBD1}"/>
                </c:ext>
              </c:extLst>
            </c:dLbl>
            <c:dLbl>
              <c:idx val="64"/>
              <c:tx>
                <c:rich>
                  <a:bodyPr/>
                  <a:lstStyle/>
                  <a:p>
                    <a:fld id="{B94C53E8-9455-4056-ACFB-18F278D88C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8E3F-4D1B-A313-C02BEC0FDBD1}"/>
                </c:ext>
              </c:extLst>
            </c:dLbl>
            <c:dLbl>
              <c:idx val="65"/>
              <c:tx>
                <c:rich>
                  <a:bodyPr/>
                  <a:lstStyle/>
                  <a:p>
                    <a:fld id="{36662368-58D9-4293-B996-C077D954FC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8E3F-4D1B-A313-C02BEC0FDBD1}"/>
                </c:ext>
              </c:extLst>
            </c:dLbl>
            <c:dLbl>
              <c:idx val="66"/>
              <c:tx>
                <c:rich>
                  <a:bodyPr/>
                  <a:lstStyle/>
                  <a:p>
                    <a:fld id="{F686B10A-95EA-4E18-AE38-A9381AAA63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8E3F-4D1B-A313-C02BEC0FDBD1}"/>
                </c:ext>
              </c:extLst>
            </c:dLbl>
            <c:dLbl>
              <c:idx val="67"/>
              <c:tx>
                <c:rich>
                  <a:bodyPr/>
                  <a:lstStyle/>
                  <a:p>
                    <a:fld id="{199CCECA-FCDD-4FFA-B648-FC33F65EA1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8E3F-4D1B-A313-C02BEC0FDBD1}"/>
                </c:ext>
              </c:extLst>
            </c:dLbl>
            <c:dLbl>
              <c:idx val="68"/>
              <c:tx>
                <c:rich>
                  <a:bodyPr/>
                  <a:lstStyle/>
                  <a:p>
                    <a:fld id="{C278D9BE-40A8-44E8-BF55-EBE3E7411C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8E3F-4D1B-A313-C02BEC0FDBD1}"/>
                </c:ext>
              </c:extLst>
            </c:dLbl>
            <c:dLbl>
              <c:idx val="69"/>
              <c:tx>
                <c:rich>
                  <a:bodyPr/>
                  <a:lstStyle/>
                  <a:p>
                    <a:fld id="{5A4943AC-903B-4DDD-AFE2-04F3C434C1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8E3F-4D1B-A313-C02BEC0FDBD1}"/>
                </c:ext>
              </c:extLst>
            </c:dLbl>
            <c:dLbl>
              <c:idx val="70"/>
              <c:tx>
                <c:rich>
                  <a:bodyPr/>
                  <a:lstStyle/>
                  <a:p>
                    <a:fld id="{93FBFE8B-C45C-4308-85F5-23CBBC11C8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8E3F-4D1B-A313-C02BEC0FDBD1}"/>
                </c:ext>
              </c:extLst>
            </c:dLbl>
            <c:dLbl>
              <c:idx val="71"/>
              <c:tx>
                <c:rich>
                  <a:bodyPr/>
                  <a:lstStyle/>
                  <a:p>
                    <a:fld id="{7A3BCB50-ED2C-4A78-A8CD-09DF008DEF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8E3F-4D1B-A313-C02BEC0FDBD1}"/>
                </c:ext>
              </c:extLst>
            </c:dLbl>
            <c:dLbl>
              <c:idx val="72"/>
              <c:tx>
                <c:rich>
                  <a:bodyPr/>
                  <a:lstStyle/>
                  <a:p>
                    <a:fld id="{2CA5D918-B7A6-4122-B58A-4735E707E7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8E3F-4D1B-A313-C02BEC0FDBD1}"/>
                </c:ext>
              </c:extLst>
            </c:dLbl>
            <c:dLbl>
              <c:idx val="73"/>
              <c:tx>
                <c:rich>
                  <a:bodyPr/>
                  <a:lstStyle/>
                  <a:p>
                    <a:fld id="{5C78BB82-56D3-4AF6-8768-3182D43BCF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8E3F-4D1B-A313-C02BEC0FDBD1}"/>
                </c:ext>
              </c:extLst>
            </c:dLbl>
            <c:dLbl>
              <c:idx val="74"/>
              <c:tx>
                <c:rich>
                  <a:bodyPr/>
                  <a:lstStyle/>
                  <a:p>
                    <a:fld id="{C329320A-0EA6-4D58-8E1C-706580F78A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8E3F-4D1B-A313-C02BEC0FDBD1}"/>
                </c:ext>
              </c:extLst>
            </c:dLbl>
            <c:dLbl>
              <c:idx val="75"/>
              <c:tx>
                <c:rich>
                  <a:bodyPr/>
                  <a:lstStyle/>
                  <a:p>
                    <a:fld id="{6E269BA3-4444-412F-B077-B594E464D8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8E3F-4D1B-A313-C02BEC0FDBD1}"/>
                </c:ext>
              </c:extLst>
            </c:dLbl>
            <c:dLbl>
              <c:idx val="76"/>
              <c:tx>
                <c:rich>
                  <a:bodyPr/>
                  <a:lstStyle/>
                  <a:p>
                    <a:fld id="{2D175AD5-4BEC-46CF-B0F6-C3287C3F97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8E3F-4D1B-A313-C02BEC0FDBD1}"/>
                </c:ext>
              </c:extLst>
            </c:dLbl>
            <c:dLbl>
              <c:idx val="77"/>
              <c:tx>
                <c:rich>
                  <a:bodyPr/>
                  <a:lstStyle/>
                  <a:p>
                    <a:fld id="{B55838D8-3C98-451D-8DAD-7F75378B6E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8E3F-4D1B-A313-C02BEC0FDBD1}"/>
                </c:ext>
              </c:extLst>
            </c:dLbl>
            <c:dLbl>
              <c:idx val="78"/>
              <c:tx>
                <c:rich>
                  <a:bodyPr/>
                  <a:lstStyle/>
                  <a:p>
                    <a:fld id="{54AD6412-7CB2-4002-B40B-D5053FB26B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8E3F-4D1B-A313-C02BEC0FDBD1}"/>
                </c:ext>
              </c:extLst>
            </c:dLbl>
            <c:dLbl>
              <c:idx val="79"/>
              <c:tx>
                <c:rich>
                  <a:bodyPr/>
                  <a:lstStyle/>
                  <a:p>
                    <a:fld id="{16E8989C-2DA1-49C7-BBE2-1D95AA3AEE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8E3F-4D1B-A313-C02BEC0FDBD1}"/>
                </c:ext>
              </c:extLst>
            </c:dLbl>
            <c:dLbl>
              <c:idx val="80"/>
              <c:tx>
                <c:rich>
                  <a:bodyPr/>
                  <a:lstStyle/>
                  <a:p>
                    <a:fld id="{A9F29232-9887-44C9-B8A8-E8C7591121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8E3F-4D1B-A313-C02BEC0FDBD1}"/>
                </c:ext>
              </c:extLst>
            </c:dLbl>
            <c:dLbl>
              <c:idx val="81"/>
              <c:tx>
                <c:rich>
                  <a:bodyPr/>
                  <a:lstStyle/>
                  <a:p>
                    <a:fld id="{33FBA354-06A1-4065-9400-BBBB2B452F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9-8E3F-4D1B-A313-C02BEC0FDBD1}"/>
                </c:ext>
              </c:extLst>
            </c:dLbl>
            <c:dLbl>
              <c:idx val="82"/>
              <c:tx>
                <c:rich>
                  <a:bodyPr/>
                  <a:lstStyle/>
                  <a:p>
                    <a:fld id="{8B5A67C4-CFE1-4A7E-AE58-954F79D955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A-8E3F-4D1B-A313-C02BEC0FDBD1}"/>
                </c:ext>
              </c:extLst>
            </c:dLbl>
            <c:dLbl>
              <c:idx val="83"/>
              <c:tx>
                <c:rich>
                  <a:bodyPr/>
                  <a:lstStyle/>
                  <a:p>
                    <a:fld id="{90C634F7-F013-42F1-82C2-27B2567EF4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B-8E3F-4D1B-A313-C02BEC0FDBD1}"/>
                </c:ext>
              </c:extLst>
            </c:dLbl>
            <c:dLbl>
              <c:idx val="84"/>
              <c:tx>
                <c:rich>
                  <a:bodyPr/>
                  <a:lstStyle/>
                  <a:p>
                    <a:fld id="{5BBF02EE-3AB9-43F7-A2F1-658E620C74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C-8E3F-4D1B-A313-C02BEC0FDBD1}"/>
                </c:ext>
              </c:extLst>
            </c:dLbl>
            <c:dLbl>
              <c:idx val="85"/>
              <c:tx>
                <c:rich>
                  <a:bodyPr/>
                  <a:lstStyle/>
                  <a:p>
                    <a:fld id="{9A8925F9-33E9-4273-98D4-2806108C4E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D-8E3F-4D1B-A313-C02BEC0FDBD1}"/>
                </c:ext>
              </c:extLst>
            </c:dLbl>
            <c:dLbl>
              <c:idx val="86"/>
              <c:tx>
                <c:rich>
                  <a:bodyPr/>
                  <a:lstStyle/>
                  <a:p>
                    <a:fld id="{FFEF2D58-2EEF-4FE3-A846-DB77D52931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E-8E3F-4D1B-A313-C02BEC0FDBD1}"/>
                </c:ext>
              </c:extLst>
            </c:dLbl>
            <c:dLbl>
              <c:idx val="87"/>
              <c:tx>
                <c:rich>
                  <a:bodyPr/>
                  <a:lstStyle/>
                  <a:p>
                    <a:fld id="{31D90BE1-3F08-4E15-B2A7-963CF59A2E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F-8E3F-4D1B-A313-C02BEC0FDBD1}"/>
                </c:ext>
              </c:extLst>
            </c:dLbl>
            <c:dLbl>
              <c:idx val="88"/>
              <c:tx>
                <c:rich>
                  <a:bodyPr/>
                  <a:lstStyle/>
                  <a:p>
                    <a:fld id="{0213121C-902B-4D5F-BDEB-53ED2A6B7E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0-8E3F-4D1B-A313-C02BEC0FDBD1}"/>
                </c:ext>
              </c:extLst>
            </c:dLbl>
            <c:dLbl>
              <c:idx val="89"/>
              <c:tx>
                <c:rich>
                  <a:bodyPr/>
                  <a:lstStyle/>
                  <a:p>
                    <a:fld id="{8C521FDA-A06C-4963-8249-D2298D4D70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1-8E3F-4D1B-A313-C02BEC0FDBD1}"/>
                </c:ext>
              </c:extLst>
            </c:dLbl>
            <c:dLbl>
              <c:idx val="90"/>
              <c:tx>
                <c:rich>
                  <a:bodyPr/>
                  <a:lstStyle/>
                  <a:p>
                    <a:fld id="{C78A2118-4584-45BD-9707-043E20154C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2-8E3F-4D1B-A313-C02BEC0FDBD1}"/>
                </c:ext>
              </c:extLst>
            </c:dLbl>
            <c:dLbl>
              <c:idx val="91"/>
              <c:tx>
                <c:rich>
                  <a:bodyPr/>
                  <a:lstStyle/>
                  <a:p>
                    <a:fld id="{CB23CD7F-81C5-4748-994E-BE47C474A1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3-8E3F-4D1B-A313-C02BEC0FDBD1}"/>
                </c:ext>
              </c:extLst>
            </c:dLbl>
            <c:dLbl>
              <c:idx val="92"/>
              <c:tx>
                <c:rich>
                  <a:bodyPr/>
                  <a:lstStyle/>
                  <a:p>
                    <a:fld id="{9C16501B-0C5C-4AF1-B8C9-A7893F1084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4-8E3F-4D1B-A313-C02BEC0FDBD1}"/>
                </c:ext>
              </c:extLst>
            </c:dLbl>
            <c:dLbl>
              <c:idx val="93"/>
              <c:tx>
                <c:rich>
                  <a:bodyPr/>
                  <a:lstStyle/>
                  <a:p>
                    <a:fld id="{6083AABF-76E0-4426-ACAD-06E30EADA9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5-8E3F-4D1B-A313-C02BEC0FDBD1}"/>
                </c:ext>
              </c:extLst>
            </c:dLbl>
            <c:dLbl>
              <c:idx val="94"/>
              <c:tx>
                <c:rich>
                  <a:bodyPr/>
                  <a:lstStyle/>
                  <a:p>
                    <a:fld id="{EAA795D8-2F84-42C6-BD78-69271E9748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6-8E3F-4D1B-A313-C02BEC0FDBD1}"/>
                </c:ext>
              </c:extLst>
            </c:dLbl>
            <c:dLbl>
              <c:idx val="95"/>
              <c:tx>
                <c:rich>
                  <a:bodyPr/>
                  <a:lstStyle/>
                  <a:p>
                    <a:fld id="{3342F553-705B-43B5-BB9B-57CAC020E0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7-8E3F-4D1B-A313-C02BEC0FDBD1}"/>
                </c:ext>
              </c:extLst>
            </c:dLbl>
            <c:dLbl>
              <c:idx val="96"/>
              <c:tx>
                <c:rich>
                  <a:bodyPr/>
                  <a:lstStyle/>
                  <a:p>
                    <a:fld id="{F530CB6F-FDCB-4F81-9272-FCE7E9D5D6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8-8E3F-4D1B-A313-C02BEC0FDBD1}"/>
                </c:ext>
              </c:extLst>
            </c:dLbl>
            <c:dLbl>
              <c:idx val="97"/>
              <c:tx>
                <c:rich>
                  <a:bodyPr/>
                  <a:lstStyle/>
                  <a:p>
                    <a:fld id="{5F302876-F175-46CE-AF10-DE9FD979AF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9-8E3F-4D1B-A313-C02BEC0FDBD1}"/>
                </c:ext>
              </c:extLst>
            </c:dLbl>
            <c:dLbl>
              <c:idx val="98"/>
              <c:tx>
                <c:rich>
                  <a:bodyPr/>
                  <a:lstStyle/>
                  <a:p>
                    <a:fld id="{E5A3EA88-85E4-4649-9ACB-535FBB4FEE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A-8E3F-4D1B-A313-C02BEC0FDBD1}"/>
                </c:ext>
              </c:extLst>
            </c:dLbl>
            <c:dLbl>
              <c:idx val="99"/>
              <c:tx>
                <c:rich>
                  <a:bodyPr/>
                  <a:lstStyle/>
                  <a:p>
                    <a:fld id="{98DBF080-C6B8-4F24-9D36-6E5C1C4587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B-8E3F-4D1B-A313-C02BEC0FDBD1}"/>
                </c:ext>
              </c:extLst>
            </c:dLbl>
            <c:dLbl>
              <c:idx val="100"/>
              <c:tx>
                <c:rich>
                  <a:bodyPr/>
                  <a:lstStyle/>
                  <a:p>
                    <a:fld id="{83ADF89F-D1B6-4529-BAC8-789CDC73E7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C-8E3F-4D1B-A313-C02BEC0FDBD1}"/>
                </c:ext>
              </c:extLst>
            </c:dLbl>
            <c:dLbl>
              <c:idx val="101"/>
              <c:tx>
                <c:rich>
                  <a:bodyPr/>
                  <a:lstStyle/>
                  <a:p>
                    <a:fld id="{E0FD38C4-AC76-4972-B566-2D9FEBACD2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D-8E3F-4D1B-A313-C02BEC0FDBD1}"/>
                </c:ext>
              </c:extLst>
            </c:dLbl>
            <c:dLbl>
              <c:idx val="102"/>
              <c:tx>
                <c:rich>
                  <a:bodyPr/>
                  <a:lstStyle/>
                  <a:p>
                    <a:fld id="{624FD46B-763B-42BE-9DC6-8F59B2E76A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E-8E3F-4D1B-A313-C02BEC0FDBD1}"/>
                </c:ext>
              </c:extLst>
            </c:dLbl>
            <c:dLbl>
              <c:idx val="103"/>
              <c:tx>
                <c:rich>
                  <a:bodyPr/>
                  <a:lstStyle/>
                  <a:p>
                    <a:fld id="{6CE42FC9-B77C-4703-AD3A-7B43339B0A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F-8E3F-4D1B-A313-C02BEC0FDBD1}"/>
                </c:ext>
              </c:extLst>
            </c:dLbl>
            <c:dLbl>
              <c:idx val="104"/>
              <c:tx>
                <c:rich>
                  <a:bodyPr/>
                  <a:lstStyle/>
                  <a:p>
                    <a:fld id="{E8C7DB0D-6DA3-4BC1-8493-0DD5A60716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0-8E3F-4D1B-A313-C02BEC0FDBD1}"/>
                </c:ext>
              </c:extLst>
            </c:dLbl>
            <c:dLbl>
              <c:idx val="105"/>
              <c:tx>
                <c:rich>
                  <a:bodyPr/>
                  <a:lstStyle/>
                  <a:p>
                    <a:fld id="{7E270408-88A3-4D2D-A4A6-A65E38BDC9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1-8E3F-4D1B-A313-C02BEC0FDBD1}"/>
                </c:ext>
              </c:extLst>
            </c:dLbl>
            <c:dLbl>
              <c:idx val="106"/>
              <c:tx>
                <c:rich>
                  <a:bodyPr/>
                  <a:lstStyle/>
                  <a:p>
                    <a:fld id="{6F01E4E2-91D0-42C0-B94F-5B46F60374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2-8E3F-4D1B-A313-C02BEC0FDBD1}"/>
                </c:ext>
              </c:extLst>
            </c:dLbl>
            <c:dLbl>
              <c:idx val="107"/>
              <c:tx>
                <c:rich>
                  <a:bodyPr/>
                  <a:lstStyle/>
                  <a:p>
                    <a:fld id="{5088A660-1FBD-4702-89A4-51B9FC1FD5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3-8E3F-4D1B-A313-C02BEC0FDBD1}"/>
                </c:ext>
              </c:extLst>
            </c:dLbl>
            <c:dLbl>
              <c:idx val="108"/>
              <c:tx>
                <c:rich>
                  <a:bodyPr/>
                  <a:lstStyle/>
                  <a:p>
                    <a:fld id="{94EC9324-2E9B-41BD-BEE9-20D078FB29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4-8E3F-4D1B-A313-C02BEC0FDBD1}"/>
                </c:ext>
              </c:extLst>
            </c:dLbl>
            <c:dLbl>
              <c:idx val="109"/>
              <c:tx>
                <c:rich>
                  <a:bodyPr/>
                  <a:lstStyle/>
                  <a:p>
                    <a:fld id="{2C1670E6-CA8F-4037-ADE4-8771E057F1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5-8E3F-4D1B-A313-C02BEC0FDBD1}"/>
                </c:ext>
              </c:extLst>
            </c:dLbl>
            <c:dLbl>
              <c:idx val="110"/>
              <c:tx>
                <c:rich>
                  <a:bodyPr/>
                  <a:lstStyle/>
                  <a:p>
                    <a:fld id="{99A5CE41-3038-4E2F-B2D5-8DD65773AE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6-8E3F-4D1B-A313-C02BEC0FDBD1}"/>
                </c:ext>
              </c:extLst>
            </c:dLbl>
            <c:dLbl>
              <c:idx val="111"/>
              <c:tx>
                <c:rich>
                  <a:bodyPr/>
                  <a:lstStyle/>
                  <a:p>
                    <a:fld id="{7C8B11EC-2277-4116-A66F-F74DA6DB3A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7-8E3F-4D1B-A313-C02BEC0FDBD1}"/>
                </c:ext>
              </c:extLst>
            </c:dLbl>
            <c:dLbl>
              <c:idx val="112"/>
              <c:tx>
                <c:rich>
                  <a:bodyPr/>
                  <a:lstStyle/>
                  <a:p>
                    <a:fld id="{A536D188-3930-4247-B8F7-DFF3289295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8-8E3F-4D1B-A313-C02BEC0FDBD1}"/>
                </c:ext>
              </c:extLst>
            </c:dLbl>
            <c:dLbl>
              <c:idx val="113"/>
              <c:tx>
                <c:rich>
                  <a:bodyPr/>
                  <a:lstStyle/>
                  <a:p>
                    <a:fld id="{88E05F68-F8BA-492F-9F70-571F691A62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9-8E3F-4D1B-A313-C02BEC0FDBD1}"/>
                </c:ext>
              </c:extLst>
            </c:dLbl>
            <c:dLbl>
              <c:idx val="114"/>
              <c:tx>
                <c:rich>
                  <a:bodyPr/>
                  <a:lstStyle/>
                  <a:p>
                    <a:fld id="{AEDAAE97-D871-45AB-A10A-CB3322C8F7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A-8E3F-4D1B-A313-C02BEC0FDBD1}"/>
                </c:ext>
              </c:extLst>
            </c:dLbl>
            <c:dLbl>
              <c:idx val="115"/>
              <c:tx>
                <c:rich>
                  <a:bodyPr/>
                  <a:lstStyle/>
                  <a:p>
                    <a:fld id="{0456A323-705D-4455-8025-53230FCB3E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B-8E3F-4D1B-A313-C02BEC0FDBD1}"/>
                </c:ext>
              </c:extLst>
            </c:dLbl>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8</c:f>
              <c:numCache>
                <c:formatCode>General</c:formatCode>
                <c:ptCount val="7"/>
                <c:pt idx="0">
                  <c:v>1</c:v>
                </c:pt>
                <c:pt idx="1">
                  <c:v>1</c:v>
                </c:pt>
                <c:pt idx="2">
                  <c:v>1</c:v>
                </c:pt>
                <c:pt idx="3">
                  <c:v>3</c:v>
                </c:pt>
                <c:pt idx="4">
                  <c:v>3</c:v>
                </c:pt>
                <c:pt idx="5">
                  <c:v>3</c:v>
                </c:pt>
                <c:pt idx="6">
                  <c:v>3</c:v>
                </c:pt>
              </c:numCache>
            </c:numRef>
          </c:xVal>
          <c:yVal>
            <c:numRef>
              <c:f>Sheet1!$B$2:$B$8</c:f>
              <c:numCache>
                <c:formatCode>General</c:formatCode>
                <c:ptCount val="7"/>
                <c:pt idx="0">
                  <c:v>0.25736915035471042</c:v>
                </c:pt>
                <c:pt idx="1">
                  <c:v>0.22309452807604779</c:v>
                </c:pt>
                <c:pt idx="2">
                  <c:v>0.182909399479526</c:v>
                </c:pt>
                <c:pt idx="3">
                  <c:v>-0.24608269235740049</c:v>
                </c:pt>
                <c:pt idx="4">
                  <c:v>2.1021046990951139E-2</c:v>
                </c:pt>
                <c:pt idx="5">
                  <c:v>7.0105657692061119E-2</c:v>
                </c:pt>
                <c:pt idx="6">
                  <c:v>0.18383767644502</c:v>
                </c:pt>
              </c:numCache>
            </c:numRef>
          </c:yVal>
          <c:bubbleSize>
            <c:numRef>
              <c:f>Sheet1!$C$2:$C$8</c:f>
              <c:numCache>
                <c:formatCode>General</c:formatCode>
                <c:ptCount val="7"/>
                <c:pt idx="0">
                  <c:v>9868379</c:v>
                </c:pt>
                <c:pt idx="1">
                  <c:v>6252872</c:v>
                </c:pt>
                <c:pt idx="2">
                  <c:v>382455</c:v>
                </c:pt>
                <c:pt idx="3">
                  <c:v>355493</c:v>
                </c:pt>
                <c:pt idx="4">
                  <c:v>1716108</c:v>
                </c:pt>
                <c:pt idx="5">
                  <c:v>1141177</c:v>
                </c:pt>
                <c:pt idx="6">
                  <c:v>2238318</c:v>
                </c:pt>
              </c:numCache>
            </c:numRef>
          </c:bubbleSize>
          <c:bubble3D val="0"/>
          <c:extLst>
            <c:ext xmlns:c15="http://schemas.microsoft.com/office/drawing/2012/chart" uri="{02D57815-91ED-43cb-92C2-25804820EDAC}">
              <c15:datalabelsRange>
                <c15:f>Sheet1!$E$2:$E$150</c15:f>
                <c15:dlblRangeCache>
                  <c:ptCount val="149"/>
                  <c:pt idx="0">
                    <c:v>Gillette</c:v>
                  </c:pt>
                  <c:pt idx="1">
                    <c:v>Schick</c:v>
                  </c:pt>
                  <c:pt idx="2">
                    <c:v>Bic</c:v>
                  </c:pt>
                  <c:pt idx="3">
                    <c:v>Gillette</c:v>
                  </c:pt>
                  <c:pt idx="4">
                    <c:v>Bic</c:v>
                  </c:pt>
                  <c:pt idx="5">
                    <c:v>Equate</c:v>
                  </c:pt>
                  <c:pt idx="6">
                    <c:v>Schick</c:v>
                  </c:pt>
                </c15:dlblRangeCache>
              </c15:datalabelsRange>
            </c:ext>
            <c:ext xmlns:c16="http://schemas.microsoft.com/office/drawing/2014/chart" uri="{C3380CC4-5D6E-409C-BE32-E72D297353CC}">
              <c16:uniqueId val="{00000026-26FB-4B52-8D72-D56D618E8EAF}"/>
            </c:ext>
          </c:extLst>
        </c:ser>
        <c:dLbls>
          <c:dLblPos val="ctr"/>
          <c:showLegendKey val="0"/>
          <c:showVal val="1"/>
          <c:showCatName val="0"/>
          <c:showSerName val="0"/>
          <c:showPercent val="0"/>
          <c:showBubbleSize val="0"/>
        </c:dLbls>
        <c:bubbleScale val="75"/>
        <c:showNegBubbles val="0"/>
        <c:axId val="804121775"/>
        <c:axId val="804116783"/>
      </c:bubbleChart>
      <c:valAx>
        <c:axId val="804121775"/>
        <c:scaling>
          <c:orientation val="minMax"/>
          <c:max val="4"/>
          <c:min val="0"/>
        </c:scaling>
        <c:delete val="0"/>
        <c:axPos val="b"/>
        <c:numFmt formatCode="0%" sourceLinked="0"/>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16783"/>
        <c:crosses val="autoZero"/>
        <c:crossBetween val="midCat"/>
        <c:minorUnit val="0.1"/>
      </c:valAx>
      <c:valAx>
        <c:axId val="804116783"/>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en-US" sz="800" dirty="0">
                    <a:solidFill>
                      <a:schemeClr val="tx1"/>
                    </a:solidFill>
                    <a:latin typeface="Nexa Bold" panose="00000800000000000000" pitchFamily="2" charset="0"/>
                  </a:rPr>
                  <a:t>Averag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Valu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uplift</a:t>
                </a:r>
                <a:endParaRPr lang="en-CH" sz="800" dirty="0">
                  <a:solidFill>
                    <a:schemeClr val="tx1"/>
                  </a:solidFill>
                  <a:latin typeface="Nexa Bold" panose="00000800000000000000" pitchFamily="2" charset="0"/>
                </a:endParaRPr>
              </a:p>
            </c:rich>
          </c:tx>
          <c:layout>
            <c:manualLayout>
              <c:xMode val="edge"/>
              <c:yMode val="edge"/>
              <c:x val="2.0811111111111117E-3"/>
              <c:y val="0.10078557265656676"/>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CH"/>
            </a:p>
          </c:txPr>
        </c:title>
        <c:numFmt formatCode="0%" sourceLinked="0"/>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21775"/>
        <c:crosses val="autoZero"/>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64864197530864"/>
          <c:y val="0.12152940918360107"/>
          <c:w val="0.83974691358024689"/>
          <c:h val="0.72254306602702423"/>
        </c:manualLayout>
      </c:layout>
      <c:bubbleChart>
        <c:varyColors val="0"/>
        <c:ser>
          <c:idx val="0"/>
          <c:order val="0"/>
          <c:tx>
            <c:strRef>
              <c:f>Sheet1!$B$1</c:f>
              <c:strCache>
                <c:ptCount val="1"/>
                <c:pt idx="0">
                  <c:v>Average Value Uplift</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26FB-4B52-8D72-D56D618E8EAF}"/>
              </c:ext>
            </c:extLst>
          </c:dPt>
          <c:dPt>
            <c:idx val="1"/>
            <c:invertIfNegative val="0"/>
            <c:bubble3D val="0"/>
            <c:spPr>
              <a:solidFill>
                <a:srgbClr val="E6E5E5"/>
              </a:solidFill>
              <a:ln>
                <a:noFill/>
              </a:ln>
              <a:effectLst/>
            </c:spPr>
            <c:extLst>
              <c:ext xmlns:c16="http://schemas.microsoft.com/office/drawing/2014/chart" uri="{C3380CC4-5D6E-409C-BE32-E72D297353CC}">
                <c16:uniqueId val="{00000003-26FB-4B52-8D72-D56D618E8EAF}"/>
              </c:ext>
            </c:extLst>
          </c:dPt>
          <c:dPt>
            <c:idx val="2"/>
            <c:invertIfNegative val="0"/>
            <c:bubble3D val="0"/>
            <c:spPr>
              <a:solidFill>
                <a:srgbClr val="7ECAC4"/>
              </a:solidFill>
              <a:ln>
                <a:noFill/>
              </a:ln>
              <a:effectLst/>
            </c:spPr>
            <c:extLst>
              <c:ext xmlns:c16="http://schemas.microsoft.com/office/drawing/2014/chart" uri="{C3380CC4-5D6E-409C-BE32-E72D297353CC}">
                <c16:uniqueId val="{00000005-26FB-4B52-8D72-D56D618E8EAF}"/>
              </c:ext>
            </c:extLst>
          </c:dPt>
          <c:dPt>
            <c:idx val="3"/>
            <c:invertIfNegative val="0"/>
            <c:bubble3D val="0"/>
            <c:spPr>
              <a:solidFill>
                <a:srgbClr val="E6E5E5"/>
              </a:solidFill>
              <a:ln>
                <a:noFill/>
              </a:ln>
              <a:effectLst/>
            </c:spPr>
            <c:extLst>
              <c:ext xmlns:c16="http://schemas.microsoft.com/office/drawing/2014/chart" uri="{C3380CC4-5D6E-409C-BE32-E72D297353CC}">
                <c16:uniqueId val="{00000007-26FB-4B52-8D72-D56D618E8EAF}"/>
              </c:ext>
            </c:extLst>
          </c:dPt>
          <c:dPt>
            <c:idx val="4"/>
            <c:invertIfNegative val="0"/>
            <c:bubble3D val="0"/>
            <c:spPr>
              <a:solidFill>
                <a:srgbClr val="E6E5E5"/>
              </a:solidFill>
              <a:ln>
                <a:noFill/>
              </a:ln>
              <a:effectLst/>
            </c:spPr>
            <c:extLst>
              <c:ext xmlns:c16="http://schemas.microsoft.com/office/drawing/2014/chart" uri="{C3380CC4-5D6E-409C-BE32-E72D297353CC}">
                <c16:uniqueId val="{00000009-26FB-4B52-8D72-D56D618E8EAF}"/>
              </c:ext>
            </c:extLst>
          </c:dPt>
          <c:dPt>
            <c:idx val="5"/>
            <c:invertIfNegative val="0"/>
            <c:bubble3D val="0"/>
            <c:spPr>
              <a:solidFill>
                <a:srgbClr val="7ECAC4"/>
              </a:solidFill>
              <a:ln>
                <a:noFill/>
              </a:ln>
              <a:effectLst/>
            </c:spPr>
            <c:extLst>
              <c:ext xmlns:c16="http://schemas.microsoft.com/office/drawing/2014/chart" uri="{C3380CC4-5D6E-409C-BE32-E72D297353CC}">
                <c16:uniqueId val="{0000000B-26FB-4B52-8D72-D56D618E8EAF}"/>
              </c:ext>
            </c:extLst>
          </c:dPt>
          <c:dPt>
            <c:idx val="6"/>
            <c:invertIfNegative val="0"/>
            <c:bubble3D val="0"/>
            <c:spPr>
              <a:solidFill>
                <a:srgbClr val="7ECAC4"/>
              </a:solidFill>
              <a:ln>
                <a:noFill/>
              </a:ln>
              <a:effectLst/>
            </c:spPr>
            <c:extLst>
              <c:ext xmlns:c16="http://schemas.microsoft.com/office/drawing/2014/chart" uri="{C3380CC4-5D6E-409C-BE32-E72D297353CC}">
                <c16:uniqueId val="{0000000D-26FB-4B52-8D72-D56D618E8EAF}"/>
              </c:ext>
            </c:extLst>
          </c:dPt>
          <c:dPt>
            <c:idx val="7"/>
            <c:invertIfNegative val="0"/>
            <c:bubble3D val="0"/>
            <c:spPr>
              <a:solidFill>
                <a:schemeClr val="bg2"/>
              </a:solidFill>
              <a:ln>
                <a:noFill/>
              </a:ln>
              <a:effectLst/>
            </c:spPr>
            <c:extLst>
              <c:ext xmlns:c16="http://schemas.microsoft.com/office/drawing/2014/chart" uri="{C3380CC4-5D6E-409C-BE32-E72D297353CC}">
                <c16:uniqueId val="{0000000F-26FB-4B52-8D72-D56D618E8EAF}"/>
              </c:ext>
            </c:extLst>
          </c:dPt>
          <c:dPt>
            <c:idx val="8"/>
            <c:invertIfNegative val="0"/>
            <c:bubble3D val="0"/>
            <c:spPr>
              <a:solidFill>
                <a:schemeClr val="bg2"/>
              </a:solidFill>
              <a:ln>
                <a:noFill/>
              </a:ln>
              <a:effectLst/>
            </c:spPr>
            <c:extLst>
              <c:ext xmlns:c16="http://schemas.microsoft.com/office/drawing/2014/chart" uri="{C3380CC4-5D6E-409C-BE32-E72D297353CC}">
                <c16:uniqueId val="{00000011-26FB-4B52-8D72-D56D618E8EAF}"/>
              </c:ext>
            </c:extLst>
          </c:dPt>
          <c:dPt>
            <c:idx val="11"/>
            <c:invertIfNegative val="0"/>
            <c:bubble3D val="0"/>
            <c:spPr>
              <a:solidFill>
                <a:schemeClr val="bg2"/>
              </a:solidFill>
              <a:ln>
                <a:noFill/>
              </a:ln>
              <a:effectLst/>
            </c:spPr>
            <c:extLst>
              <c:ext xmlns:c16="http://schemas.microsoft.com/office/drawing/2014/chart" uri="{C3380CC4-5D6E-409C-BE32-E72D297353CC}">
                <c16:uniqueId val="{00000013-26FB-4B52-8D72-D56D618E8EAF}"/>
              </c:ext>
            </c:extLst>
          </c:dPt>
          <c:dPt>
            <c:idx val="12"/>
            <c:invertIfNegative val="0"/>
            <c:bubble3D val="0"/>
            <c:spPr>
              <a:solidFill>
                <a:schemeClr val="bg2"/>
              </a:solidFill>
              <a:ln>
                <a:noFill/>
              </a:ln>
              <a:effectLst/>
            </c:spPr>
            <c:extLst>
              <c:ext xmlns:c16="http://schemas.microsoft.com/office/drawing/2014/chart" uri="{C3380CC4-5D6E-409C-BE32-E72D297353CC}">
                <c16:uniqueId val="{00000002-7B2D-4A32-96D2-9C641BCDE5CC}"/>
              </c:ext>
            </c:extLst>
          </c:dPt>
          <c:dPt>
            <c:idx val="13"/>
            <c:invertIfNegative val="0"/>
            <c:bubble3D val="0"/>
            <c:extLst>
              <c:ext xmlns:c16="http://schemas.microsoft.com/office/drawing/2014/chart" uri="{C3380CC4-5D6E-409C-BE32-E72D297353CC}">
                <c16:uniqueId val="{00000017-26FB-4B52-8D72-D56D618E8EAF}"/>
              </c:ext>
            </c:extLst>
          </c:dPt>
          <c:dPt>
            <c:idx val="14"/>
            <c:invertIfNegative val="0"/>
            <c:bubble3D val="0"/>
            <c:spPr>
              <a:solidFill>
                <a:schemeClr val="bg2"/>
              </a:solidFill>
              <a:ln>
                <a:noFill/>
              </a:ln>
              <a:effectLst/>
            </c:spPr>
            <c:extLst>
              <c:ext xmlns:c16="http://schemas.microsoft.com/office/drawing/2014/chart" uri="{C3380CC4-5D6E-409C-BE32-E72D297353CC}">
                <c16:uniqueId val="{00000019-26FB-4B52-8D72-D56D618E8EAF}"/>
              </c:ext>
            </c:extLst>
          </c:dPt>
          <c:dPt>
            <c:idx val="15"/>
            <c:invertIfNegative val="0"/>
            <c:bubble3D val="0"/>
            <c:extLst>
              <c:ext xmlns:c16="http://schemas.microsoft.com/office/drawing/2014/chart" uri="{C3380CC4-5D6E-409C-BE32-E72D297353CC}">
                <c16:uniqueId val="{0000001C-26FB-4B52-8D72-D56D618E8EAF}"/>
              </c:ext>
            </c:extLst>
          </c:dPt>
          <c:dPt>
            <c:idx val="19"/>
            <c:invertIfNegative val="0"/>
            <c:bubble3D val="0"/>
            <c:spPr>
              <a:solidFill>
                <a:srgbClr val="7ECAC4"/>
              </a:solidFill>
              <a:ln>
                <a:noFill/>
              </a:ln>
              <a:effectLst/>
            </c:spPr>
            <c:extLst>
              <c:ext xmlns:c16="http://schemas.microsoft.com/office/drawing/2014/chart" uri="{C3380CC4-5D6E-409C-BE32-E72D297353CC}">
                <c16:uniqueId val="{00000002-0A6E-4C83-9A06-9C3309B2855E}"/>
              </c:ext>
            </c:extLst>
          </c:dPt>
          <c:dPt>
            <c:idx val="24"/>
            <c:invertIfNegative val="0"/>
            <c:bubble3D val="0"/>
            <c:spPr>
              <a:solidFill>
                <a:schemeClr val="bg2"/>
              </a:solidFill>
              <a:ln>
                <a:noFill/>
              </a:ln>
              <a:effectLst/>
            </c:spPr>
            <c:extLst>
              <c:ext xmlns:c16="http://schemas.microsoft.com/office/drawing/2014/chart" uri="{C3380CC4-5D6E-409C-BE32-E72D297353CC}">
                <c16:uniqueId val="{00000005-0A6E-4C83-9A06-9C3309B2855E}"/>
              </c:ext>
            </c:extLst>
          </c:dPt>
          <c:dPt>
            <c:idx val="29"/>
            <c:invertIfNegative val="0"/>
            <c:bubble3D val="0"/>
            <c:extLst>
              <c:ext xmlns:c16="http://schemas.microsoft.com/office/drawing/2014/chart" uri="{C3380CC4-5D6E-409C-BE32-E72D297353CC}">
                <c16:uniqueId val="{00000003-8F47-486F-B734-6012CEA493B3}"/>
              </c:ext>
            </c:extLst>
          </c:dPt>
          <c:dPt>
            <c:idx val="31"/>
            <c:invertIfNegative val="0"/>
            <c:bubble3D val="0"/>
            <c:spPr>
              <a:solidFill>
                <a:schemeClr val="accent2"/>
              </a:solidFill>
              <a:ln>
                <a:noFill/>
              </a:ln>
              <a:effectLst/>
            </c:spPr>
            <c:extLst>
              <c:ext xmlns:c16="http://schemas.microsoft.com/office/drawing/2014/chart" uri="{C3380CC4-5D6E-409C-BE32-E72D297353CC}">
                <c16:uniqueId val="{00000000-4D12-44DE-B956-CABCB15EBC04}"/>
              </c:ext>
            </c:extLst>
          </c:dPt>
          <c:dPt>
            <c:idx val="33"/>
            <c:invertIfNegative val="0"/>
            <c:bubble3D val="0"/>
            <c:spPr>
              <a:solidFill>
                <a:schemeClr val="accent2"/>
              </a:solidFill>
              <a:ln>
                <a:noFill/>
              </a:ln>
              <a:effectLst/>
            </c:spPr>
            <c:extLst>
              <c:ext xmlns:c16="http://schemas.microsoft.com/office/drawing/2014/chart" uri="{C3380CC4-5D6E-409C-BE32-E72D297353CC}">
                <c16:uniqueId val="{00000001-4D12-44DE-B956-CABCB15EBC04}"/>
              </c:ext>
            </c:extLst>
          </c:dPt>
          <c:dLbls>
            <c:dLbl>
              <c:idx val="0"/>
              <c:tx>
                <c:rich>
                  <a:bodyPr/>
                  <a:lstStyle/>
                  <a:p>
                    <a:fld id="{740D2F4F-0234-4858-A806-9817E614B1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FB-4B52-8D72-D56D618E8EAF}"/>
                </c:ext>
              </c:extLst>
            </c:dLbl>
            <c:dLbl>
              <c:idx val="1"/>
              <c:tx>
                <c:rich>
                  <a:bodyPr/>
                  <a:lstStyle/>
                  <a:p>
                    <a:fld id="{B24F717D-BAB9-461D-B43A-58B7D3D357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FB-4B52-8D72-D56D618E8EAF}"/>
                </c:ext>
              </c:extLst>
            </c:dLbl>
            <c:dLbl>
              <c:idx val="2"/>
              <c:tx>
                <c:rich>
                  <a:bodyPr/>
                  <a:lstStyle/>
                  <a:p>
                    <a:fld id="{A5116934-1502-421B-86AF-32691B84B4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26FB-4B52-8D72-D56D618E8EAF}"/>
                </c:ext>
              </c:extLst>
            </c:dLbl>
            <c:dLbl>
              <c:idx val="3"/>
              <c:tx>
                <c:rich>
                  <a:bodyPr/>
                  <a:lstStyle/>
                  <a:p>
                    <a:fld id="{B98C93E3-4A59-42A4-89DB-801E5950F2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FB-4B52-8D72-D56D618E8EAF}"/>
                </c:ext>
              </c:extLst>
            </c:dLbl>
            <c:dLbl>
              <c:idx val="4"/>
              <c:tx>
                <c:rich>
                  <a:bodyPr/>
                  <a:lstStyle/>
                  <a:p>
                    <a:fld id="{22F6AE7D-C7A0-48DA-BD83-75920E69DD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FB-4B52-8D72-D56D618E8EAF}"/>
                </c:ext>
              </c:extLst>
            </c:dLbl>
            <c:dLbl>
              <c:idx val="5"/>
              <c:tx>
                <c:rich>
                  <a:bodyPr/>
                  <a:lstStyle/>
                  <a:p>
                    <a:fld id="{F23DF50D-BCD7-4C4E-92A1-028487CA45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26FB-4B52-8D72-D56D618E8EAF}"/>
                </c:ext>
              </c:extLst>
            </c:dLbl>
            <c:dLbl>
              <c:idx val="6"/>
              <c:tx>
                <c:rich>
                  <a:bodyPr/>
                  <a:lstStyle/>
                  <a:p>
                    <a:fld id="{56CB294A-A367-44C3-AFB7-F4DFAABE0A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26FB-4B52-8D72-D56D618E8EAF}"/>
                </c:ext>
              </c:extLst>
            </c:dLbl>
            <c:dLbl>
              <c:idx val="7"/>
              <c:tx>
                <c:rich>
                  <a:bodyPr/>
                  <a:lstStyle/>
                  <a:p>
                    <a:fld id="{EA5619E5-ADC3-48D3-9D70-6ECAFE0FE9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26FB-4B52-8D72-D56D618E8EAF}"/>
                </c:ext>
              </c:extLst>
            </c:dLbl>
            <c:dLbl>
              <c:idx val="8"/>
              <c:tx>
                <c:rich>
                  <a:bodyPr/>
                  <a:lstStyle/>
                  <a:p>
                    <a:fld id="{A0FA9071-3EE3-48D4-9E38-8B60C5D770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26FB-4B52-8D72-D56D618E8EAF}"/>
                </c:ext>
              </c:extLst>
            </c:dLbl>
            <c:dLbl>
              <c:idx val="9"/>
              <c:tx>
                <c:rich>
                  <a:bodyPr/>
                  <a:lstStyle/>
                  <a:p>
                    <a:fld id="{520B877E-59C0-444D-B4FE-CAE56A048C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B2D-4A32-96D2-9C641BCDE5CC}"/>
                </c:ext>
              </c:extLst>
            </c:dLbl>
            <c:dLbl>
              <c:idx val="10"/>
              <c:tx>
                <c:rich>
                  <a:bodyPr/>
                  <a:lstStyle/>
                  <a:p>
                    <a:fld id="{643D7D37-CD6B-4C48-B131-D7E174FF7F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7B2D-4A32-96D2-9C641BCDE5CC}"/>
                </c:ext>
              </c:extLst>
            </c:dLbl>
            <c:dLbl>
              <c:idx val="11"/>
              <c:tx>
                <c:rich>
                  <a:bodyPr/>
                  <a:lstStyle/>
                  <a:p>
                    <a:fld id="{75B30858-DA1C-45A1-8FE3-9BC4837C0E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26FB-4B52-8D72-D56D618E8EAF}"/>
                </c:ext>
              </c:extLst>
            </c:dLbl>
            <c:dLbl>
              <c:idx val="12"/>
              <c:tx>
                <c:rich>
                  <a:bodyPr/>
                  <a:lstStyle/>
                  <a:p>
                    <a:fld id="{0716E074-12BA-43F0-849E-FF393431B1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7B2D-4A32-96D2-9C641BCDE5CC}"/>
                </c:ext>
              </c:extLst>
            </c:dLbl>
            <c:dLbl>
              <c:idx val="13"/>
              <c:tx>
                <c:rich>
                  <a:bodyPr/>
                  <a:lstStyle/>
                  <a:p>
                    <a:fld id="{B676FDBC-A010-45D4-AD24-54B85E9169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26FB-4B52-8D72-D56D618E8EAF}"/>
                </c:ext>
              </c:extLst>
            </c:dLbl>
            <c:dLbl>
              <c:idx val="14"/>
              <c:tx>
                <c:rich>
                  <a:bodyPr/>
                  <a:lstStyle/>
                  <a:p>
                    <a:fld id="{82AB2802-3D7A-405C-AAD6-2223D22D38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26FB-4B52-8D72-D56D618E8EAF}"/>
                </c:ext>
              </c:extLst>
            </c:dLbl>
            <c:dLbl>
              <c:idx val="15"/>
              <c:tx>
                <c:rich>
                  <a:bodyPr/>
                  <a:lstStyle/>
                  <a:p>
                    <a:fld id="{514806EA-D7DA-4E35-9834-C1578ECF64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26FB-4B52-8D72-D56D618E8EAF}"/>
                </c:ext>
              </c:extLst>
            </c:dLbl>
            <c:dLbl>
              <c:idx val="16"/>
              <c:tx>
                <c:rich>
                  <a:bodyPr/>
                  <a:lstStyle/>
                  <a:p>
                    <a:fld id="{419A3445-40B1-4DAC-82B8-86F8329D8A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0A6E-4C83-9A06-9C3309B2855E}"/>
                </c:ext>
              </c:extLst>
            </c:dLbl>
            <c:dLbl>
              <c:idx val="17"/>
              <c:tx>
                <c:rich>
                  <a:bodyPr/>
                  <a:lstStyle/>
                  <a:p>
                    <a:fld id="{B32ED1F5-BD32-45A5-B469-96C5F90BEE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0A6E-4C83-9A06-9C3309B2855E}"/>
                </c:ext>
              </c:extLst>
            </c:dLbl>
            <c:dLbl>
              <c:idx val="18"/>
              <c:tx>
                <c:rich>
                  <a:bodyPr/>
                  <a:lstStyle/>
                  <a:p>
                    <a:fld id="{87949F61-44C5-4B49-8D66-E6F591BCCE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0A6E-4C83-9A06-9C3309B2855E}"/>
                </c:ext>
              </c:extLst>
            </c:dLbl>
            <c:dLbl>
              <c:idx val="19"/>
              <c:tx>
                <c:rich>
                  <a:bodyPr/>
                  <a:lstStyle/>
                  <a:p>
                    <a:fld id="{8B86FA7C-3ED2-48A5-A759-D84F7C9351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0A6E-4C83-9A06-9C3309B2855E}"/>
                </c:ext>
              </c:extLst>
            </c:dLbl>
            <c:dLbl>
              <c:idx val="20"/>
              <c:tx>
                <c:rich>
                  <a:bodyPr/>
                  <a:lstStyle/>
                  <a:p>
                    <a:fld id="{1614609A-67DC-40AB-9918-B64A4787CB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5AD-4BCF-9CB2-60EDA2D7DB42}"/>
                </c:ext>
              </c:extLst>
            </c:dLbl>
            <c:dLbl>
              <c:idx val="21"/>
              <c:tx>
                <c:rich>
                  <a:bodyPr/>
                  <a:lstStyle/>
                  <a:p>
                    <a:fld id="{57B0F152-EB88-4AD2-AF01-9BE53608D7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5AD-4BCF-9CB2-60EDA2D7DB42}"/>
                </c:ext>
              </c:extLst>
            </c:dLbl>
            <c:dLbl>
              <c:idx val="22"/>
              <c:tx>
                <c:rich>
                  <a:bodyPr/>
                  <a:lstStyle/>
                  <a:p>
                    <a:fld id="{FAA2130E-2973-4F04-ACAC-05DB68BF95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5AD-4BCF-9CB2-60EDA2D7DB42}"/>
                </c:ext>
              </c:extLst>
            </c:dLbl>
            <c:dLbl>
              <c:idx val="23"/>
              <c:tx>
                <c:rich>
                  <a:bodyPr/>
                  <a:lstStyle/>
                  <a:p>
                    <a:fld id="{8F9DA68E-279C-4CD7-8FE7-25EAFF42B9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5AD-4BCF-9CB2-60EDA2D7DB42}"/>
                </c:ext>
              </c:extLst>
            </c:dLbl>
            <c:dLbl>
              <c:idx val="24"/>
              <c:tx>
                <c:rich>
                  <a:bodyPr/>
                  <a:lstStyle/>
                  <a:p>
                    <a:fld id="{BBBB4C47-6A4D-4B3A-8EB2-262741C9CC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0A6E-4C83-9A06-9C3309B2855E}"/>
                </c:ext>
              </c:extLst>
            </c:dLbl>
            <c:dLbl>
              <c:idx val="25"/>
              <c:tx>
                <c:rich>
                  <a:bodyPr/>
                  <a:lstStyle/>
                  <a:p>
                    <a:fld id="{918B981A-28AF-467B-BAA0-FCACC76990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4D12-44DE-B956-CABCB15EBC04}"/>
                </c:ext>
              </c:extLst>
            </c:dLbl>
            <c:dLbl>
              <c:idx val="26"/>
              <c:tx>
                <c:rich>
                  <a:bodyPr/>
                  <a:lstStyle/>
                  <a:p>
                    <a:fld id="{C1B1FAAC-8F81-4FAF-BB43-B0BED17EA5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D12-44DE-B956-CABCB15EBC04}"/>
                </c:ext>
              </c:extLst>
            </c:dLbl>
            <c:dLbl>
              <c:idx val="27"/>
              <c:tx>
                <c:rich>
                  <a:bodyPr/>
                  <a:lstStyle/>
                  <a:p>
                    <a:fld id="{17A74738-2BE7-415A-A10A-2F7122E084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D12-44DE-B956-CABCB15EBC04}"/>
                </c:ext>
              </c:extLst>
            </c:dLbl>
            <c:dLbl>
              <c:idx val="28"/>
              <c:tx>
                <c:rich>
                  <a:bodyPr/>
                  <a:lstStyle/>
                  <a:p>
                    <a:fld id="{C8C81C8C-7B50-41FB-B07A-3C64DFFD80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D12-44DE-B956-CABCB15EBC04}"/>
                </c:ext>
              </c:extLst>
            </c:dLbl>
            <c:dLbl>
              <c:idx val="29"/>
              <c:tx>
                <c:rich>
                  <a:bodyPr/>
                  <a:lstStyle/>
                  <a:p>
                    <a:fld id="{27CE9AD8-16A4-48B5-86EB-DE18C7D131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8F47-486F-B734-6012CEA493B3}"/>
                </c:ext>
              </c:extLst>
            </c:dLbl>
            <c:dLbl>
              <c:idx val="30"/>
              <c:tx>
                <c:rich>
                  <a:bodyPr/>
                  <a:lstStyle/>
                  <a:p>
                    <a:fld id="{D184B396-B8B5-45DE-9721-DE696CEC60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D12-44DE-B956-CABCB15EBC04}"/>
                </c:ext>
              </c:extLst>
            </c:dLbl>
            <c:dLbl>
              <c:idx val="31"/>
              <c:tx>
                <c:rich>
                  <a:bodyPr/>
                  <a:lstStyle/>
                  <a:p>
                    <a:fld id="{8ED23B22-EC69-42C4-87A4-14BAC19892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D12-44DE-B956-CABCB15EBC04}"/>
                </c:ext>
              </c:extLst>
            </c:dLbl>
            <c:dLbl>
              <c:idx val="32"/>
              <c:tx>
                <c:rich>
                  <a:bodyPr/>
                  <a:lstStyle/>
                  <a:p>
                    <a:fld id="{0F358984-CACA-4820-B4B0-F5183AD2F7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D12-44DE-B956-CABCB15EBC04}"/>
                </c:ext>
              </c:extLst>
            </c:dLbl>
            <c:dLbl>
              <c:idx val="33"/>
              <c:tx>
                <c:rich>
                  <a:bodyPr/>
                  <a:lstStyle/>
                  <a:p>
                    <a:fld id="{933DCD6E-0BFA-4DA6-AE0F-D370D5A952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D12-44DE-B956-CABCB15EBC04}"/>
                </c:ext>
              </c:extLst>
            </c:dLbl>
            <c:dLbl>
              <c:idx val="34"/>
              <c:tx>
                <c:rich>
                  <a:bodyPr/>
                  <a:lstStyle/>
                  <a:p>
                    <a:fld id="{B8281A48-C0F8-4CF8-B0B4-0C9F79733B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D12-44DE-B956-CABCB15EBC04}"/>
                </c:ext>
              </c:extLst>
            </c:dLbl>
            <c:dLbl>
              <c:idx val="35"/>
              <c:tx>
                <c:rich>
                  <a:bodyPr/>
                  <a:lstStyle/>
                  <a:p>
                    <a:fld id="{7917C0D4-6EA0-4462-914E-5C253C0963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4D12-44DE-B956-CABCB15EBC04}"/>
                </c:ext>
              </c:extLst>
            </c:dLbl>
            <c:dLbl>
              <c:idx val="36"/>
              <c:tx>
                <c:rich>
                  <a:bodyPr/>
                  <a:lstStyle/>
                  <a:p>
                    <a:fld id="{62BCF5A8-A858-4CB0-8841-B3492AC0C3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4D12-44DE-B956-CABCB15EBC04}"/>
                </c:ext>
              </c:extLst>
            </c:dLbl>
            <c:dLbl>
              <c:idx val="37"/>
              <c:tx>
                <c:rich>
                  <a:bodyPr/>
                  <a:lstStyle/>
                  <a:p>
                    <a:fld id="{9EDB5DA0-FD7B-44AC-8E83-C30E7C900A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4D12-44DE-B956-CABCB15EBC04}"/>
                </c:ext>
              </c:extLst>
            </c:dLbl>
            <c:dLbl>
              <c:idx val="38"/>
              <c:tx>
                <c:rich>
                  <a:bodyPr/>
                  <a:lstStyle/>
                  <a:p>
                    <a:fld id="{3888A513-F024-4E28-997C-478BA799D1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4D12-44DE-B956-CABCB15EBC04}"/>
                </c:ext>
              </c:extLst>
            </c:dLbl>
            <c:dLbl>
              <c:idx val="39"/>
              <c:tx>
                <c:rich>
                  <a:bodyPr/>
                  <a:lstStyle/>
                  <a:p>
                    <a:fld id="{F64D3EF7-4E49-4767-B723-C4F2E8D844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4D12-44DE-B956-CABCB15EBC04}"/>
                </c:ext>
              </c:extLst>
            </c:dLbl>
            <c:dLbl>
              <c:idx val="40"/>
              <c:tx>
                <c:rich>
                  <a:bodyPr/>
                  <a:lstStyle/>
                  <a:p>
                    <a:fld id="{A0098DC3-7D8D-4E5E-B33A-FB6ECCFE9C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4D12-44DE-B956-CABCB15EBC04}"/>
                </c:ext>
              </c:extLst>
            </c:dLbl>
            <c:dLbl>
              <c:idx val="41"/>
              <c:tx>
                <c:rich>
                  <a:bodyPr/>
                  <a:lstStyle/>
                  <a:p>
                    <a:fld id="{33CBD847-0E0B-4084-B0D9-294F35B8CA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4D12-44DE-B956-CABCB15EBC04}"/>
                </c:ext>
              </c:extLst>
            </c:dLbl>
            <c:dLbl>
              <c:idx val="42"/>
              <c:tx>
                <c:rich>
                  <a:bodyPr/>
                  <a:lstStyle/>
                  <a:p>
                    <a:fld id="{978F8280-D449-42F8-98A6-C319CBBECC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4D12-44DE-B956-CABCB15EBC04}"/>
                </c:ext>
              </c:extLst>
            </c:dLbl>
            <c:dLbl>
              <c:idx val="43"/>
              <c:tx>
                <c:rich>
                  <a:bodyPr/>
                  <a:lstStyle/>
                  <a:p>
                    <a:fld id="{F5A9A71F-8063-485C-86F2-8413D9F3FB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4D12-44DE-B956-CABCB15EBC04}"/>
                </c:ext>
              </c:extLst>
            </c:dLbl>
            <c:dLbl>
              <c:idx val="44"/>
              <c:tx>
                <c:rich>
                  <a:bodyPr/>
                  <a:lstStyle/>
                  <a:p>
                    <a:fld id="{7474580D-FEE9-470C-A689-647679AFB3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4D12-44DE-B956-CABCB15EBC04}"/>
                </c:ext>
              </c:extLst>
            </c:dLbl>
            <c:dLbl>
              <c:idx val="45"/>
              <c:tx>
                <c:rich>
                  <a:bodyPr/>
                  <a:lstStyle/>
                  <a:p>
                    <a:fld id="{F7870E36-297F-4D28-A97F-54C68059DE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4D12-44DE-B956-CABCB15EBC04}"/>
                </c:ext>
              </c:extLst>
            </c:dLbl>
            <c:dLbl>
              <c:idx val="46"/>
              <c:tx>
                <c:rich>
                  <a:bodyPr/>
                  <a:lstStyle/>
                  <a:p>
                    <a:fld id="{E5440C0C-D3C1-4715-9AC3-09AEE468E6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4D12-44DE-B956-CABCB15EBC04}"/>
                </c:ext>
              </c:extLst>
            </c:dLbl>
            <c:dLbl>
              <c:idx val="47"/>
              <c:tx>
                <c:rich>
                  <a:bodyPr/>
                  <a:lstStyle/>
                  <a:p>
                    <a:fld id="{ED7AA5F0-47C3-45A5-A52B-BE8BE4ADD7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4D12-44DE-B956-CABCB15EBC04}"/>
                </c:ext>
              </c:extLst>
            </c:dLbl>
            <c:dLbl>
              <c:idx val="48"/>
              <c:tx>
                <c:rich>
                  <a:bodyPr/>
                  <a:lstStyle/>
                  <a:p>
                    <a:fld id="{F6F19D06-7770-4AF9-BF83-8E565BD2E1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4D12-44DE-B956-CABCB15EBC04}"/>
                </c:ext>
              </c:extLst>
            </c:dLbl>
            <c:dLbl>
              <c:idx val="49"/>
              <c:tx>
                <c:rich>
                  <a:bodyPr/>
                  <a:lstStyle/>
                  <a:p>
                    <a:fld id="{6D52D869-1D8B-40F6-A5DA-C3D1607719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4D12-44DE-B956-CABCB15EBC04}"/>
                </c:ext>
              </c:extLst>
            </c:dLbl>
            <c:dLbl>
              <c:idx val="50"/>
              <c:tx>
                <c:rich>
                  <a:bodyPr/>
                  <a:lstStyle/>
                  <a:p>
                    <a:fld id="{AC151934-D783-4DFA-BEDB-C3C552D000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4D12-44DE-B956-CABCB15EBC04}"/>
                </c:ext>
              </c:extLst>
            </c:dLbl>
            <c:dLbl>
              <c:idx val="51"/>
              <c:tx>
                <c:rich>
                  <a:bodyPr/>
                  <a:lstStyle/>
                  <a:p>
                    <a:fld id="{D3A2BD1F-EB50-4694-9367-B4DC70F9A3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4D12-44DE-B956-CABCB15EBC04}"/>
                </c:ext>
              </c:extLst>
            </c:dLbl>
            <c:dLbl>
              <c:idx val="52"/>
              <c:tx>
                <c:rich>
                  <a:bodyPr/>
                  <a:lstStyle/>
                  <a:p>
                    <a:fld id="{2B3E076C-6EE2-47F6-8C2A-93FE5518C9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4D12-44DE-B956-CABCB15EBC04}"/>
                </c:ext>
              </c:extLst>
            </c:dLbl>
            <c:dLbl>
              <c:idx val="53"/>
              <c:tx>
                <c:rich>
                  <a:bodyPr/>
                  <a:lstStyle/>
                  <a:p>
                    <a:fld id="{BE62FBA3-F6E8-4310-8CF2-A55C2AB4C5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4D12-44DE-B956-CABCB15EBC04}"/>
                </c:ext>
              </c:extLst>
            </c:dLbl>
            <c:dLbl>
              <c:idx val="54"/>
              <c:tx>
                <c:rich>
                  <a:bodyPr/>
                  <a:lstStyle/>
                  <a:p>
                    <a:fld id="{30D577E7-ABB6-427C-8286-0EE1FE958D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4D12-44DE-B956-CABCB15EBC04}"/>
                </c:ext>
              </c:extLst>
            </c:dLbl>
            <c:dLbl>
              <c:idx val="55"/>
              <c:tx>
                <c:rich>
                  <a:bodyPr/>
                  <a:lstStyle/>
                  <a:p>
                    <a:fld id="{13809627-61F3-4888-9254-0045E5301B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D12-44DE-B956-CABCB15EBC04}"/>
                </c:ext>
              </c:extLst>
            </c:dLbl>
            <c:dLbl>
              <c:idx val="56"/>
              <c:tx>
                <c:rich>
                  <a:bodyPr/>
                  <a:lstStyle/>
                  <a:p>
                    <a:fld id="{5455E29A-025E-4B03-806B-F80C73672D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8E3F-4D1B-A313-C02BEC0FDBD1}"/>
                </c:ext>
              </c:extLst>
            </c:dLbl>
            <c:dLbl>
              <c:idx val="57"/>
              <c:tx>
                <c:rich>
                  <a:bodyPr/>
                  <a:lstStyle/>
                  <a:p>
                    <a:fld id="{AB442679-5105-401A-8976-BC61952199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8E3F-4D1B-A313-C02BEC0FDBD1}"/>
                </c:ext>
              </c:extLst>
            </c:dLbl>
            <c:dLbl>
              <c:idx val="58"/>
              <c:tx>
                <c:rich>
                  <a:bodyPr/>
                  <a:lstStyle/>
                  <a:p>
                    <a:fld id="{9663A8EE-9FD7-4B1E-8529-743A90AF24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8E3F-4D1B-A313-C02BEC0FDBD1}"/>
                </c:ext>
              </c:extLst>
            </c:dLbl>
            <c:dLbl>
              <c:idx val="59"/>
              <c:tx>
                <c:rich>
                  <a:bodyPr/>
                  <a:lstStyle/>
                  <a:p>
                    <a:fld id="{F52AF331-4D91-4275-9543-5214229086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8E3F-4D1B-A313-C02BEC0FDBD1}"/>
                </c:ext>
              </c:extLst>
            </c:dLbl>
            <c:dLbl>
              <c:idx val="60"/>
              <c:tx>
                <c:rich>
                  <a:bodyPr/>
                  <a:lstStyle/>
                  <a:p>
                    <a:fld id="{78A997AB-7CA6-4638-A237-050A2C7EFB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8E3F-4D1B-A313-C02BEC0FDBD1}"/>
                </c:ext>
              </c:extLst>
            </c:dLbl>
            <c:dLbl>
              <c:idx val="61"/>
              <c:tx>
                <c:rich>
                  <a:bodyPr/>
                  <a:lstStyle/>
                  <a:p>
                    <a:fld id="{19B87539-5786-41AB-999A-41FF8C0CE8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8E3F-4D1B-A313-C02BEC0FDBD1}"/>
                </c:ext>
              </c:extLst>
            </c:dLbl>
            <c:dLbl>
              <c:idx val="62"/>
              <c:tx>
                <c:rich>
                  <a:bodyPr/>
                  <a:lstStyle/>
                  <a:p>
                    <a:fld id="{1A4BFB05-AF19-44A6-BF31-68C197EF0B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8E3F-4D1B-A313-C02BEC0FDBD1}"/>
                </c:ext>
              </c:extLst>
            </c:dLbl>
            <c:dLbl>
              <c:idx val="63"/>
              <c:tx>
                <c:rich>
                  <a:bodyPr/>
                  <a:lstStyle/>
                  <a:p>
                    <a:fld id="{2EE44A0B-FA30-4450-9229-D8979062D0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8E3F-4D1B-A313-C02BEC0FDBD1}"/>
                </c:ext>
              </c:extLst>
            </c:dLbl>
            <c:dLbl>
              <c:idx val="64"/>
              <c:tx>
                <c:rich>
                  <a:bodyPr/>
                  <a:lstStyle/>
                  <a:p>
                    <a:fld id="{05FC2F6A-1090-46EC-9012-7617B90159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8E3F-4D1B-A313-C02BEC0FDBD1}"/>
                </c:ext>
              </c:extLst>
            </c:dLbl>
            <c:dLbl>
              <c:idx val="65"/>
              <c:tx>
                <c:rich>
                  <a:bodyPr/>
                  <a:lstStyle/>
                  <a:p>
                    <a:fld id="{100395B5-9812-4429-8B4F-DC201C0220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8E3F-4D1B-A313-C02BEC0FDBD1}"/>
                </c:ext>
              </c:extLst>
            </c:dLbl>
            <c:dLbl>
              <c:idx val="66"/>
              <c:tx>
                <c:rich>
                  <a:bodyPr/>
                  <a:lstStyle/>
                  <a:p>
                    <a:fld id="{0CCE58BB-E508-4E58-A67E-E34894716E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8E3F-4D1B-A313-C02BEC0FDBD1}"/>
                </c:ext>
              </c:extLst>
            </c:dLbl>
            <c:dLbl>
              <c:idx val="67"/>
              <c:tx>
                <c:rich>
                  <a:bodyPr/>
                  <a:lstStyle/>
                  <a:p>
                    <a:fld id="{DB593B74-541B-46A4-A038-9EF3C7C3C1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8E3F-4D1B-A313-C02BEC0FDBD1}"/>
                </c:ext>
              </c:extLst>
            </c:dLbl>
            <c:dLbl>
              <c:idx val="68"/>
              <c:tx>
                <c:rich>
                  <a:bodyPr/>
                  <a:lstStyle/>
                  <a:p>
                    <a:fld id="{436A6B02-B80A-45EF-80DD-AF8661D615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8E3F-4D1B-A313-C02BEC0FDBD1}"/>
                </c:ext>
              </c:extLst>
            </c:dLbl>
            <c:dLbl>
              <c:idx val="69"/>
              <c:tx>
                <c:rich>
                  <a:bodyPr/>
                  <a:lstStyle/>
                  <a:p>
                    <a:fld id="{A652F3BD-46DF-42DB-A161-D438105C44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8E3F-4D1B-A313-C02BEC0FDBD1}"/>
                </c:ext>
              </c:extLst>
            </c:dLbl>
            <c:dLbl>
              <c:idx val="70"/>
              <c:tx>
                <c:rich>
                  <a:bodyPr/>
                  <a:lstStyle/>
                  <a:p>
                    <a:fld id="{1BF8E454-B802-4BB4-B3CE-E123B623A2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8E3F-4D1B-A313-C02BEC0FDBD1}"/>
                </c:ext>
              </c:extLst>
            </c:dLbl>
            <c:dLbl>
              <c:idx val="71"/>
              <c:tx>
                <c:rich>
                  <a:bodyPr/>
                  <a:lstStyle/>
                  <a:p>
                    <a:fld id="{2CA1EE68-5CBC-4AA6-91C3-5AB04BD857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8E3F-4D1B-A313-C02BEC0FDBD1}"/>
                </c:ext>
              </c:extLst>
            </c:dLbl>
            <c:dLbl>
              <c:idx val="72"/>
              <c:tx>
                <c:rich>
                  <a:bodyPr/>
                  <a:lstStyle/>
                  <a:p>
                    <a:fld id="{E4B8369B-796D-476F-A247-EE42BCF609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8E3F-4D1B-A313-C02BEC0FDBD1}"/>
                </c:ext>
              </c:extLst>
            </c:dLbl>
            <c:dLbl>
              <c:idx val="73"/>
              <c:tx>
                <c:rich>
                  <a:bodyPr/>
                  <a:lstStyle/>
                  <a:p>
                    <a:fld id="{7602E18C-E387-457A-A8EA-E61C9EF96A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8E3F-4D1B-A313-C02BEC0FDBD1}"/>
                </c:ext>
              </c:extLst>
            </c:dLbl>
            <c:dLbl>
              <c:idx val="74"/>
              <c:tx>
                <c:rich>
                  <a:bodyPr/>
                  <a:lstStyle/>
                  <a:p>
                    <a:fld id="{59B759B9-29AB-4F72-8806-DDBA9107EB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8E3F-4D1B-A313-C02BEC0FDBD1}"/>
                </c:ext>
              </c:extLst>
            </c:dLbl>
            <c:dLbl>
              <c:idx val="75"/>
              <c:tx>
                <c:rich>
                  <a:bodyPr/>
                  <a:lstStyle/>
                  <a:p>
                    <a:fld id="{49435AEC-8616-4D8B-B66B-06779DAFE3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8E3F-4D1B-A313-C02BEC0FDBD1}"/>
                </c:ext>
              </c:extLst>
            </c:dLbl>
            <c:dLbl>
              <c:idx val="76"/>
              <c:tx>
                <c:rich>
                  <a:bodyPr/>
                  <a:lstStyle/>
                  <a:p>
                    <a:fld id="{5F693D29-F171-44B1-85B9-33038333F6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8E3F-4D1B-A313-C02BEC0FDBD1}"/>
                </c:ext>
              </c:extLst>
            </c:dLbl>
            <c:dLbl>
              <c:idx val="77"/>
              <c:tx>
                <c:rich>
                  <a:bodyPr/>
                  <a:lstStyle/>
                  <a:p>
                    <a:fld id="{66601BC0-A76C-42E5-B05B-47543C5F68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8E3F-4D1B-A313-C02BEC0FDBD1}"/>
                </c:ext>
              </c:extLst>
            </c:dLbl>
            <c:dLbl>
              <c:idx val="78"/>
              <c:tx>
                <c:rich>
                  <a:bodyPr/>
                  <a:lstStyle/>
                  <a:p>
                    <a:fld id="{A6D1B3C4-7810-4872-8B80-F1407CB2A5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8E3F-4D1B-A313-C02BEC0FDBD1}"/>
                </c:ext>
              </c:extLst>
            </c:dLbl>
            <c:dLbl>
              <c:idx val="79"/>
              <c:tx>
                <c:rich>
                  <a:bodyPr/>
                  <a:lstStyle/>
                  <a:p>
                    <a:fld id="{FA9E0348-1CE5-45C3-A843-B0A1405970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8E3F-4D1B-A313-C02BEC0FDBD1}"/>
                </c:ext>
              </c:extLst>
            </c:dLbl>
            <c:dLbl>
              <c:idx val="80"/>
              <c:tx>
                <c:rich>
                  <a:bodyPr/>
                  <a:lstStyle/>
                  <a:p>
                    <a:fld id="{CE160176-91B7-48A5-B22C-32475E3C09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8E3F-4D1B-A313-C02BEC0FDBD1}"/>
                </c:ext>
              </c:extLst>
            </c:dLbl>
            <c:dLbl>
              <c:idx val="81"/>
              <c:tx>
                <c:rich>
                  <a:bodyPr/>
                  <a:lstStyle/>
                  <a:p>
                    <a:fld id="{BE66DD85-6004-4E99-B762-2D29728B52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9-8E3F-4D1B-A313-C02BEC0FDBD1}"/>
                </c:ext>
              </c:extLst>
            </c:dLbl>
            <c:dLbl>
              <c:idx val="82"/>
              <c:tx>
                <c:rich>
                  <a:bodyPr/>
                  <a:lstStyle/>
                  <a:p>
                    <a:fld id="{9CF3CB6A-D44E-4A50-9FA8-3C89D17E55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A-8E3F-4D1B-A313-C02BEC0FDBD1}"/>
                </c:ext>
              </c:extLst>
            </c:dLbl>
            <c:dLbl>
              <c:idx val="83"/>
              <c:tx>
                <c:rich>
                  <a:bodyPr/>
                  <a:lstStyle/>
                  <a:p>
                    <a:fld id="{DD04EE89-8648-44FE-A12C-A2EB1930D7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B-8E3F-4D1B-A313-C02BEC0FDBD1}"/>
                </c:ext>
              </c:extLst>
            </c:dLbl>
            <c:dLbl>
              <c:idx val="84"/>
              <c:tx>
                <c:rich>
                  <a:bodyPr/>
                  <a:lstStyle/>
                  <a:p>
                    <a:fld id="{05D96070-7D34-4804-A3A7-8BC0CA94CA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C-8E3F-4D1B-A313-C02BEC0FDBD1}"/>
                </c:ext>
              </c:extLst>
            </c:dLbl>
            <c:dLbl>
              <c:idx val="85"/>
              <c:tx>
                <c:rich>
                  <a:bodyPr/>
                  <a:lstStyle/>
                  <a:p>
                    <a:fld id="{92619CA0-8184-408F-82F1-9B7CA243E9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D-8E3F-4D1B-A313-C02BEC0FDBD1}"/>
                </c:ext>
              </c:extLst>
            </c:dLbl>
            <c:dLbl>
              <c:idx val="86"/>
              <c:tx>
                <c:rich>
                  <a:bodyPr/>
                  <a:lstStyle/>
                  <a:p>
                    <a:fld id="{3F1E7A5C-D962-4922-BC04-6A2617B781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E-8E3F-4D1B-A313-C02BEC0FDBD1}"/>
                </c:ext>
              </c:extLst>
            </c:dLbl>
            <c:dLbl>
              <c:idx val="87"/>
              <c:tx>
                <c:rich>
                  <a:bodyPr/>
                  <a:lstStyle/>
                  <a:p>
                    <a:fld id="{BBC8B43C-CC2A-402B-B936-9CAF4A8E43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F-8E3F-4D1B-A313-C02BEC0FDBD1}"/>
                </c:ext>
              </c:extLst>
            </c:dLbl>
            <c:dLbl>
              <c:idx val="88"/>
              <c:tx>
                <c:rich>
                  <a:bodyPr/>
                  <a:lstStyle/>
                  <a:p>
                    <a:fld id="{2121D2DF-993C-4B06-885F-2480B85F32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0-8E3F-4D1B-A313-C02BEC0FDBD1}"/>
                </c:ext>
              </c:extLst>
            </c:dLbl>
            <c:dLbl>
              <c:idx val="89"/>
              <c:tx>
                <c:rich>
                  <a:bodyPr/>
                  <a:lstStyle/>
                  <a:p>
                    <a:fld id="{3C62284E-A052-4684-9B9C-DE7177F2AC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1-8E3F-4D1B-A313-C02BEC0FDBD1}"/>
                </c:ext>
              </c:extLst>
            </c:dLbl>
            <c:dLbl>
              <c:idx val="90"/>
              <c:tx>
                <c:rich>
                  <a:bodyPr/>
                  <a:lstStyle/>
                  <a:p>
                    <a:fld id="{BFA13397-FF13-4274-9C63-97D73D0F96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2-8E3F-4D1B-A313-C02BEC0FDBD1}"/>
                </c:ext>
              </c:extLst>
            </c:dLbl>
            <c:dLbl>
              <c:idx val="91"/>
              <c:tx>
                <c:rich>
                  <a:bodyPr/>
                  <a:lstStyle/>
                  <a:p>
                    <a:fld id="{8580F27F-926C-4F9E-8840-FAA66DE9DD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3-8E3F-4D1B-A313-C02BEC0FDBD1}"/>
                </c:ext>
              </c:extLst>
            </c:dLbl>
            <c:dLbl>
              <c:idx val="92"/>
              <c:tx>
                <c:rich>
                  <a:bodyPr/>
                  <a:lstStyle/>
                  <a:p>
                    <a:fld id="{608D651C-8273-487C-B422-F37380B150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4-8E3F-4D1B-A313-C02BEC0FDBD1}"/>
                </c:ext>
              </c:extLst>
            </c:dLbl>
            <c:dLbl>
              <c:idx val="93"/>
              <c:tx>
                <c:rich>
                  <a:bodyPr/>
                  <a:lstStyle/>
                  <a:p>
                    <a:fld id="{3A90F007-4C90-4C80-9B3B-B42C3E6674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5-8E3F-4D1B-A313-C02BEC0FDBD1}"/>
                </c:ext>
              </c:extLst>
            </c:dLbl>
            <c:dLbl>
              <c:idx val="94"/>
              <c:tx>
                <c:rich>
                  <a:bodyPr/>
                  <a:lstStyle/>
                  <a:p>
                    <a:fld id="{1BCDC4C6-7780-475D-AAFB-ABFE9247A4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6-8E3F-4D1B-A313-C02BEC0FDBD1}"/>
                </c:ext>
              </c:extLst>
            </c:dLbl>
            <c:dLbl>
              <c:idx val="95"/>
              <c:tx>
                <c:rich>
                  <a:bodyPr/>
                  <a:lstStyle/>
                  <a:p>
                    <a:fld id="{BF0D0B09-56C3-4847-AB3B-01BD561EB1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7-8E3F-4D1B-A313-C02BEC0FDBD1}"/>
                </c:ext>
              </c:extLst>
            </c:dLbl>
            <c:dLbl>
              <c:idx val="96"/>
              <c:tx>
                <c:rich>
                  <a:bodyPr/>
                  <a:lstStyle/>
                  <a:p>
                    <a:fld id="{7B8EBBD8-D7BD-45FC-A85A-835F4424E1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8-8E3F-4D1B-A313-C02BEC0FDBD1}"/>
                </c:ext>
              </c:extLst>
            </c:dLbl>
            <c:dLbl>
              <c:idx val="97"/>
              <c:tx>
                <c:rich>
                  <a:bodyPr/>
                  <a:lstStyle/>
                  <a:p>
                    <a:fld id="{3439EA55-A5B4-42FC-A491-8A10378967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9-8E3F-4D1B-A313-C02BEC0FDBD1}"/>
                </c:ext>
              </c:extLst>
            </c:dLbl>
            <c:dLbl>
              <c:idx val="98"/>
              <c:tx>
                <c:rich>
                  <a:bodyPr/>
                  <a:lstStyle/>
                  <a:p>
                    <a:fld id="{76154445-D693-4E47-BD8C-EBF514E073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A-8E3F-4D1B-A313-C02BEC0FDBD1}"/>
                </c:ext>
              </c:extLst>
            </c:dLbl>
            <c:dLbl>
              <c:idx val="99"/>
              <c:tx>
                <c:rich>
                  <a:bodyPr/>
                  <a:lstStyle/>
                  <a:p>
                    <a:fld id="{54B3FAD7-BEA0-432D-AF29-383055E75A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B-8E3F-4D1B-A313-C02BEC0FDBD1}"/>
                </c:ext>
              </c:extLst>
            </c:dLbl>
            <c:dLbl>
              <c:idx val="100"/>
              <c:tx>
                <c:rich>
                  <a:bodyPr/>
                  <a:lstStyle/>
                  <a:p>
                    <a:fld id="{18618B51-0B90-4CC8-AD88-89B7747436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C-8E3F-4D1B-A313-C02BEC0FDBD1}"/>
                </c:ext>
              </c:extLst>
            </c:dLbl>
            <c:dLbl>
              <c:idx val="101"/>
              <c:tx>
                <c:rich>
                  <a:bodyPr/>
                  <a:lstStyle/>
                  <a:p>
                    <a:fld id="{B9ABFEAC-4B4B-4111-9D7F-0F03B717CE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D-8E3F-4D1B-A313-C02BEC0FDBD1}"/>
                </c:ext>
              </c:extLst>
            </c:dLbl>
            <c:dLbl>
              <c:idx val="102"/>
              <c:tx>
                <c:rich>
                  <a:bodyPr/>
                  <a:lstStyle/>
                  <a:p>
                    <a:fld id="{8ABA0B09-6A9A-4AA5-873E-2B2CE80984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E-8E3F-4D1B-A313-C02BEC0FDBD1}"/>
                </c:ext>
              </c:extLst>
            </c:dLbl>
            <c:dLbl>
              <c:idx val="103"/>
              <c:tx>
                <c:rich>
                  <a:bodyPr/>
                  <a:lstStyle/>
                  <a:p>
                    <a:fld id="{592B6B94-D283-4308-B751-05F81D2C2F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F-8E3F-4D1B-A313-C02BEC0FDBD1}"/>
                </c:ext>
              </c:extLst>
            </c:dLbl>
            <c:dLbl>
              <c:idx val="104"/>
              <c:tx>
                <c:rich>
                  <a:bodyPr/>
                  <a:lstStyle/>
                  <a:p>
                    <a:fld id="{C451F953-A4EC-4B7A-8FD7-61C17855D7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0-8E3F-4D1B-A313-C02BEC0FDBD1}"/>
                </c:ext>
              </c:extLst>
            </c:dLbl>
            <c:dLbl>
              <c:idx val="105"/>
              <c:tx>
                <c:rich>
                  <a:bodyPr/>
                  <a:lstStyle/>
                  <a:p>
                    <a:fld id="{2E02ABF7-D7D2-441F-9950-EE287D2D6C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1-8E3F-4D1B-A313-C02BEC0FDBD1}"/>
                </c:ext>
              </c:extLst>
            </c:dLbl>
            <c:dLbl>
              <c:idx val="106"/>
              <c:tx>
                <c:rich>
                  <a:bodyPr/>
                  <a:lstStyle/>
                  <a:p>
                    <a:fld id="{3F7845B6-F571-48E1-9EF3-C212473840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2-8E3F-4D1B-A313-C02BEC0FDBD1}"/>
                </c:ext>
              </c:extLst>
            </c:dLbl>
            <c:dLbl>
              <c:idx val="107"/>
              <c:tx>
                <c:rich>
                  <a:bodyPr/>
                  <a:lstStyle/>
                  <a:p>
                    <a:fld id="{63571D6A-FBAE-4D45-822B-3599CAD416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3-8E3F-4D1B-A313-C02BEC0FDBD1}"/>
                </c:ext>
              </c:extLst>
            </c:dLbl>
            <c:dLbl>
              <c:idx val="108"/>
              <c:tx>
                <c:rich>
                  <a:bodyPr/>
                  <a:lstStyle/>
                  <a:p>
                    <a:fld id="{64B63141-86AA-4915-8061-8258EAA377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4-8E3F-4D1B-A313-C02BEC0FDBD1}"/>
                </c:ext>
              </c:extLst>
            </c:dLbl>
            <c:dLbl>
              <c:idx val="109"/>
              <c:tx>
                <c:rich>
                  <a:bodyPr/>
                  <a:lstStyle/>
                  <a:p>
                    <a:fld id="{6E77FFB5-4ED2-4634-AB47-371E69533D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5-8E3F-4D1B-A313-C02BEC0FDBD1}"/>
                </c:ext>
              </c:extLst>
            </c:dLbl>
            <c:dLbl>
              <c:idx val="110"/>
              <c:tx>
                <c:rich>
                  <a:bodyPr/>
                  <a:lstStyle/>
                  <a:p>
                    <a:fld id="{F3B6C328-F0A5-49D2-A0C2-5031C8BD05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6-8E3F-4D1B-A313-C02BEC0FDBD1}"/>
                </c:ext>
              </c:extLst>
            </c:dLbl>
            <c:dLbl>
              <c:idx val="111"/>
              <c:tx>
                <c:rich>
                  <a:bodyPr/>
                  <a:lstStyle/>
                  <a:p>
                    <a:fld id="{BA9C241F-C0AA-43FD-A84F-56CFBB9306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7-8E3F-4D1B-A313-C02BEC0FDBD1}"/>
                </c:ext>
              </c:extLst>
            </c:dLbl>
            <c:dLbl>
              <c:idx val="112"/>
              <c:tx>
                <c:rich>
                  <a:bodyPr/>
                  <a:lstStyle/>
                  <a:p>
                    <a:fld id="{BCBD7899-CAB1-44C0-AA9A-2EB81F2254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8-8E3F-4D1B-A313-C02BEC0FDBD1}"/>
                </c:ext>
              </c:extLst>
            </c:dLbl>
            <c:dLbl>
              <c:idx val="113"/>
              <c:tx>
                <c:rich>
                  <a:bodyPr/>
                  <a:lstStyle/>
                  <a:p>
                    <a:fld id="{504E20D3-FC32-4AE9-9F6C-53BC7388D8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9-8E3F-4D1B-A313-C02BEC0FDBD1}"/>
                </c:ext>
              </c:extLst>
            </c:dLbl>
            <c:dLbl>
              <c:idx val="114"/>
              <c:tx>
                <c:rich>
                  <a:bodyPr/>
                  <a:lstStyle/>
                  <a:p>
                    <a:fld id="{BD99E721-5560-4B2C-91A4-43AFADF505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A-8E3F-4D1B-A313-C02BEC0FDBD1}"/>
                </c:ext>
              </c:extLst>
            </c:dLbl>
            <c:dLbl>
              <c:idx val="115"/>
              <c:tx>
                <c:rich>
                  <a:bodyPr/>
                  <a:lstStyle/>
                  <a:p>
                    <a:fld id="{6BA6E921-44BA-479B-8DC3-E54CF26704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B-8E3F-4D1B-A313-C02BEC0FDBD1}"/>
                </c:ext>
              </c:extLst>
            </c:dLbl>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8</c:f>
              <c:numCache>
                <c:formatCode>General</c:formatCode>
                <c:ptCount val="7"/>
                <c:pt idx="0">
                  <c:v>1</c:v>
                </c:pt>
                <c:pt idx="1">
                  <c:v>1</c:v>
                </c:pt>
                <c:pt idx="2">
                  <c:v>1</c:v>
                </c:pt>
                <c:pt idx="3">
                  <c:v>3</c:v>
                </c:pt>
                <c:pt idx="4">
                  <c:v>3</c:v>
                </c:pt>
                <c:pt idx="5">
                  <c:v>3</c:v>
                </c:pt>
                <c:pt idx="6">
                  <c:v>3</c:v>
                </c:pt>
              </c:numCache>
            </c:numRef>
          </c:xVal>
          <c:yVal>
            <c:numRef>
              <c:f>Sheet1!$B$2:$B$8</c:f>
              <c:numCache>
                <c:formatCode>General</c:formatCode>
                <c:ptCount val="7"/>
                <c:pt idx="0">
                  <c:v>0.25736915035471042</c:v>
                </c:pt>
                <c:pt idx="1">
                  <c:v>0.182909399479526</c:v>
                </c:pt>
                <c:pt idx="2">
                  <c:v>0.22309452807604779</c:v>
                </c:pt>
                <c:pt idx="3">
                  <c:v>-0.24608269235740049</c:v>
                </c:pt>
                <c:pt idx="4">
                  <c:v>2.1021046990951139E-2</c:v>
                </c:pt>
                <c:pt idx="5">
                  <c:v>7.0105657692061119E-2</c:v>
                </c:pt>
                <c:pt idx="6">
                  <c:v>0.18383767644502</c:v>
                </c:pt>
              </c:numCache>
            </c:numRef>
          </c:yVal>
          <c:bubbleSize>
            <c:numRef>
              <c:f>Sheet1!$C$2:$C$8</c:f>
              <c:numCache>
                <c:formatCode>General</c:formatCode>
                <c:ptCount val="7"/>
                <c:pt idx="0">
                  <c:v>9868379</c:v>
                </c:pt>
                <c:pt idx="1">
                  <c:v>382455</c:v>
                </c:pt>
                <c:pt idx="2">
                  <c:v>6252872</c:v>
                </c:pt>
                <c:pt idx="3">
                  <c:v>355493</c:v>
                </c:pt>
                <c:pt idx="4">
                  <c:v>1716108</c:v>
                </c:pt>
                <c:pt idx="5">
                  <c:v>1141177</c:v>
                </c:pt>
                <c:pt idx="6">
                  <c:v>2238318</c:v>
                </c:pt>
              </c:numCache>
            </c:numRef>
          </c:bubbleSize>
          <c:bubble3D val="0"/>
          <c:extLst>
            <c:ext xmlns:c15="http://schemas.microsoft.com/office/drawing/2012/chart" uri="{02D57815-91ED-43cb-92C2-25804820EDAC}">
              <c15:datalabelsRange>
                <c15:f>Sheet1!$E$2:$E$150</c15:f>
                <c15:dlblRangeCache>
                  <c:ptCount val="149"/>
                  <c:pt idx="0">
                    <c:v>Gillette</c:v>
                  </c:pt>
                  <c:pt idx="1">
                    <c:v>Bic</c:v>
                  </c:pt>
                  <c:pt idx="2">
                    <c:v>Schick</c:v>
                  </c:pt>
                  <c:pt idx="3">
                    <c:v>Gillette</c:v>
                  </c:pt>
                  <c:pt idx="4">
                    <c:v>Bic</c:v>
                  </c:pt>
                  <c:pt idx="5">
                    <c:v>Equate</c:v>
                  </c:pt>
                  <c:pt idx="6">
                    <c:v>Schick</c:v>
                  </c:pt>
                </c15:dlblRangeCache>
              </c15:datalabelsRange>
            </c:ext>
            <c:ext xmlns:c16="http://schemas.microsoft.com/office/drawing/2014/chart" uri="{C3380CC4-5D6E-409C-BE32-E72D297353CC}">
              <c16:uniqueId val="{00000026-26FB-4B52-8D72-D56D618E8EAF}"/>
            </c:ext>
          </c:extLst>
        </c:ser>
        <c:dLbls>
          <c:dLblPos val="ctr"/>
          <c:showLegendKey val="0"/>
          <c:showVal val="1"/>
          <c:showCatName val="0"/>
          <c:showSerName val="0"/>
          <c:showPercent val="0"/>
          <c:showBubbleSize val="0"/>
        </c:dLbls>
        <c:bubbleScale val="75"/>
        <c:showNegBubbles val="0"/>
        <c:axId val="804121775"/>
        <c:axId val="804116783"/>
      </c:bubbleChart>
      <c:valAx>
        <c:axId val="804121775"/>
        <c:scaling>
          <c:orientation val="minMax"/>
          <c:max val="4"/>
          <c:min val="0"/>
        </c:scaling>
        <c:delete val="0"/>
        <c:axPos val="b"/>
        <c:numFmt formatCode="0%" sourceLinked="0"/>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16783"/>
        <c:crosses val="autoZero"/>
        <c:crossBetween val="midCat"/>
        <c:minorUnit val="0.1"/>
      </c:valAx>
      <c:valAx>
        <c:axId val="804116783"/>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en-US" sz="800" dirty="0">
                    <a:solidFill>
                      <a:schemeClr val="tx1"/>
                    </a:solidFill>
                    <a:latin typeface="Nexa Bold" panose="00000800000000000000" pitchFamily="2" charset="0"/>
                  </a:rPr>
                  <a:t>Averag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Valu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uplift</a:t>
                </a:r>
                <a:endParaRPr lang="en-CH" sz="800" dirty="0">
                  <a:solidFill>
                    <a:schemeClr val="tx1"/>
                  </a:solidFill>
                  <a:latin typeface="Nexa Bold" panose="00000800000000000000" pitchFamily="2" charset="0"/>
                </a:endParaRPr>
              </a:p>
            </c:rich>
          </c:tx>
          <c:layout>
            <c:manualLayout>
              <c:xMode val="edge"/>
              <c:yMode val="edge"/>
              <c:x val="2.0811111111111117E-3"/>
              <c:y val="0.10078557265656676"/>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CH"/>
            </a:p>
          </c:txPr>
        </c:title>
        <c:numFmt formatCode="0%" sourceLinked="0"/>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21775"/>
        <c:crosses val="autoZero"/>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64864197530864"/>
          <c:y val="0.12152940918360107"/>
          <c:w val="0.83974691358024689"/>
          <c:h val="0.72254306602702423"/>
        </c:manualLayout>
      </c:layout>
      <c:bubbleChart>
        <c:varyColors val="0"/>
        <c:ser>
          <c:idx val="0"/>
          <c:order val="0"/>
          <c:tx>
            <c:strRef>
              <c:f>Sheet1!$B$1</c:f>
              <c:strCache>
                <c:ptCount val="1"/>
                <c:pt idx="0">
                  <c:v>Average Value Uplift</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26FB-4B52-8D72-D56D618E8EAF}"/>
              </c:ext>
            </c:extLst>
          </c:dPt>
          <c:dPt>
            <c:idx val="1"/>
            <c:invertIfNegative val="0"/>
            <c:bubble3D val="0"/>
            <c:spPr>
              <a:solidFill>
                <a:srgbClr val="7ECAC4"/>
              </a:solidFill>
              <a:ln>
                <a:noFill/>
              </a:ln>
              <a:effectLst/>
            </c:spPr>
            <c:extLst>
              <c:ext xmlns:c16="http://schemas.microsoft.com/office/drawing/2014/chart" uri="{C3380CC4-5D6E-409C-BE32-E72D297353CC}">
                <c16:uniqueId val="{00000003-26FB-4B52-8D72-D56D618E8EAF}"/>
              </c:ext>
            </c:extLst>
          </c:dPt>
          <c:dPt>
            <c:idx val="2"/>
            <c:invertIfNegative val="0"/>
            <c:bubble3D val="0"/>
            <c:spPr>
              <a:solidFill>
                <a:srgbClr val="E6E5E5"/>
              </a:solidFill>
              <a:ln>
                <a:noFill/>
              </a:ln>
              <a:effectLst/>
            </c:spPr>
            <c:extLst>
              <c:ext xmlns:c16="http://schemas.microsoft.com/office/drawing/2014/chart" uri="{C3380CC4-5D6E-409C-BE32-E72D297353CC}">
                <c16:uniqueId val="{00000005-26FB-4B52-8D72-D56D618E8EAF}"/>
              </c:ext>
            </c:extLst>
          </c:dPt>
          <c:dPt>
            <c:idx val="3"/>
            <c:invertIfNegative val="0"/>
            <c:bubble3D val="0"/>
            <c:spPr>
              <a:solidFill>
                <a:srgbClr val="E6E5E5"/>
              </a:solidFill>
              <a:ln>
                <a:noFill/>
              </a:ln>
              <a:effectLst/>
            </c:spPr>
            <c:extLst>
              <c:ext xmlns:c16="http://schemas.microsoft.com/office/drawing/2014/chart" uri="{C3380CC4-5D6E-409C-BE32-E72D297353CC}">
                <c16:uniqueId val="{00000007-26FB-4B52-8D72-D56D618E8EAF}"/>
              </c:ext>
            </c:extLst>
          </c:dPt>
          <c:dPt>
            <c:idx val="4"/>
            <c:invertIfNegative val="0"/>
            <c:bubble3D val="0"/>
            <c:spPr>
              <a:solidFill>
                <a:srgbClr val="E6E5E5"/>
              </a:solidFill>
              <a:ln>
                <a:noFill/>
              </a:ln>
              <a:effectLst/>
            </c:spPr>
            <c:extLst>
              <c:ext xmlns:c16="http://schemas.microsoft.com/office/drawing/2014/chart" uri="{C3380CC4-5D6E-409C-BE32-E72D297353CC}">
                <c16:uniqueId val="{00000009-26FB-4B52-8D72-D56D618E8EAF}"/>
              </c:ext>
            </c:extLst>
          </c:dPt>
          <c:dPt>
            <c:idx val="5"/>
            <c:invertIfNegative val="0"/>
            <c:bubble3D val="0"/>
            <c:spPr>
              <a:solidFill>
                <a:srgbClr val="7ECAC4"/>
              </a:solidFill>
              <a:ln>
                <a:noFill/>
              </a:ln>
              <a:effectLst/>
            </c:spPr>
            <c:extLst>
              <c:ext xmlns:c16="http://schemas.microsoft.com/office/drawing/2014/chart" uri="{C3380CC4-5D6E-409C-BE32-E72D297353CC}">
                <c16:uniqueId val="{0000000B-26FB-4B52-8D72-D56D618E8EAF}"/>
              </c:ext>
            </c:extLst>
          </c:dPt>
          <c:dPt>
            <c:idx val="6"/>
            <c:invertIfNegative val="0"/>
            <c:bubble3D val="0"/>
            <c:spPr>
              <a:solidFill>
                <a:srgbClr val="7ECAC4"/>
              </a:solidFill>
              <a:ln>
                <a:noFill/>
              </a:ln>
              <a:effectLst/>
            </c:spPr>
            <c:extLst>
              <c:ext xmlns:c16="http://schemas.microsoft.com/office/drawing/2014/chart" uri="{C3380CC4-5D6E-409C-BE32-E72D297353CC}">
                <c16:uniqueId val="{0000000D-26FB-4B52-8D72-D56D618E8EAF}"/>
              </c:ext>
            </c:extLst>
          </c:dPt>
          <c:dPt>
            <c:idx val="7"/>
            <c:invertIfNegative val="0"/>
            <c:bubble3D val="0"/>
            <c:spPr>
              <a:solidFill>
                <a:schemeClr val="bg2"/>
              </a:solidFill>
              <a:ln>
                <a:noFill/>
              </a:ln>
              <a:effectLst/>
            </c:spPr>
            <c:extLst>
              <c:ext xmlns:c16="http://schemas.microsoft.com/office/drawing/2014/chart" uri="{C3380CC4-5D6E-409C-BE32-E72D297353CC}">
                <c16:uniqueId val="{0000000F-26FB-4B52-8D72-D56D618E8EAF}"/>
              </c:ext>
            </c:extLst>
          </c:dPt>
          <c:dPt>
            <c:idx val="8"/>
            <c:invertIfNegative val="0"/>
            <c:bubble3D val="0"/>
            <c:spPr>
              <a:solidFill>
                <a:schemeClr val="bg2"/>
              </a:solidFill>
              <a:ln>
                <a:noFill/>
              </a:ln>
              <a:effectLst/>
            </c:spPr>
            <c:extLst>
              <c:ext xmlns:c16="http://schemas.microsoft.com/office/drawing/2014/chart" uri="{C3380CC4-5D6E-409C-BE32-E72D297353CC}">
                <c16:uniqueId val="{00000011-26FB-4B52-8D72-D56D618E8EAF}"/>
              </c:ext>
            </c:extLst>
          </c:dPt>
          <c:dPt>
            <c:idx val="11"/>
            <c:invertIfNegative val="0"/>
            <c:bubble3D val="0"/>
            <c:spPr>
              <a:solidFill>
                <a:schemeClr val="bg2"/>
              </a:solidFill>
              <a:ln>
                <a:noFill/>
              </a:ln>
              <a:effectLst/>
            </c:spPr>
            <c:extLst>
              <c:ext xmlns:c16="http://schemas.microsoft.com/office/drawing/2014/chart" uri="{C3380CC4-5D6E-409C-BE32-E72D297353CC}">
                <c16:uniqueId val="{00000013-26FB-4B52-8D72-D56D618E8EAF}"/>
              </c:ext>
            </c:extLst>
          </c:dPt>
          <c:dPt>
            <c:idx val="12"/>
            <c:invertIfNegative val="0"/>
            <c:bubble3D val="0"/>
            <c:spPr>
              <a:solidFill>
                <a:schemeClr val="bg2"/>
              </a:solidFill>
              <a:ln>
                <a:noFill/>
              </a:ln>
              <a:effectLst/>
            </c:spPr>
            <c:extLst>
              <c:ext xmlns:c16="http://schemas.microsoft.com/office/drawing/2014/chart" uri="{C3380CC4-5D6E-409C-BE32-E72D297353CC}">
                <c16:uniqueId val="{00000002-7B2D-4A32-96D2-9C641BCDE5CC}"/>
              </c:ext>
            </c:extLst>
          </c:dPt>
          <c:dPt>
            <c:idx val="13"/>
            <c:invertIfNegative val="0"/>
            <c:bubble3D val="0"/>
            <c:extLst>
              <c:ext xmlns:c16="http://schemas.microsoft.com/office/drawing/2014/chart" uri="{C3380CC4-5D6E-409C-BE32-E72D297353CC}">
                <c16:uniqueId val="{00000017-26FB-4B52-8D72-D56D618E8EAF}"/>
              </c:ext>
            </c:extLst>
          </c:dPt>
          <c:dPt>
            <c:idx val="14"/>
            <c:invertIfNegative val="0"/>
            <c:bubble3D val="0"/>
            <c:spPr>
              <a:solidFill>
                <a:schemeClr val="bg2"/>
              </a:solidFill>
              <a:ln>
                <a:noFill/>
              </a:ln>
              <a:effectLst/>
            </c:spPr>
            <c:extLst>
              <c:ext xmlns:c16="http://schemas.microsoft.com/office/drawing/2014/chart" uri="{C3380CC4-5D6E-409C-BE32-E72D297353CC}">
                <c16:uniqueId val="{00000019-26FB-4B52-8D72-D56D618E8EAF}"/>
              </c:ext>
            </c:extLst>
          </c:dPt>
          <c:dPt>
            <c:idx val="15"/>
            <c:invertIfNegative val="0"/>
            <c:bubble3D val="0"/>
            <c:extLst>
              <c:ext xmlns:c16="http://schemas.microsoft.com/office/drawing/2014/chart" uri="{C3380CC4-5D6E-409C-BE32-E72D297353CC}">
                <c16:uniqueId val="{0000001C-26FB-4B52-8D72-D56D618E8EAF}"/>
              </c:ext>
            </c:extLst>
          </c:dPt>
          <c:dPt>
            <c:idx val="19"/>
            <c:invertIfNegative val="0"/>
            <c:bubble3D val="0"/>
            <c:spPr>
              <a:solidFill>
                <a:srgbClr val="7ECAC4"/>
              </a:solidFill>
              <a:ln>
                <a:noFill/>
              </a:ln>
              <a:effectLst/>
            </c:spPr>
            <c:extLst>
              <c:ext xmlns:c16="http://schemas.microsoft.com/office/drawing/2014/chart" uri="{C3380CC4-5D6E-409C-BE32-E72D297353CC}">
                <c16:uniqueId val="{00000002-0A6E-4C83-9A06-9C3309B2855E}"/>
              </c:ext>
            </c:extLst>
          </c:dPt>
          <c:dPt>
            <c:idx val="24"/>
            <c:invertIfNegative val="0"/>
            <c:bubble3D val="0"/>
            <c:spPr>
              <a:solidFill>
                <a:schemeClr val="bg2"/>
              </a:solidFill>
              <a:ln>
                <a:noFill/>
              </a:ln>
              <a:effectLst/>
            </c:spPr>
            <c:extLst>
              <c:ext xmlns:c16="http://schemas.microsoft.com/office/drawing/2014/chart" uri="{C3380CC4-5D6E-409C-BE32-E72D297353CC}">
                <c16:uniqueId val="{00000005-0A6E-4C83-9A06-9C3309B2855E}"/>
              </c:ext>
            </c:extLst>
          </c:dPt>
          <c:dPt>
            <c:idx val="29"/>
            <c:invertIfNegative val="0"/>
            <c:bubble3D val="0"/>
            <c:extLst>
              <c:ext xmlns:c16="http://schemas.microsoft.com/office/drawing/2014/chart" uri="{C3380CC4-5D6E-409C-BE32-E72D297353CC}">
                <c16:uniqueId val="{00000003-8F47-486F-B734-6012CEA493B3}"/>
              </c:ext>
            </c:extLst>
          </c:dPt>
          <c:dPt>
            <c:idx val="31"/>
            <c:invertIfNegative val="0"/>
            <c:bubble3D val="0"/>
            <c:spPr>
              <a:solidFill>
                <a:schemeClr val="accent2"/>
              </a:solidFill>
              <a:ln>
                <a:noFill/>
              </a:ln>
              <a:effectLst/>
            </c:spPr>
            <c:extLst>
              <c:ext xmlns:c16="http://schemas.microsoft.com/office/drawing/2014/chart" uri="{C3380CC4-5D6E-409C-BE32-E72D297353CC}">
                <c16:uniqueId val="{00000000-4D12-44DE-B956-CABCB15EBC04}"/>
              </c:ext>
            </c:extLst>
          </c:dPt>
          <c:dPt>
            <c:idx val="33"/>
            <c:invertIfNegative val="0"/>
            <c:bubble3D val="0"/>
            <c:spPr>
              <a:solidFill>
                <a:schemeClr val="accent2"/>
              </a:solidFill>
              <a:ln>
                <a:noFill/>
              </a:ln>
              <a:effectLst/>
            </c:spPr>
            <c:extLst>
              <c:ext xmlns:c16="http://schemas.microsoft.com/office/drawing/2014/chart" uri="{C3380CC4-5D6E-409C-BE32-E72D297353CC}">
                <c16:uniqueId val="{00000001-4D12-44DE-B956-CABCB15EBC04}"/>
              </c:ext>
            </c:extLst>
          </c:dPt>
          <c:dLbls>
            <c:dLbl>
              <c:idx val="0"/>
              <c:tx>
                <c:rich>
                  <a:bodyPr/>
                  <a:lstStyle/>
                  <a:p>
                    <a:fld id="{C946710C-FB60-4964-AB49-BB4C41A86F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FB-4B52-8D72-D56D618E8EAF}"/>
                </c:ext>
              </c:extLst>
            </c:dLbl>
            <c:dLbl>
              <c:idx val="1"/>
              <c:tx>
                <c:rich>
                  <a:bodyPr/>
                  <a:lstStyle/>
                  <a:p>
                    <a:fld id="{06784384-1F85-438D-92D5-07A6C50178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FB-4B52-8D72-D56D618E8EAF}"/>
                </c:ext>
              </c:extLst>
            </c:dLbl>
            <c:dLbl>
              <c:idx val="2"/>
              <c:tx>
                <c:rich>
                  <a:bodyPr/>
                  <a:lstStyle/>
                  <a:p>
                    <a:fld id="{C8AC80BA-96D7-4A34-AE00-A849BF01CC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26FB-4B52-8D72-D56D618E8EAF}"/>
                </c:ext>
              </c:extLst>
            </c:dLbl>
            <c:dLbl>
              <c:idx val="3"/>
              <c:tx>
                <c:rich>
                  <a:bodyPr/>
                  <a:lstStyle/>
                  <a:p>
                    <a:fld id="{556FFFFA-E99F-4675-9184-754392BA47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FB-4B52-8D72-D56D618E8EAF}"/>
                </c:ext>
              </c:extLst>
            </c:dLbl>
            <c:dLbl>
              <c:idx val="4"/>
              <c:tx>
                <c:rich>
                  <a:bodyPr/>
                  <a:lstStyle/>
                  <a:p>
                    <a:fld id="{F9FCC290-F2F6-4C1C-9A0A-BBDE2098C4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FB-4B52-8D72-D56D618E8EAF}"/>
                </c:ext>
              </c:extLst>
            </c:dLbl>
            <c:dLbl>
              <c:idx val="5"/>
              <c:tx>
                <c:rich>
                  <a:bodyPr/>
                  <a:lstStyle/>
                  <a:p>
                    <a:fld id="{2FA45BD4-4A98-4569-9894-2CA2F03810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26FB-4B52-8D72-D56D618E8EAF}"/>
                </c:ext>
              </c:extLst>
            </c:dLbl>
            <c:dLbl>
              <c:idx val="6"/>
              <c:tx>
                <c:rich>
                  <a:bodyPr/>
                  <a:lstStyle/>
                  <a:p>
                    <a:fld id="{0EFC6644-1B4A-4604-BD89-B3E97B8A86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26FB-4B52-8D72-D56D618E8EAF}"/>
                </c:ext>
              </c:extLst>
            </c:dLbl>
            <c:dLbl>
              <c:idx val="7"/>
              <c:tx>
                <c:rich>
                  <a:bodyPr/>
                  <a:lstStyle/>
                  <a:p>
                    <a:fld id="{6161CE70-CDBD-48B8-ABFD-55A160873E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26FB-4B52-8D72-D56D618E8EAF}"/>
                </c:ext>
              </c:extLst>
            </c:dLbl>
            <c:dLbl>
              <c:idx val="8"/>
              <c:tx>
                <c:rich>
                  <a:bodyPr/>
                  <a:lstStyle/>
                  <a:p>
                    <a:fld id="{FB4E9C1E-4F7F-4F5D-9CED-17C99D5E3C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26FB-4B52-8D72-D56D618E8EAF}"/>
                </c:ext>
              </c:extLst>
            </c:dLbl>
            <c:dLbl>
              <c:idx val="9"/>
              <c:tx>
                <c:rich>
                  <a:bodyPr/>
                  <a:lstStyle/>
                  <a:p>
                    <a:fld id="{869A40C8-91C6-434B-8558-E3DA0C5BFA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B2D-4A32-96D2-9C641BCDE5CC}"/>
                </c:ext>
              </c:extLst>
            </c:dLbl>
            <c:dLbl>
              <c:idx val="10"/>
              <c:tx>
                <c:rich>
                  <a:bodyPr/>
                  <a:lstStyle/>
                  <a:p>
                    <a:fld id="{1B97C337-369F-4AA3-9E7D-19A07A8F5F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7B2D-4A32-96D2-9C641BCDE5CC}"/>
                </c:ext>
              </c:extLst>
            </c:dLbl>
            <c:dLbl>
              <c:idx val="11"/>
              <c:tx>
                <c:rich>
                  <a:bodyPr/>
                  <a:lstStyle/>
                  <a:p>
                    <a:fld id="{1E0F8F64-F15C-433B-8B5F-4F5EE503CF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26FB-4B52-8D72-D56D618E8EAF}"/>
                </c:ext>
              </c:extLst>
            </c:dLbl>
            <c:dLbl>
              <c:idx val="12"/>
              <c:tx>
                <c:rich>
                  <a:bodyPr/>
                  <a:lstStyle/>
                  <a:p>
                    <a:fld id="{7039CF45-32BE-4190-AD6A-E00DC424CF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7B2D-4A32-96D2-9C641BCDE5CC}"/>
                </c:ext>
              </c:extLst>
            </c:dLbl>
            <c:dLbl>
              <c:idx val="13"/>
              <c:tx>
                <c:rich>
                  <a:bodyPr/>
                  <a:lstStyle/>
                  <a:p>
                    <a:fld id="{899A56A1-7B83-4219-A01E-073A065C75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26FB-4B52-8D72-D56D618E8EAF}"/>
                </c:ext>
              </c:extLst>
            </c:dLbl>
            <c:dLbl>
              <c:idx val="14"/>
              <c:tx>
                <c:rich>
                  <a:bodyPr/>
                  <a:lstStyle/>
                  <a:p>
                    <a:fld id="{AE5F3075-A361-45C6-A610-8BAE4AB302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26FB-4B52-8D72-D56D618E8EAF}"/>
                </c:ext>
              </c:extLst>
            </c:dLbl>
            <c:dLbl>
              <c:idx val="15"/>
              <c:tx>
                <c:rich>
                  <a:bodyPr/>
                  <a:lstStyle/>
                  <a:p>
                    <a:fld id="{4EA54375-9F08-403E-8180-88A6CFCE68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26FB-4B52-8D72-D56D618E8EAF}"/>
                </c:ext>
              </c:extLst>
            </c:dLbl>
            <c:dLbl>
              <c:idx val="16"/>
              <c:tx>
                <c:rich>
                  <a:bodyPr/>
                  <a:lstStyle/>
                  <a:p>
                    <a:fld id="{B0FF1179-8A72-432C-832C-8D2E3EF66E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0A6E-4C83-9A06-9C3309B2855E}"/>
                </c:ext>
              </c:extLst>
            </c:dLbl>
            <c:dLbl>
              <c:idx val="17"/>
              <c:tx>
                <c:rich>
                  <a:bodyPr/>
                  <a:lstStyle/>
                  <a:p>
                    <a:fld id="{8050F56F-28F0-4873-9AFB-B839CDE2A5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0A6E-4C83-9A06-9C3309B2855E}"/>
                </c:ext>
              </c:extLst>
            </c:dLbl>
            <c:dLbl>
              <c:idx val="18"/>
              <c:tx>
                <c:rich>
                  <a:bodyPr/>
                  <a:lstStyle/>
                  <a:p>
                    <a:fld id="{C82E1BE3-CFCE-4895-A9E2-0F8ACD944B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0A6E-4C83-9A06-9C3309B2855E}"/>
                </c:ext>
              </c:extLst>
            </c:dLbl>
            <c:dLbl>
              <c:idx val="19"/>
              <c:tx>
                <c:rich>
                  <a:bodyPr/>
                  <a:lstStyle/>
                  <a:p>
                    <a:fld id="{4DF8CCD8-7F7F-4345-802C-1A68636E6C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0A6E-4C83-9A06-9C3309B2855E}"/>
                </c:ext>
              </c:extLst>
            </c:dLbl>
            <c:dLbl>
              <c:idx val="20"/>
              <c:tx>
                <c:rich>
                  <a:bodyPr/>
                  <a:lstStyle/>
                  <a:p>
                    <a:fld id="{656F4002-02C0-4A17-96BF-A6F69B8E63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5AD-4BCF-9CB2-60EDA2D7DB42}"/>
                </c:ext>
              </c:extLst>
            </c:dLbl>
            <c:dLbl>
              <c:idx val="21"/>
              <c:tx>
                <c:rich>
                  <a:bodyPr/>
                  <a:lstStyle/>
                  <a:p>
                    <a:fld id="{742C1C28-E5D2-4414-972A-E22D950949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5AD-4BCF-9CB2-60EDA2D7DB42}"/>
                </c:ext>
              </c:extLst>
            </c:dLbl>
            <c:dLbl>
              <c:idx val="22"/>
              <c:tx>
                <c:rich>
                  <a:bodyPr/>
                  <a:lstStyle/>
                  <a:p>
                    <a:fld id="{BDCE0678-B993-40B8-B89C-793748D73E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5AD-4BCF-9CB2-60EDA2D7DB42}"/>
                </c:ext>
              </c:extLst>
            </c:dLbl>
            <c:dLbl>
              <c:idx val="23"/>
              <c:tx>
                <c:rich>
                  <a:bodyPr/>
                  <a:lstStyle/>
                  <a:p>
                    <a:fld id="{CB5C6B4F-7996-4610-8C2D-C02CADDE2E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5AD-4BCF-9CB2-60EDA2D7DB42}"/>
                </c:ext>
              </c:extLst>
            </c:dLbl>
            <c:dLbl>
              <c:idx val="24"/>
              <c:tx>
                <c:rich>
                  <a:bodyPr/>
                  <a:lstStyle/>
                  <a:p>
                    <a:fld id="{4E7A73E6-4194-453E-8C84-7795212481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0A6E-4C83-9A06-9C3309B2855E}"/>
                </c:ext>
              </c:extLst>
            </c:dLbl>
            <c:dLbl>
              <c:idx val="25"/>
              <c:tx>
                <c:rich>
                  <a:bodyPr/>
                  <a:lstStyle/>
                  <a:p>
                    <a:fld id="{59DE0BF6-A2C5-4D23-B7E7-BE48A19BB1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4D12-44DE-B956-CABCB15EBC04}"/>
                </c:ext>
              </c:extLst>
            </c:dLbl>
            <c:dLbl>
              <c:idx val="26"/>
              <c:tx>
                <c:rich>
                  <a:bodyPr/>
                  <a:lstStyle/>
                  <a:p>
                    <a:fld id="{0F0279E3-6A4D-46B1-93B5-865394ED72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D12-44DE-B956-CABCB15EBC04}"/>
                </c:ext>
              </c:extLst>
            </c:dLbl>
            <c:dLbl>
              <c:idx val="27"/>
              <c:tx>
                <c:rich>
                  <a:bodyPr/>
                  <a:lstStyle/>
                  <a:p>
                    <a:fld id="{814F3EA4-4B33-4691-94B7-4D2108641F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D12-44DE-B956-CABCB15EBC04}"/>
                </c:ext>
              </c:extLst>
            </c:dLbl>
            <c:dLbl>
              <c:idx val="28"/>
              <c:tx>
                <c:rich>
                  <a:bodyPr/>
                  <a:lstStyle/>
                  <a:p>
                    <a:fld id="{E903F27B-6A16-43C0-94AD-6DA2BA17BD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D12-44DE-B956-CABCB15EBC04}"/>
                </c:ext>
              </c:extLst>
            </c:dLbl>
            <c:dLbl>
              <c:idx val="29"/>
              <c:tx>
                <c:rich>
                  <a:bodyPr/>
                  <a:lstStyle/>
                  <a:p>
                    <a:fld id="{C87CCF0A-E3DA-4E06-9ADD-00BF4B30DD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8F47-486F-B734-6012CEA493B3}"/>
                </c:ext>
              </c:extLst>
            </c:dLbl>
            <c:dLbl>
              <c:idx val="30"/>
              <c:tx>
                <c:rich>
                  <a:bodyPr/>
                  <a:lstStyle/>
                  <a:p>
                    <a:fld id="{436A3093-6D8E-41BD-8392-B119853954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D12-44DE-B956-CABCB15EBC04}"/>
                </c:ext>
              </c:extLst>
            </c:dLbl>
            <c:dLbl>
              <c:idx val="31"/>
              <c:tx>
                <c:rich>
                  <a:bodyPr/>
                  <a:lstStyle/>
                  <a:p>
                    <a:fld id="{4667818A-9F95-40A2-AE69-14CFFD8D91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D12-44DE-B956-CABCB15EBC04}"/>
                </c:ext>
              </c:extLst>
            </c:dLbl>
            <c:dLbl>
              <c:idx val="32"/>
              <c:tx>
                <c:rich>
                  <a:bodyPr/>
                  <a:lstStyle/>
                  <a:p>
                    <a:fld id="{83FC71F1-23A0-4644-A2FE-2FC0B15856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D12-44DE-B956-CABCB15EBC04}"/>
                </c:ext>
              </c:extLst>
            </c:dLbl>
            <c:dLbl>
              <c:idx val="33"/>
              <c:tx>
                <c:rich>
                  <a:bodyPr/>
                  <a:lstStyle/>
                  <a:p>
                    <a:fld id="{94F53C8E-B246-4AB5-8702-664B69E3E3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D12-44DE-B956-CABCB15EBC04}"/>
                </c:ext>
              </c:extLst>
            </c:dLbl>
            <c:dLbl>
              <c:idx val="34"/>
              <c:tx>
                <c:rich>
                  <a:bodyPr/>
                  <a:lstStyle/>
                  <a:p>
                    <a:fld id="{F8F4E1E7-FE35-4544-BC3A-FD49099C90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D12-44DE-B956-CABCB15EBC04}"/>
                </c:ext>
              </c:extLst>
            </c:dLbl>
            <c:dLbl>
              <c:idx val="35"/>
              <c:tx>
                <c:rich>
                  <a:bodyPr/>
                  <a:lstStyle/>
                  <a:p>
                    <a:fld id="{0A2CD08C-809A-42C2-BD6E-EC3F3D17A9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4D12-44DE-B956-CABCB15EBC04}"/>
                </c:ext>
              </c:extLst>
            </c:dLbl>
            <c:dLbl>
              <c:idx val="36"/>
              <c:tx>
                <c:rich>
                  <a:bodyPr/>
                  <a:lstStyle/>
                  <a:p>
                    <a:fld id="{114AE0E1-C074-475F-B0BD-15AEFEDE61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4D12-44DE-B956-CABCB15EBC04}"/>
                </c:ext>
              </c:extLst>
            </c:dLbl>
            <c:dLbl>
              <c:idx val="37"/>
              <c:tx>
                <c:rich>
                  <a:bodyPr/>
                  <a:lstStyle/>
                  <a:p>
                    <a:fld id="{DE60BA39-D4FB-4377-AB46-B344E4F113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4D12-44DE-B956-CABCB15EBC04}"/>
                </c:ext>
              </c:extLst>
            </c:dLbl>
            <c:dLbl>
              <c:idx val="38"/>
              <c:tx>
                <c:rich>
                  <a:bodyPr/>
                  <a:lstStyle/>
                  <a:p>
                    <a:fld id="{2F76FBEC-C79D-40BF-AE9D-428ACBF7DF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4D12-44DE-B956-CABCB15EBC04}"/>
                </c:ext>
              </c:extLst>
            </c:dLbl>
            <c:dLbl>
              <c:idx val="39"/>
              <c:tx>
                <c:rich>
                  <a:bodyPr/>
                  <a:lstStyle/>
                  <a:p>
                    <a:fld id="{D7C47CB7-4ECD-4830-BA06-9A2EEECFB6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4D12-44DE-B956-CABCB15EBC04}"/>
                </c:ext>
              </c:extLst>
            </c:dLbl>
            <c:dLbl>
              <c:idx val="40"/>
              <c:tx>
                <c:rich>
                  <a:bodyPr/>
                  <a:lstStyle/>
                  <a:p>
                    <a:fld id="{A81A1EBB-ED50-47DE-ACBF-FC7E78E7EE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4D12-44DE-B956-CABCB15EBC04}"/>
                </c:ext>
              </c:extLst>
            </c:dLbl>
            <c:dLbl>
              <c:idx val="41"/>
              <c:tx>
                <c:rich>
                  <a:bodyPr/>
                  <a:lstStyle/>
                  <a:p>
                    <a:fld id="{A882E23C-31D5-4D98-BF0D-A81815B366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4D12-44DE-B956-CABCB15EBC04}"/>
                </c:ext>
              </c:extLst>
            </c:dLbl>
            <c:dLbl>
              <c:idx val="42"/>
              <c:tx>
                <c:rich>
                  <a:bodyPr/>
                  <a:lstStyle/>
                  <a:p>
                    <a:fld id="{76068DE1-0AAD-4640-B5F9-0E10C7E4C8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4D12-44DE-B956-CABCB15EBC04}"/>
                </c:ext>
              </c:extLst>
            </c:dLbl>
            <c:dLbl>
              <c:idx val="43"/>
              <c:tx>
                <c:rich>
                  <a:bodyPr/>
                  <a:lstStyle/>
                  <a:p>
                    <a:fld id="{8AACF121-2FE4-4162-BDC3-A6EF07A11F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4D12-44DE-B956-CABCB15EBC04}"/>
                </c:ext>
              </c:extLst>
            </c:dLbl>
            <c:dLbl>
              <c:idx val="44"/>
              <c:tx>
                <c:rich>
                  <a:bodyPr/>
                  <a:lstStyle/>
                  <a:p>
                    <a:fld id="{46B08404-B3B4-4087-9386-64A9F1D85E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4D12-44DE-B956-CABCB15EBC04}"/>
                </c:ext>
              </c:extLst>
            </c:dLbl>
            <c:dLbl>
              <c:idx val="45"/>
              <c:tx>
                <c:rich>
                  <a:bodyPr/>
                  <a:lstStyle/>
                  <a:p>
                    <a:fld id="{1BFCC4DC-9FD6-441B-BAE2-64A52FB90B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4D12-44DE-B956-CABCB15EBC04}"/>
                </c:ext>
              </c:extLst>
            </c:dLbl>
            <c:dLbl>
              <c:idx val="46"/>
              <c:tx>
                <c:rich>
                  <a:bodyPr/>
                  <a:lstStyle/>
                  <a:p>
                    <a:fld id="{CD4FD6DE-B13B-457F-BF03-73B879730A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4D12-44DE-B956-CABCB15EBC04}"/>
                </c:ext>
              </c:extLst>
            </c:dLbl>
            <c:dLbl>
              <c:idx val="47"/>
              <c:tx>
                <c:rich>
                  <a:bodyPr/>
                  <a:lstStyle/>
                  <a:p>
                    <a:fld id="{16C67E17-AB06-47C9-B89F-07658AB3AB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4D12-44DE-B956-CABCB15EBC04}"/>
                </c:ext>
              </c:extLst>
            </c:dLbl>
            <c:dLbl>
              <c:idx val="48"/>
              <c:tx>
                <c:rich>
                  <a:bodyPr/>
                  <a:lstStyle/>
                  <a:p>
                    <a:fld id="{144E04F4-DB5E-4C81-92CC-2CBCB6E193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4D12-44DE-B956-CABCB15EBC04}"/>
                </c:ext>
              </c:extLst>
            </c:dLbl>
            <c:dLbl>
              <c:idx val="49"/>
              <c:tx>
                <c:rich>
                  <a:bodyPr/>
                  <a:lstStyle/>
                  <a:p>
                    <a:fld id="{22436F69-E916-4F59-AD22-83A2F8DBD2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4D12-44DE-B956-CABCB15EBC04}"/>
                </c:ext>
              </c:extLst>
            </c:dLbl>
            <c:dLbl>
              <c:idx val="50"/>
              <c:tx>
                <c:rich>
                  <a:bodyPr/>
                  <a:lstStyle/>
                  <a:p>
                    <a:fld id="{0437EF13-2F31-4F59-BE1F-3643A63CB3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4D12-44DE-B956-CABCB15EBC04}"/>
                </c:ext>
              </c:extLst>
            </c:dLbl>
            <c:dLbl>
              <c:idx val="51"/>
              <c:tx>
                <c:rich>
                  <a:bodyPr/>
                  <a:lstStyle/>
                  <a:p>
                    <a:fld id="{773787E0-27E9-4E18-9FC2-98E4936364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4D12-44DE-B956-CABCB15EBC04}"/>
                </c:ext>
              </c:extLst>
            </c:dLbl>
            <c:dLbl>
              <c:idx val="52"/>
              <c:tx>
                <c:rich>
                  <a:bodyPr/>
                  <a:lstStyle/>
                  <a:p>
                    <a:fld id="{F829F2DD-347D-41B4-A16C-BB92B27C40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4D12-44DE-B956-CABCB15EBC04}"/>
                </c:ext>
              </c:extLst>
            </c:dLbl>
            <c:dLbl>
              <c:idx val="53"/>
              <c:tx>
                <c:rich>
                  <a:bodyPr/>
                  <a:lstStyle/>
                  <a:p>
                    <a:fld id="{9A625387-9F39-4050-A158-40CCAF47F0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4D12-44DE-B956-CABCB15EBC04}"/>
                </c:ext>
              </c:extLst>
            </c:dLbl>
            <c:dLbl>
              <c:idx val="54"/>
              <c:tx>
                <c:rich>
                  <a:bodyPr/>
                  <a:lstStyle/>
                  <a:p>
                    <a:fld id="{E98099E9-FAB4-4B34-9253-83C5BA323B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4D12-44DE-B956-CABCB15EBC04}"/>
                </c:ext>
              </c:extLst>
            </c:dLbl>
            <c:dLbl>
              <c:idx val="55"/>
              <c:tx>
                <c:rich>
                  <a:bodyPr/>
                  <a:lstStyle/>
                  <a:p>
                    <a:fld id="{E13AB02B-AEA6-408A-ABAC-11D19A70C1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D12-44DE-B956-CABCB15EBC04}"/>
                </c:ext>
              </c:extLst>
            </c:dLbl>
            <c:dLbl>
              <c:idx val="56"/>
              <c:tx>
                <c:rich>
                  <a:bodyPr/>
                  <a:lstStyle/>
                  <a:p>
                    <a:fld id="{0D8D55E6-1D1F-4C47-8671-B2457E4CFD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8E3F-4D1B-A313-C02BEC0FDBD1}"/>
                </c:ext>
              </c:extLst>
            </c:dLbl>
            <c:dLbl>
              <c:idx val="57"/>
              <c:tx>
                <c:rich>
                  <a:bodyPr/>
                  <a:lstStyle/>
                  <a:p>
                    <a:fld id="{190B9AC8-2FE4-48EE-A2D3-E8D1040BE6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8E3F-4D1B-A313-C02BEC0FDBD1}"/>
                </c:ext>
              </c:extLst>
            </c:dLbl>
            <c:dLbl>
              <c:idx val="58"/>
              <c:tx>
                <c:rich>
                  <a:bodyPr/>
                  <a:lstStyle/>
                  <a:p>
                    <a:fld id="{060208FD-AF1E-4308-A7F3-50C7C72586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8E3F-4D1B-A313-C02BEC0FDBD1}"/>
                </c:ext>
              </c:extLst>
            </c:dLbl>
            <c:dLbl>
              <c:idx val="59"/>
              <c:tx>
                <c:rich>
                  <a:bodyPr/>
                  <a:lstStyle/>
                  <a:p>
                    <a:fld id="{78AAAD83-47E2-4372-ACBD-1DB9C47D9C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8E3F-4D1B-A313-C02BEC0FDBD1}"/>
                </c:ext>
              </c:extLst>
            </c:dLbl>
            <c:dLbl>
              <c:idx val="60"/>
              <c:tx>
                <c:rich>
                  <a:bodyPr/>
                  <a:lstStyle/>
                  <a:p>
                    <a:fld id="{FBDF2FE9-4A2F-4B74-AB65-9F180E7F01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8E3F-4D1B-A313-C02BEC0FDBD1}"/>
                </c:ext>
              </c:extLst>
            </c:dLbl>
            <c:dLbl>
              <c:idx val="61"/>
              <c:tx>
                <c:rich>
                  <a:bodyPr/>
                  <a:lstStyle/>
                  <a:p>
                    <a:fld id="{A1CF11C1-0D0B-4949-8356-748A6BA085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8E3F-4D1B-A313-C02BEC0FDBD1}"/>
                </c:ext>
              </c:extLst>
            </c:dLbl>
            <c:dLbl>
              <c:idx val="62"/>
              <c:tx>
                <c:rich>
                  <a:bodyPr/>
                  <a:lstStyle/>
                  <a:p>
                    <a:fld id="{449483EC-FB90-4B29-82E8-FABB6F3766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8E3F-4D1B-A313-C02BEC0FDBD1}"/>
                </c:ext>
              </c:extLst>
            </c:dLbl>
            <c:dLbl>
              <c:idx val="63"/>
              <c:tx>
                <c:rich>
                  <a:bodyPr/>
                  <a:lstStyle/>
                  <a:p>
                    <a:fld id="{26322851-1E7A-4485-AA87-E80BC6AB1B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8E3F-4D1B-A313-C02BEC0FDBD1}"/>
                </c:ext>
              </c:extLst>
            </c:dLbl>
            <c:dLbl>
              <c:idx val="64"/>
              <c:tx>
                <c:rich>
                  <a:bodyPr/>
                  <a:lstStyle/>
                  <a:p>
                    <a:fld id="{3F2ABB8A-40DF-4858-8561-BD0D3CAF6D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8E3F-4D1B-A313-C02BEC0FDBD1}"/>
                </c:ext>
              </c:extLst>
            </c:dLbl>
            <c:dLbl>
              <c:idx val="65"/>
              <c:tx>
                <c:rich>
                  <a:bodyPr/>
                  <a:lstStyle/>
                  <a:p>
                    <a:fld id="{832BCEB8-71AA-47C0-A316-771BBDFEAA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8E3F-4D1B-A313-C02BEC0FDBD1}"/>
                </c:ext>
              </c:extLst>
            </c:dLbl>
            <c:dLbl>
              <c:idx val="66"/>
              <c:tx>
                <c:rich>
                  <a:bodyPr/>
                  <a:lstStyle/>
                  <a:p>
                    <a:fld id="{1AE04A36-6C42-44FB-99E0-7CB7EE54BD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8E3F-4D1B-A313-C02BEC0FDBD1}"/>
                </c:ext>
              </c:extLst>
            </c:dLbl>
            <c:dLbl>
              <c:idx val="67"/>
              <c:tx>
                <c:rich>
                  <a:bodyPr/>
                  <a:lstStyle/>
                  <a:p>
                    <a:fld id="{970E3F0C-AB11-4DBF-AAE6-342DEE2D5C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8E3F-4D1B-A313-C02BEC0FDBD1}"/>
                </c:ext>
              </c:extLst>
            </c:dLbl>
            <c:dLbl>
              <c:idx val="68"/>
              <c:tx>
                <c:rich>
                  <a:bodyPr/>
                  <a:lstStyle/>
                  <a:p>
                    <a:fld id="{663B77D8-BC1D-4201-A598-46ADA87D6C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8E3F-4D1B-A313-C02BEC0FDBD1}"/>
                </c:ext>
              </c:extLst>
            </c:dLbl>
            <c:dLbl>
              <c:idx val="69"/>
              <c:tx>
                <c:rich>
                  <a:bodyPr/>
                  <a:lstStyle/>
                  <a:p>
                    <a:fld id="{9E76AFF0-A9E9-435A-B095-597657E2EC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8E3F-4D1B-A313-C02BEC0FDBD1}"/>
                </c:ext>
              </c:extLst>
            </c:dLbl>
            <c:dLbl>
              <c:idx val="70"/>
              <c:tx>
                <c:rich>
                  <a:bodyPr/>
                  <a:lstStyle/>
                  <a:p>
                    <a:fld id="{79252173-7324-4D4D-A6F1-7E7C17FDEB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8E3F-4D1B-A313-C02BEC0FDBD1}"/>
                </c:ext>
              </c:extLst>
            </c:dLbl>
            <c:dLbl>
              <c:idx val="71"/>
              <c:tx>
                <c:rich>
                  <a:bodyPr/>
                  <a:lstStyle/>
                  <a:p>
                    <a:fld id="{D3F3854D-063F-427C-842B-50FF2CA70D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8E3F-4D1B-A313-C02BEC0FDBD1}"/>
                </c:ext>
              </c:extLst>
            </c:dLbl>
            <c:dLbl>
              <c:idx val="72"/>
              <c:tx>
                <c:rich>
                  <a:bodyPr/>
                  <a:lstStyle/>
                  <a:p>
                    <a:fld id="{C6D58656-BEAB-4A5F-BD83-514CC67D10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8E3F-4D1B-A313-C02BEC0FDBD1}"/>
                </c:ext>
              </c:extLst>
            </c:dLbl>
            <c:dLbl>
              <c:idx val="73"/>
              <c:tx>
                <c:rich>
                  <a:bodyPr/>
                  <a:lstStyle/>
                  <a:p>
                    <a:fld id="{2C1C71E3-923E-43CF-B49B-22FAAB3F3D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8E3F-4D1B-A313-C02BEC0FDBD1}"/>
                </c:ext>
              </c:extLst>
            </c:dLbl>
            <c:dLbl>
              <c:idx val="74"/>
              <c:tx>
                <c:rich>
                  <a:bodyPr/>
                  <a:lstStyle/>
                  <a:p>
                    <a:fld id="{45A15FB7-B8B7-4FF7-8A06-B1C8F51192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8E3F-4D1B-A313-C02BEC0FDBD1}"/>
                </c:ext>
              </c:extLst>
            </c:dLbl>
            <c:dLbl>
              <c:idx val="75"/>
              <c:tx>
                <c:rich>
                  <a:bodyPr/>
                  <a:lstStyle/>
                  <a:p>
                    <a:fld id="{16803BC8-B01B-4338-B0B9-F76F0DFB27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8E3F-4D1B-A313-C02BEC0FDBD1}"/>
                </c:ext>
              </c:extLst>
            </c:dLbl>
            <c:dLbl>
              <c:idx val="76"/>
              <c:tx>
                <c:rich>
                  <a:bodyPr/>
                  <a:lstStyle/>
                  <a:p>
                    <a:fld id="{17980A66-D6BA-4BAD-8F40-70FE7C0679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8E3F-4D1B-A313-C02BEC0FDBD1}"/>
                </c:ext>
              </c:extLst>
            </c:dLbl>
            <c:dLbl>
              <c:idx val="77"/>
              <c:tx>
                <c:rich>
                  <a:bodyPr/>
                  <a:lstStyle/>
                  <a:p>
                    <a:fld id="{B1B797BD-7E8F-44EB-9328-320171D81F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8E3F-4D1B-A313-C02BEC0FDBD1}"/>
                </c:ext>
              </c:extLst>
            </c:dLbl>
            <c:dLbl>
              <c:idx val="78"/>
              <c:tx>
                <c:rich>
                  <a:bodyPr/>
                  <a:lstStyle/>
                  <a:p>
                    <a:fld id="{A66E672E-33BC-4B50-8E65-94030ADA2A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8E3F-4D1B-A313-C02BEC0FDBD1}"/>
                </c:ext>
              </c:extLst>
            </c:dLbl>
            <c:dLbl>
              <c:idx val="79"/>
              <c:tx>
                <c:rich>
                  <a:bodyPr/>
                  <a:lstStyle/>
                  <a:p>
                    <a:fld id="{EF9048A5-515F-432F-AFE9-82359DBB40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8E3F-4D1B-A313-C02BEC0FDBD1}"/>
                </c:ext>
              </c:extLst>
            </c:dLbl>
            <c:dLbl>
              <c:idx val="80"/>
              <c:tx>
                <c:rich>
                  <a:bodyPr/>
                  <a:lstStyle/>
                  <a:p>
                    <a:fld id="{BA4C7531-60C6-46B4-8566-11CB2696F9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8E3F-4D1B-A313-C02BEC0FDBD1}"/>
                </c:ext>
              </c:extLst>
            </c:dLbl>
            <c:dLbl>
              <c:idx val="81"/>
              <c:tx>
                <c:rich>
                  <a:bodyPr/>
                  <a:lstStyle/>
                  <a:p>
                    <a:fld id="{42EF749E-DAA0-4BF7-A2E5-C453F8E820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9-8E3F-4D1B-A313-C02BEC0FDBD1}"/>
                </c:ext>
              </c:extLst>
            </c:dLbl>
            <c:dLbl>
              <c:idx val="82"/>
              <c:tx>
                <c:rich>
                  <a:bodyPr/>
                  <a:lstStyle/>
                  <a:p>
                    <a:fld id="{10D03B91-372B-4F77-9EF8-C58ED9CD7D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A-8E3F-4D1B-A313-C02BEC0FDBD1}"/>
                </c:ext>
              </c:extLst>
            </c:dLbl>
            <c:dLbl>
              <c:idx val="83"/>
              <c:tx>
                <c:rich>
                  <a:bodyPr/>
                  <a:lstStyle/>
                  <a:p>
                    <a:fld id="{DE05A429-4196-45BA-A676-9FFFB5990B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B-8E3F-4D1B-A313-C02BEC0FDBD1}"/>
                </c:ext>
              </c:extLst>
            </c:dLbl>
            <c:dLbl>
              <c:idx val="84"/>
              <c:tx>
                <c:rich>
                  <a:bodyPr/>
                  <a:lstStyle/>
                  <a:p>
                    <a:fld id="{A7B877EB-D0D6-4AB7-99BA-94FC08D43F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C-8E3F-4D1B-A313-C02BEC0FDBD1}"/>
                </c:ext>
              </c:extLst>
            </c:dLbl>
            <c:dLbl>
              <c:idx val="85"/>
              <c:tx>
                <c:rich>
                  <a:bodyPr/>
                  <a:lstStyle/>
                  <a:p>
                    <a:fld id="{9EC1F04F-714D-424E-B4E8-19E6C24119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D-8E3F-4D1B-A313-C02BEC0FDBD1}"/>
                </c:ext>
              </c:extLst>
            </c:dLbl>
            <c:dLbl>
              <c:idx val="86"/>
              <c:tx>
                <c:rich>
                  <a:bodyPr/>
                  <a:lstStyle/>
                  <a:p>
                    <a:fld id="{5DE04286-D577-4D0E-9F2F-0848C7A6C9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E-8E3F-4D1B-A313-C02BEC0FDBD1}"/>
                </c:ext>
              </c:extLst>
            </c:dLbl>
            <c:dLbl>
              <c:idx val="87"/>
              <c:tx>
                <c:rich>
                  <a:bodyPr/>
                  <a:lstStyle/>
                  <a:p>
                    <a:fld id="{BDCF247D-C7EE-4B14-8355-7A033D0DFA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F-8E3F-4D1B-A313-C02BEC0FDBD1}"/>
                </c:ext>
              </c:extLst>
            </c:dLbl>
            <c:dLbl>
              <c:idx val="88"/>
              <c:tx>
                <c:rich>
                  <a:bodyPr/>
                  <a:lstStyle/>
                  <a:p>
                    <a:fld id="{B2FD4055-03A0-4600-9790-18EBF2BB3A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0-8E3F-4D1B-A313-C02BEC0FDBD1}"/>
                </c:ext>
              </c:extLst>
            </c:dLbl>
            <c:dLbl>
              <c:idx val="89"/>
              <c:tx>
                <c:rich>
                  <a:bodyPr/>
                  <a:lstStyle/>
                  <a:p>
                    <a:fld id="{46759C21-5B77-448C-B8FE-4FD17C7E20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1-8E3F-4D1B-A313-C02BEC0FDBD1}"/>
                </c:ext>
              </c:extLst>
            </c:dLbl>
            <c:dLbl>
              <c:idx val="90"/>
              <c:tx>
                <c:rich>
                  <a:bodyPr/>
                  <a:lstStyle/>
                  <a:p>
                    <a:fld id="{53F0E7FB-E608-4C6B-B105-DA16007B81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2-8E3F-4D1B-A313-C02BEC0FDBD1}"/>
                </c:ext>
              </c:extLst>
            </c:dLbl>
            <c:dLbl>
              <c:idx val="91"/>
              <c:tx>
                <c:rich>
                  <a:bodyPr/>
                  <a:lstStyle/>
                  <a:p>
                    <a:fld id="{79A7A42F-B336-4A94-92E0-14F8B762B2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3-8E3F-4D1B-A313-C02BEC0FDBD1}"/>
                </c:ext>
              </c:extLst>
            </c:dLbl>
            <c:dLbl>
              <c:idx val="92"/>
              <c:tx>
                <c:rich>
                  <a:bodyPr/>
                  <a:lstStyle/>
                  <a:p>
                    <a:fld id="{73D6685C-8CAF-46C9-81CE-36F20BE2E9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4-8E3F-4D1B-A313-C02BEC0FDBD1}"/>
                </c:ext>
              </c:extLst>
            </c:dLbl>
            <c:dLbl>
              <c:idx val="93"/>
              <c:tx>
                <c:rich>
                  <a:bodyPr/>
                  <a:lstStyle/>
                  <a:p>
                    <a:fld id="{78D5FB5A-C7D7-44C0-AC85-489F2C6672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5-8E3F-4D1B-A313-C02BEC0FDBD1}"/>
                </c:ext>
              </c:extLst>
            </c:dLbl>
            <c:dLbl>
              <c:idx val="94"/>
              <c:tx>
                <c:rich>
                  <a:bodyPr/>
                  <a:lstStyle/>
                  <a:p>
                    <a:fld id="{1E3BD03B-1E33-4F8C-849A-0AA3C83C72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6-8E3F-4D1B-A313-C02BEC0FDBD1}"/>
                </c:ext>
              </c:extLst>
            </c:dLbl>
            <c:dLbl>
              <c:idx val="95"/>
              <c:tx>
                <c:rich>
                  <a:bodyPr/>
                  <a:lstStyle/>
                  <a:p>
                    <a:fld id="{8B39DA32-4572-460F-8139-B7A5E72648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7-8E3F-4D1B-A313-C02BEC0FDBD1}"/>
                </c:ext>
              </c:extLst>
            </c:dLbl>
            <c:dLbl>
              <c:idx val="96"/>
              <c:tx>
                <c:rich>
                  <a:bodyPr/>
                  <a:lstStyle/>
                  <a:p>
                    <a:fld id="{C1E820AA-E808-4063-8A88-790E241DB1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8-8E3F-4D1B-A313-C02BEC0FDBD1}"/>
                </c:ext>
              </c:extLst>
            </c:dLbl>
            <c:dLbl>
              <c:idx val="97"/>
              <c:tx>
                <c:rich>
                  <a:bodyPr/>
                  <a:lstStyle/>
                  <a:p>
                    <a:fld id="{820C12C1-F13E-4990-8C95-5102B0EAB6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9-8E3F-4D1B-A313-C02BEC0FDBD1}"/>
                </c:ext>
              </c:extLst>
            </c:dLbl>
            <c:dLbl>
              <c:idx val="98"/>
              <c:tx>
                <c:rich>
                  <a:bodyPr/>
                  <a:lstStyle/>
                  <a:p>
                    <a:fld id="{6930C15E-1603-4A36-90FE-64227F848B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A-8E3F-4D1B-A313-C02BEC0FDBD1}"/>
                </c:ext>
              </c:extLst>
            </c:dLbl>
            <c:dLbl>
              <c:idx val="99"/>
              <c:tx>
                <c:rich>
                  <a:bodyPr/>
                  <a:lstStyle/>
                  <a:p>
                    <a:fld id="{AF216EA8-46F7-4B38-B39B-A97B4FFD06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B-8E3F-4D1B-A313-C02BEC0FDBD1}"/>
                </c:ext>
              </c:extLst>
            </c:dLbl>
            <c:dLbl>
              <c:idx val="100"/>
              <c:tx>
                <c:rich>
                  <a:bodyPr/>
                  <a:lstStyle/>
                  <a:p>
                    <a:fld id="{9C54616D-7C9F-4269-B105-171DE307DA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C-8E3F-4D1B-A313-C02BEC0FDBD1}"/>
                </c:ext>
              </c:extLst>
            </c:dLbl>
            <c:dLbl>
              <c:idx val="101"/>
              <c:tx>
                <c:rich>
                  <a:bodyPr/>
                  <a:lstStyle/>
                  <a:p>
                    <a:fld id="{247B79CD-F1B7-44DF-9E43-D44FA7C7D3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D-8E3F-4D1B-A313-C02BEC0FDBD1}"/>
                </c:ext>
              </c:extLst>
            </c:dLbl>
            <c:dLbl>
              <c:idx val="102"/>
              <c:tx>
                <c:rich>
                  <a:bodyPr/>
                  <a:lstStyle/>
                  <a:p>
                    <a:fld id="{299F2ED1-C79E-4957-89D9-A326F819B5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E-8E3F-4D1B-A313-C02BEC0FDBD1}"/>
                </c:ext>
              </c:extLst>
            </c:dLbl>
            <c:dLbl>
              <c:idx val="103"/>
              <c:tx>
                <c:rich>
                  <a:bodyPr/>
                  <a:lstStyle/>
                  <a:p>
                    <a:fld id="{F5F82590-7E4D-4205-8FDA-165EB39791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F-8E3F-4D1B-A313-C02BEC0FDBD1}"/>
                </c:ext>
              </c:extLst>
            </c:dLbl>
            <c:dLbl>
              <c:idx val="104"/>
              <c:tx>
                <c:rich>
                  <a:bodyPr/>
                  <a:lstStyle/>
                  <a:p>
                    <a:fld id="{A5E316E5-FCC5-4DAD-AF2A-5A58DA4A84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0-8E3F-4D1B-A313-C02BEC0FDBD1}"/>
                </c:ext>
              </c:extLst>
            </c:dLbl>
            <c:dLbl>
              <c:idx val="105"/>
              <c:tx>
                <c:rich>
                  <a:bodyPr/>
                  <a:lstStyle/>
                  <a:p>
                    <a:fld id="{FE7F3D18-A9A3-409A-A829-08035AFF36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1-8E3F-4D1B-A313-C02BEC0FDBD1}"/>
                </c:ext>
              </c:extLst>
            </c:dLbl>
            <c:dLbl>
              <c:idx val="106"/>
              <c:tx>
                <c:rich>
                  <a:bodyPr/>
                  <a:lstStyle/>
                  <a:p>
                    <a:fld id="{5A7D8D1F-EC53-4272-AA6A-8C9BDD458A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2-8E3F-4D1B-A313-C02BEC0FDBD1}"/>
                </c:ext>
              </c:extLst>
            </c:dLbl>
            <c:dLbl>
              <c:idx val="107"/>
              <c:tx>
                <c:rich>
                  <a:bodyPr/>
                  <a:lstStyle/>
                  <a:p>
                    <a:fld id="{288DAAEE-E6DC-4CB5-89C7-1BBA38657F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3-8E3F-4D1B-A313-C02BEC0FDBD1}"/>
                </c:ext>
              </c:extLst>
            </c:dLbl>
            <c:dLbl>
              <c:idx val="108"/>
              <c:tx>
                <c:rich>
                  <a:bodyPr/>
                  <a:lstStyle/>
                  <a:p>
                    <a:fld id="{B50343D5-D7A9-48D5-BCEC-8E1F0C0F03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4-8E3F-4D1B-A313-C02BEC0FDBD1}"/>
                </c:ext>
              </c:extLst>
            </c:dLbl>
            <c:dLbl>
              <c:idx val="109"/>
              <c:tx>
                <c:rich>
                  <a:bodyPr/>
                  <a:lstStyle/>
                  <a:p>
                    <a:fld id="{D5288E09-1E81-4272-8392-8672596048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5-8E3F-4D1B-A313-C02BEC0FDBD1}"/>
                </c:ext>
              </c:extLst>
            </c:dLbl>
            <c:dLbl>
              <c:idx val="110"/>
              <c:tx>
                <c:rich>
                  <a:bodyPr/>
                  <a:lstStyle/>
                  <a:p>
                    <a:fld id="{50A0652C-79AD-4304-B72B-8FC552EB98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6-8E3F-4D1B-A313-C02BEC0FDBD1}"/>
                </c:ext>
              </c:extLst>
            </c:dLbl>
            <c:dLbl>
              <c:idx val="111"/>
              <c:tx>
                <c:rich>
                  <a:bodyPr/>
                  <a:lstStyle/>
                  <a:p>
                    <a:fld id="{C3EE88B6-258D-44CF-9CA3-A58B6F59AA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7-8E3F-4D1B-A313-C02BEC0FDBD1}"/>
                </c:ext>
              </c:extLst>
            </c:dLbl>
            <c:dLbl>
              <c:idx val="112"/>
              <c:tx>
                <c:rich>
                  <a:bodyPr/>
                  <a:lstStyle/>
                  <a:p>
                    <a:fld id="{EE5B1745-0B61-4B2E-A312-7ED1DB014D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8-8E3F-4D1B-A313-C02BEC0FDBD1}"/>
                </c:ext>
              </c:extLst>
            </c:dLbl>
            <c:dLbl>
              <c:idx val="113"/>
              <c:tx>
                <c:rich>
                  <a:bodyPr/>
                  <a:lstStyle/>
                  <a:p>
                    <a:fld id="{5954F13E-4CE8-4E5C-9D6C-8BE8E5F478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9-8E3F-4D1B-A313-C02BEC0FDBD1}"/>
                </c:ext>
              </c:extLst>
            </c:dLbl>
            <c:dLbl>
              <c:idx val="114"/>
              <c:tx>
                <c:rich>
                  <a:bodyPr/>
                  <a:lstStyle/>
                  <a:p>
                    <a:fld id="{FEAFAD91-398A-440B-84E1-7AD26F5EAB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A-8E3F-4D1B-A313-C02BEC0FDBD1}"/>
                </c:ext>
              </c:extLst>
            </c:dLbl>
            <c:dLbl>
              <c:idx val="115"/>
              <c:tx>
                <c:rich>
                  <a:bodyPr/>
                  <a:lstStyle/>
                  <a:p>
                    <a:fld id="{F86C4C14-351A-44BB-8E2A-60F813328E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B-8E3F-4D1B-A313-C02BEC0FDBD1}"/>
                </c:ext>
              </c:extLst>
            </c:dLbl>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8</c:f>
              <c:numCache>
                <c:formatCode>General</c:formatCode>
                <c:ptCount val="7"/>
                <c:pt idx="0">
                  <c:v>1</c:v>
                </c:pt>
                <c:pt idx="1">
                  <c:v>1</c:v>
                </c:pt>
                <c:pt idx="2">
                  <c:v>1</c:v>
                </c:pt>
                <c:pt idx="3">
                  <c:v>3</c:v>
                </c:pt>
                <c:pt idx="4">
                  <c:v>3</c:v>
                </c:pt>
                <c:pt idx="5">
                  <c:v>3</c:v>
                </c:pt>
                <c:pt idx="6">
                  <c:v>3</c:v>
                </c:pt>
              </c:numCache>
            </c:numRef>
          </c:xVal>
          <c:yVal>
            <c:numRef>
              <c:f>Sheet1!$B$2:$B$8</c:f>
              <c:numCache>
                <c:formatCode>General</c:formatCode>
                <c:ptCount val="7"/>
                <c:pt idx="0">
                  <c:v>0.25736915035471042</c:v>
                </c:pt>
                <c:pt idx="1">
                  <c:v>0.22309452807604779</c:v>
                </c:pt>
                <c:pt idx="2">
                  <c:v>0.182909399479526</c:v>
                </c:pt>
                <c:pt idx="3">
                  <c:v>-0.24608269235740049</c:v>
                </c:pt>
                <c:pt idx="4">
                  <c:v>2.1021046990951139E-2</c:v>
                </c:pt>
                <c:pt idx="5">
                  <c:v>7.0105657692061119E-2</c:v>
                </c:pt>
                <c:pt idx="6">
                  <c:v>0.18383767644502</c:v>
                </c:pt>
              </c:numCache>
            </c:numRef>
          </c:yVal>
          <c:bubbleSize>
            <c:numRef>
              <c:f>Sheet1!$C$2:$C$8</c:f>
              <c:numCache>
                <c:formatCode>General</c:formatCode>
                <c:ptCount val="7"/>
                <c:pt idx="0">
                  <c:v>9868379</c:v>
                </c:pt>
                <c:pt idx="1">
                  <c:v>6252872</c:v>
                </c:pt>
                <c:pt idx="2">
                  <c:v>382455</c:v>
                </c:pt>
                <c:pt idx="3">
                  <c:v>355493</c:v>
                </c:pt>
                <c:pt idx="4">
                  <c:v>1716108</c:v>
                </c:pt>
                <c:pt idx="5">
                  <c:v>1141177</c:v>
                </c:pt>
                <c:pt idx="6">
                  <c:v>2238318</c:v>
                </c:pt>
              </c:numCache>
            </c:numRef>
          </c:bubbleSize>
          <c:bubble3D val="0"/>
          <c:extLst>
            <c:ext xmlns:c15="http://schemas.microsoft.com/office/drawing/2012/chart" uri="{02D57815-91ED-43cb-92C2-25804820EDAC}">
              <c15:datalabelsRange>
                <c15:f>Sheet1!$E$2:$E$150</c15:f>
                <c15:dlblRangeCache>
                  <c:ptCount val="149"/>
                  <c:pt idx="0">
                    <c:v>Gillette</c:v>
                  </c:pt>
                  <c:pt idx="1">
                    <c:v>Schick</c:v>
                  </c:pt>
                  <c:pt idx="2">
                    <c:v>Bic</c:v>
                  </c:pt>
                  <c:pt idx="3">
                    <c:v>Gillette</c:v>
                  </c:pt>
                  <c:pt idx="4">
                    <c:v>Bic</c:v>
                  </c:pt>
                  <c:pt idx="5">
                    <c:v>Equate</c:v>
                  </c:pt>
                  <c:pt idx="6">
                    <c:v>Schick</c:v>
                  </c:pt>
                </c15:dlblRangeCache>
              </c15:datalabelsRange>
            </c:ext>
            <c:ext xmlns:c16="http://schemas.microsoft.com/office/drawing/2014/chart" uri="{C3380CC4-5D6E-409C-BE32-E72D297353CC}">
              <c16:uniqueId val="{00000026-26FB-4B52-8D72-D56D618E8EAF}"/>
            </c:ext>
          </c:extLst>
        </c:ser>
        <c:dLbls>
          <c:dLblPos val="ctr"/>
          <c:showLegendKey val="0"/>
          <c:showVal val="1"/>
          <c:showCatName val="0"/>
          <c:showSerName val="0"/>
          <c:showPercent val="0"/>
          <c:showBubbleSize val="0"/>
        </c:dLbls>
        <c:bubbleScale val="75"/>
        <c:showNegBubbles val="0"/>
        <c:axId val="804121775"/>
        <c:axId val="804116783"/>
      </c:bubbleChart>
      <c:valAx>
        <c:axId val="804121775"/>
        <c:scaling>
          <c:orientation val="minMax"/>
          <c:max val="4"/>
          <c:min val="0"/>
        </c:scaling>
        <c:delete val="0"/>
        <c:axPos val="b"/>
        <c:numFmt formatCode="0%" sourceLinked="0"/>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16783"/>
        <c:crosses val="autoZero"/>
        <c:crossBetween val="midCat"/>
        <c:minorUnit val="0.1"/>
      </c:valAx>
      <c:valAx>
        <c:axId val="804116783"/>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en-US" sz="800" dirty="0">
                    <a:solidFill>
                      <a:schemeClr val="tx1"/>
                    </a:solidFill>
                    <a:latin typeface="Nexa Bold" panose="00000800000000000000" pitchFamily="2" charset="0"/>
                  </a:rPr>
                  <a:t>Averag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Valu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uplift</a:t>
                </a:r>
                <a:endParaRPr lang="en-CH" sz="800" dirty="0">
                  <a:solidFill>
                    <a:schemeClr val="tx1"/>
                  </a:solidFill>
                  <a:latin typeface="Nexa Bold" panose="00000800000000000000" pitchFamily="2" charset="0"/>
                </a:endParaRPr>
              </a:p>
            </c:rich>
          </c:tx>
          <c:layout>
            <c:manualLayout>
              <c:xMode val="edge"/>
              <c:yMode val="edge"/>
              <c:x val="2.0811111111111117E-3"/>
              <c:y val="0.10078557265656676"/>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CH"/>
            </a:p>
          </c:txPr>
        </c:title>
        <c:numFmt formatCode="0%" sourceLinked="0"/>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21775"/>
        <c:crosses val="autoZero"/>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64864197530864"/>
          <c:y val="0.12152940918360107"/>
          <c:w val="0.83974691358024689"/>
          <c:h val="0.72254306602702423"/>
        </c:manualLayout>
      </c:layout>
      <c:bubbleChart>
        <c:varyColors val="0"/>
        <c:ser>
          <c:idx val="0"/>
          <c:order val="0"/>
          <c:tx>
            <c:strRef>
              <c:f>Sheet1!$B$1</c:f>
              <c:strCache>
                <c:ptCount val="1"/>
                <c:pt idx="0">
                  <c:v>Average Value Uplift</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26FB-4B52-8D72-D56D618E8EAF}"/>
              </c:ext>
            </c:extLst>
          </c:dPt>
          <c:dPt>
            <c:idx val="1"/>
            <c:invertIfNegative val="0"/>
            <c:bubble3D val="0"/>
            <c:spPr>
              <a:solidFill>
                <a:srgbClr val="E6E5E5"/>
              </a:solidFill>
              <a:ln>
                <a:noFill/>
              </a:ln>
              <a:effectLst/>
            </c:spPr>
            <c:extLst>
              <c:ext xmlns:c16="http://schemas.microsoft.com/office/drawing/2014/chart" uri="{C3380CC4-5D6E-409C-BE32-E72D297353CC}">
                <c16:uniqueId val="{00000003-26FB-4B52-8D72-D56D618E8EAF}"/>
              </c:ext>
            </c:extLst>
          </c:dPt>
          <c:dPt>
            <c:idx val="2"/>
            <c:invertIfNegative val="0"/>
            <c:bubble3D val="0"/>
            <c:spPr>
              <a:solidFill>
                <a:srgbClr val="E6E5E5"/>
              </a:solidFill>
              <a:ln>
                <a:noFill/>
              </a:ln>
              <a:effectLst/>
            </c:spPr>
            <c:extLst>
              <c:ext xmlns:c16="http://schemas.microsoft.com/office/drawing/2014/chart" uri="{C3380CC4-5D6E-409C-BE32-E72D297353CC}">
                <c16:uniqueId val="{00000005-26FB-4B52-8D72-D56D618E8EAF}"/>
              </c:ext>
            </c:extLst>
          </c:dPt>
          <c:dPt>
            <c:idx val="3"/>
            <c:invertIfNegative val="0"/>
            <c:bubble3D val="0"/>
            <c:spPr>
              <a:solidFill>
                <a:srgbClr val="E6E5E5"/>
              </a:solidFill>
              <a:ln>
                <a:noFill/>
              </a:ln>
              <a:effectLst/>
            </c:spPr>
            <c:extLst>
              <c:ext xmlns:c16="http://schemas.microsoft.com/office/drawing/2014/chart" uri="{C3380CC4-5D6E-409C-BE32-E72D297353CC}">
                <c16:uniqueId val="{00000007-26FB-4B52-8D72-D56D618E8EAF}"/>
              </c:ext>
            </c:extLst>
          </c:dPt>
          <c:dPt>
            <c:idx val="4"/>
            <c:invertIfNegative val="0"/>
            <c:bubble3D val="0"/>
            <c:spPr>
              <a:solidFill>
                <a:srgbClr val="7ECAC4"/>
              </a:solidFill>
              <a:ln>
                <a:noFill/>
              </a:ln>
              <a:effectLst/>
            </c:spPr>
            <c:extLst>
              <c:ext xmlns:c16="http://schemas.microsoft.com/office/drawing/2014/chart" uri="{C3380CC4-5D6E-409C-BE32-E72D297353CC}">
                <c16:uniqueId val="{00000009-26FB-4B52-8D72-D56D618E8EAF}"/>
              </c:ext>
            </c:extLst>
          </c:dPt>
          <c:dPt>
            <c:idx val="5"/>
            <c:invertIfNegative val="0"/>
            <c:bubble3D val="0"/>
            <c:spPr>
              <a:solidFill>
                <a:srgbClr val="E6E5E5"/>
              </a:solidFill>
              <a:ln>
                <a:noFill/>
              </a:ln>
              <a:effectLst/>
            </c:spPr>
            <c:extLst>
              <c:ext xmlns:c16="http://schemas.microsoft.com/office/drawing/2014/chart" uri="{C3380CC4-5D6E-409C-BE32-E72D297353CC}">
                <c16:uniqueId val="{0000000B-26FB-4B52-8D72-D56D618E8EAF}"/>
              </c:ext>
            </c:extLst>
          </c:dPt>
          <c:dPt>
            <c:idx val="6"/>
            <c:invertIfNegative val="0"/>
            <c:bubble3D val="0"/>
            <c:spPr>
              <a:solidFill>
                <a:srgbClr val="E6E5E5"/>
              </a:solidFill>
              <a:ln>
                <a:noFill/>
              </a:ln>
              <a:effectLst/>
            </c:spPr>
            <c:extLst>
              <c:ext xmlns:c16="http://schemas.microsoft.com/office/drawing/2014/chart" uri="{C3380CC4-5D6E-409C-BE32-E72D297353CC}">
                <c16:uniqueId val="{0000000D-26FB-4B52-8D72-D56D618E8EAF}"/>
              </c:ext>
            </c:extLst>
          </c:dPt>
          <c:dPt>
            <c:idx val="7"/>
            <c:invertIfNegative val="0"/>
            <c:bubble3D val="0"/>
            <c:spPr>
              <a:solidFill>
                <a:srgbClr val="7ECAC4"/>
              </a:solidFill>
              <a:ln>
                <a:noFill/>
              </a:ln>
              <a:effectLst/>
            </c:spPr>
            <c:extLst>
              <c:ext xmlns:c16="http://schemas.microsoft.com/office/drawing/2014/chart" uri="{C3380CC4-5D6E-409C-BE32-E72D297353CC}">
                <c16:uniqueId val="{0000000F-26FB-4B52-8D72-D56D618E8EAF}"/>
              </c:ext>
            </c:extLst>
          </c:dPt>
          <c:dPt>
            <c:idx val="8"/>
            <c:invertIfNegative val="0"/>
            <c:bubble3D val="0"/>
            <c:spPr>
              <a:solidFill>
                <a:schemeClr val="bg2"/>
              </a:solidFill>
              <a:ln>
                <a:noFill/>
              </a:ln>
              <a:effectLst/>
            </c:spPr>
            <c:extLst>
              <c:ext xmlns:c16="http://schemas.microsoft.com/office/drawing/2014/chart" uri="{C3380CC4-5D6E-409C-BE32-E72D297353CC}">
                <c16:uniqueId val="{00000011-26FB-4B52-8D72-D56D618E8EAF}"/>
              </c:ext>
            </c:extLst>
          </c:dPt>
          <c:dPt>
            <c:idx val="11"/>
            <c:invertIfNegative val="0"/>
            <c:bubble3D val="0"/>
            <c:spPr>
              <a:solidFill>
                <a:schemeClr val="bg2"/>
              </a:solidFill>
              <a:ln>
                <a:noFill/>
              </a:ln>
              <a:effectLst/>
            </c:spPr>
            <c:extLst>
              <c:ext xmlns:c16="http://schemas.microsoft.com/office/drawing/2014/chart" uri="{C3380CC4-5D6E-409C-BE32-E72D297353CC}">
                <c16:uniqueId val="{00000013-26FB-4B52-8D72-D56D618E8EAF}"/>
              </c:ext>
            </c:extLst>
          </c:dPt>
          <c:dPt>
            <c:idx val="12"/>
            <c:invertIfNegative val="0"/>
            <c:bubble3D val="0"/>
            <c:spPr>
              <a:solidFill>
                <a:schemeClr val="bg2"/>
              </a:solidFill>
              <a:ln>
                <a:noFill/>
              </a:ln>
              <a:effectLst/>
            </c:spPr>
            <c:extLst>
              <c:ext xmlns:c16="http://schemas.microsoft.com/office/drawing/2014/chart" uri="{C3380CC4-5D6E-409C-BE32-E72D297353CC}">
                <c16:uniqueId val="{00000002-7B2D-4A32-96D2-9C641BCDE5CC}"/>
              </c:ext>
            </c:extLst>
          </c:dPt>
          <c:dPt>
            <c:idx val="13"/>
            <c:invertIfNegative val="0"/>
            <c:bubble3D val="0"/>
            <c:extLst>
              <c:ext xmlns:c16="http://schemas.microsoft.com/office/drawing/2014/chart" uri="{C3380CC4-5D6E-409C-BE32-E72D297353CC}">
                <c16:uniqueId val="{00000017-26FB-4B52-8D72-D56D618E8EAF}"/>
              </c:ext>
            </c:extLst>
          </c:dPt>
          <c:dPt>
            <c:idx val="14"/>
            <c:invertIfNegative val="0"/>
            <c:bubble3D val="0"/>
            <c:spPr>
              <a:solidFill>
                <a:schemeClr val="bg2"/>
              </a:solidFill>
              <a:ln>
                <a:noFill/>
              </a:ln>
              <a:effectLst/>
            </c:spPr>
            <c:extLst>
              <c:ext xmlns:c16="http://schemas.microsoft.com/office/drawing/2014/chart" uri="{C3380CC4-5D6E-409C-BE32-E72D297353CC}">
                <c16:uniqueId val="{00000019-26FB-4B52-8D72-D56D618E8EAF}"/>
              </c:ext>
            </c:extLst>
          </c:dPt>
          <c:dPt>
            <c:idx val="15"/>
            <c:invertIfNegative val="0"/>
            <c:bubble3D val="0"/>
            <c:extLst>
              <c:ext xmlns:c16="http://schemas.microsoft.com/office/drawing/2014/chart" uri="{C3380CC4-5D6E-409C-BE32-E72D297353CC}">
                <c16:uniqueId val="{0000001C-26FB-4B52-8D72-D56D618E8EAF}"/>
              </c:ext>
            </c:extLst>
          </c:dPt>
          <c:dPt>
            <c:idx val="19"/>
            <c:invertIfNegative val="0"/>
            <c:bubble3D val="0"/>
            <c:spPr>
              <a:solidFill>
                <a:srgbClr val="7ECAC4"/>
              </a:solidFill>
              <a:ln>
                <a:noFill/>
              </a:ln>
              <a:effectLst/>
            </c:spPr>
            <c:extLst>
              <c:ext xmlns:c16="http://schemas.microsoft.com/office/drawing/2014/chart" uri="{C3380CC4-5D6E-409C-BE32-E72D297353CC}">
                <c16:uniqueId val="{00000002-0A6E-4C83-9A06-9C3309B2855E}"/>
              </c:ext>
            </c:extLst>
          </c:dPt>
          <c:dPt>
            <c:idx val="24"/>
            <c:invertIfNegative val="0"/>
            <c:bubble3D val="0"/>
            <c:spPr>
              <a:solidFill>
                <a:schemeClr val="bg2"/>
              </a:solidFill>
              <a:ln>
                <a:noFill/>
              </a:ln>
              <a:effectLst/>
            </c:spPr>
            <c:extLst>
              <c:ext xmlns:c16="http://schemas.microsoft.com/office/drawing/2014/chart" uri="{C3380CC4-5D6E-409C-BE32-E72D297353CC}">
                <c16:uniqueId val="{00000005-0A6E-4C83-9A06-9C3309B2855E}"/>
              </c:ext>
            </c:extLst>
          </c:dPt>
          <c:dPt>
            <c:idx val="29"/>
            <c:invertIfNegative val="0"/>
            <c:bubble3D val="0"/>
            <c:extLst>
              <c:ext xmlns:c16="http://schemas.microsoft.com/office/drawing/2014/chart" uri="{C3380CC4-5D6E-409C-BE32-E72D297353CC}">
                <c16:uniqueId val="{00000003-8F47-486F-B734-6012CEA493B3}"/>
              </c:ext>
            </c:extLst>
          </c:dPt>
          <c:dPt>
            <c:idx val="31"/>
            <c:invertIfNegative val="0"/>
            <c:bubble3D val="0"/>
            <c:spPr>
              <a:solidFill>
                <a:schemeClr val="accent2"/>
              </a:solidFill>
              <a:ln>
                <a:noFill/>
              </a:ln>
              <a:effectLst/>
            </c:spPr>
            <c:extLst>
              <c:ext xmlns:c16="http://schemas.microsoft.com/office/drawing/2014/chart" uri="{C3380CC4-5D6E-409C-BE32-E72D297353CC}">
                <c16:uniqueId val="{00000000-4D12-44DE-B956-CABCB15EBC04}"/>
              </c:ext>
            </c:extLst>
          </c:dPt>
          <c:dPt>
            <c:idx val="33"/>
            <c:invertIfNegative val="0"/>
            <c:bubble3D val="0"/>
            <c:spPr>
              <a:solidFill>
                <a:schemeClr val="accent2"/>
              </a:solidFill>
              <a:ln>
                <a:noFill/>
              </a:ln>
              <a:effectLst/>
            </c:spPr>
            <c:extLst>
              <c:ext xmlns:c16="http://schemas.microsoft.com/office/drawing/2014/chart" uri="{C3380CC4-5D6E-409C-BE32-E72D297353CC}">
                <c16:uniqueId val="{00000001-4D12-44DE-B956-CABCB15EBC04}"/>
              </c:ext>
            </c:extLst>
          </c:dPt>
          <c:dLbls>
            <c:dLbl>
              <c:idx val="0"/>
              <c:tx>
                <c:rich>
                  <a:bodyPr/>
                  <a:lstStyle/>
                  <a:p>
                    <a:fld id="{16A75C78-A6C0-4838-A26A-EE0BBAAF66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FB-4B52-8D72-D56D618E8EAF}"/>
                </c:ext>
              </c:extLst>
            </c:dLbl>
            <c:dLbl>
              <c:idx val="1"/>
              <c:tx>
                <c:rich>
                  <a:bodyPr/>
                  <a:lstStyle/>
                  <a:p>
                    <a:fld id="{2AF18526-65EC-4C12-BDB9-6073B3810D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FB-4B52-8D72-D56D618E8EAF}"/>
                </c:ext>
              </c:extLst>
            </c:dLbl>
            <c:dLbl>
              <c:idx val="2"/>
              <c:tx>
                <c:rich>
                  <a:bodyPr/>
                  <a:lstStyle/>
                  <a:p>
                    <a:fld id="{5610145C-2D1C-431A-B957-DC438FEB06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26FB-4B52-8D72-D56D618E8EAF}"/>
                </c:ext>
              </c:extLst>
            </c:dLbl>
            <c:dLbl>
              <c:idx val="3"/>
              <c:tx>
                <c:rich>
                  <a:bodyPr/>
                  <a:lstStyle/>
                  <a:p>
                    <a:fld id="{34750EEF-6C9C-4A18-A489-68CD3ACBE0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FB-4B52-8D72-D56D618E8EAF}"/>
                </c:ext>
              </c:extLst>
            </c:dLbl>
            <c:dLbl>
              <c:idx val="4"/>
              <c:tx>
                <c:rich>
                  <a:bodyPr/>
                  <a:lstStyle/>
                  <a:p>
                    <a:fld id="{B7FEA51B-7ED0-4D5D-A1FB-99708E606D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FB-4B52-8D72-D56D618E8EAF}"/>
                </c:ext>
              </c:extLst>
            </c:dLbl>
            <c:dLbl>
              <c:idx val="5"/>
              <c:tx>
                <c:rich>
                  <a:bodyPr/>
                  <a:lstStyle/>
                  <a:p>
                    <a:fld id="{A8846B10-CF80-4602-802B-6B9330D057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26FB-4B52-8D72-D56D618E8EAF}"/>
                </c:ext>
              </c:extLst>
            </c:dLbl>
            <c:dLbl>
              <c:idx val="6"/>
              <c:tx>
                <c:rich>
                  <a:bodyPr/>
                  <a:lstStyle/>
                  <a:p>
                    <a:fld id="{DB614E94-2E29-49DF-B893-4DE69336E8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26FB-4B52-8D72-D56D618E8EAF}"/>
                </c:ext>
              </c:extLst>
            </c:dLbl>
            <c:dLbl>
              <c:idx val="7"/>
              <c:tx>
                <c:rich>
                  <a:bodyPr/>
                  <a:lstStyle/>
                  <a:p>
                    <a:fld id="{42F398EE-73FF-49D4-96AE-2DA1FFCDE5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26FB-4B52-8D72-D56D618E8EAF}"/>
                </c:ext>
              </c:extLst>
            </c:dLbl>
            <c:dLbl>
              <c:idx val="8"/>
              <c:tx>
                <c:rich>
                  <a:bodyPr/>
                  <a:lstStyle/>
                  <a:p>
                    <a:fld id="{83380A3E-B6C7-48AC-936E-8CA88893EC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26FB-4B52-8D72-D56D618E8EAF}"/>
                </c:ext>
              </c:extLst>
            </c:dLbl>
            <c:dLbl>
              <c:idx val="9"/>
              <c:tx>
                <c:rich>
                  <a:bodyPr/>
                  <a:lstStyle/>
                  <a:p>
                    <a:fld id="{AC425F7D-977B-465C-BC45-197193469B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B2D-4A32-96D2-9C641BCDE5CC}"/>
                </c:ext>
              </c:extLst>
            </c:dLbl>
            <c:dLbl>
              <c:idx val="10"/>
              <c:tx>
                <c:rich>
                  <a:bodyPr/>
                  <a:lstStyle/>
                  <a:p>
                    <a:fld id="{188D1C14-6010-4C9C-8EAB-9FAB928389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7B2D-4A32-96D2-9C641BCDE5CC}"/>
                </c:ext>
              </c:extLst>
            </c:dLbl>
            <c:dLbl>
              <c:idx val="11"/>
              <c:tx>
                <c:rich>
                  <a:bodyPr/>
                  <a:lstStyle/>
                  <a:p>
                    <a:fld id="{094AE288-E109-48F9-AB49-95E017FEBA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26FB-4B52-8D72-D56D618E8EAF}"/>
                </c:ext>
              </c:extLst>
            </c:dLbl>
            <c:dLbl>
              <c:idx val="12"/>
              <c:tx>
                <c:rich>
                  <a:bodyPr/>
                  <a:lstStyle/>
                  <a:p>
                    <a:fld id="{34E213D0-C33D-4427-BB91-12756FCFFC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7B2D-4A32-96D2-9C641BCDE5CC}"/>
                </c:ext>
              </c:extLst>
            </c:dLbl>
            <c:dLbl>
              <c:idx val="13"/>
              <c:tx>
                <c:rich>
                  <a:bodyPr/>
                  <a:lstStyle/>
                  <a:p>
                    <a:fld id="{9430DF16-A90A-4C04-BFD7-069D1B9EE9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26FB-4B52-8D72-D56D618E8EAF}"/>
                </c:ext>
              </c:extLst>
            </c:dLbl>
            <c:dLbl>
              <c:idx val="14"/>
              <c:tx>
                <c:rich>
                  <a:bodyPr/>
                  <a:lstStyle/>
                  <a:p>
                    <a:fld id="{0E78279C-8AE5-446A-82F0-B10F63F95C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26FB-4B52-8D72-D56D618E8EAF}"/>
                </c:ext>
              </c:extLst>
            </c:dLbl>
            <c:dLbl>
              <c:idx val="15"/>
              <c:tx>
                <c:rich>
                  <a:bodyPr/>
                  <a:lstStyle/>
                  <a:p>
                    <a:fld id="{36041618-1DB1-4B4D-B470-A028E7F134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26FB-4B52-8D72-D56D618E8EAF}"/>
                </c:ext>
              </c:extLst>
            </c:dLbl>
            <c:dLbl>
              <c:idx val="16"/>
              <c:tx>
                <c:rich>
                  <a:bodyPr/>
                  <a:lstStyle/>
                  <a:p>
                    <a:fld id="{1961C2BE-B78F-4CB8-858F-8818668DA8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0A6E-4C83-9A06-9C3309B2855E}"/>
                </c:ext>
              </c:extLst>
            </c:dLbl>
            <c:dLbl>
              <c:idx val="17"/>
              <c:tx>
                <c:rich>
                  <a:bodyPr/>
                  <a:lstStyle/>
                  <a:p>
                    <a:fld id="{4E069272-47BE-4534-9498-C4859EE2AE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0A6E-4C83-9A06-9C3309B2855E}"/>
                </c:ext>
              </c:extLst>
            </c:dLbl>
            <c:dLbl>
              <c:idx val="18"/>
              <c:tx>
                <c:rich>
                  <a:bodyPr/>
                  <a:lstStyle/>
                  <a:p>
                    <a:fld id="{3634FE8C-2BA1-443E-B608-9F6B9A9559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0A6E-4C83-9A06-9C3309B2855E}"/>
                </c:ext>
              </c:extLst>
            </c:dLbl>
            <c:dLbl>
              <c:idx val="19"/>
              <c:tx>
                <c:rich>
                  <a:bodyPr/>
                  <a:lstStyle/>
                  <a:p>
                    <a:fld id="{57329D50-7880-467F-8122-16E8639B11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0A6E-4C83-9A06-9C3309B2855E}"/>
                </c:ext>
              </c:extLst>
            </c:dLbl>
            <c:dLbl>
              <c:idx val="20"/>
              <c:tx>
                <c:rich>
                  <a:bodyPr/>
                  <a:lstStyle/>
                  <a:p>
                    <a:fld id="{907F9BBC-3150-4B1A-8307-13094D2AF2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5AD-4BCF-9CB2-60EDA2D7DB42}"/>
                </c:ext>
              </c:extLst>
            </c:dLbl>
            <c:dLbl>
              <c:idx val="21"/>
              <c:tx>
                <c:rich>
                  <a:bodyPr/>
                  <a:lstStyle/>
                  <a:p>
                    <a:fld id="{1F9CA3CB-F98D-44FA-A445-0EFFB5781B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5AD-4BCF-9CB2-60EDA2D7DB42}"/>
                </c:ext>
              </c:extLst>
            </c:dLbl>
            <c:dLbl>
              <c:idx val="22"/>
              <c:tx>
                <c:rich>
                  <a:bodyPr/>
                  <a:lstStyle/>
                  <a:p>
                    <a:fld id="{26E66E0C-2659-4EA6-AE98-97868A5DB5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5AD-4BCF-9CB2-60EDA2D7DB42}"/>
                </c:ext>
              </c:extLst>
            </c:dLbl>
            <c:dLbl>
              <c:idx val="23"/>
              <c:tx>
                <c:rich>
                  <a:bodyPr/>
                  <a:lstStyle/>
                  <a:p>
                    <a:fld id="{B182AEDF-7A64-48AB-B761-E9796DEC2B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5AD-4BCF-9CB2-60EDA2D7DB42}"/>
                </c:ext>
              </c:extLst>
            </c:dLbl>
            <c:dLbl>
              <c:idx val="24"/>
              <c:tx>
                <c:rich>
                  <a:bodyPr/>
                  <a:lstStyle/>
                  <a:p>
                    <a:fld id="{927ADDF8-83C0-4BF1-800C-ED8C233C56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0A6E-4C83-9A06-9C3309B2855E}"/>
                </c:ext>
              </c:extLst>
            </c:dLbl>
            <c:dLbl>
              <c:idx val="25"/>
              <c:tx>
                <c:rich>
                  <a:bodyPr/>
                  <a:lstStyle/>
                  <a:p>
                    <a:fld id="{E24E8018-E149-4624-9AFA-9D3BCD917E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4D12-44DE-B956-CABCB15EBC04}"/>
                </c:ext>
              </c:extLst>
            </c:dLbl>
            <c:dLbl>
              <c:idx val="26"/>
              <c:tx>
                <c:rich>
                  <a:bodyPr/>
                  <a:lstStyle/>
                  <a:p>
                    <a:fld id="{F7D3A7CA-0E24-43E9-9A40-1A47DD49CF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D12-44DE-B956-CABCB15EBC04}"/>
                </c:ext>
              </c:extLst>
            </c:dLbl>
            <c:dLbl>
              <c:idx val="27"/>
              <c:tx>
                <c:rich>
                  <a:bodyPr/>
                  <a:lstStyle/>
                  <a:p>
                    <a:fld id="{7294934E-2B24-4DAB-A375-B87378808B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D12-44DE-B956-CABCB15EBC04}"/>
                </c:ext>
              </c:extLst>
            </c:dLbl>
            <c:dLbl>
              <c:idx val="28"/>
              <c:tx>
                <c:rich>
                  <a:bodyPr/>
                  <a:lstStyle/>
                  <a:p>
                    <a:fld id="{9CFBF685-2D11-47D1-A636-D834C2053E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D12-44DE-B956-CABCB15EBC04}"/>
                </c:ext>
              </c:extLst>
            </c:dLbl>
            <c:dLbl>
              <c:idx val="29"/>
              <c:tx>
                <c:rich>
                  <a:bodyPr/>
                  <a:lstStyle/>
                  <a:p>
                    <a:fld id="{FF44A3D8-AC32-4F9C-A9CE-240028CB27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8F47-486F-B734-6012CEA493B3}"/>
                </c:ext>
              </c:extLst>
            </c:dLbl>
            <c:dLbl>
              <c:idx val="30"/>
              <c:tx>
                <c:rich>
                  <a:bodyPr/>
                  <a:lstStyle/>
                  <a:p>
                    <a:fld id="{7108C7F4-18A1-4D77-9DF3-74F3A61773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D12-44DE-B956-CABCB15EBC04}"/>
                </c:ext>
              </c:extLst>
            </c:dLbl>
            <c:dLbl>
              <c:idx val="31"/>
              <c:tx>
                <c:rich>
                  <a:bodyPr/>
                  <a:lstStyle/>
                  <a:p>
                    <a:fld id="{93E5291E-2D8B-4E6D-B943-8831168113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D12-44DE-B956-CABCB15EBC04}"/>
                </c:ext>
              </c:extLst>
            </c:dLbl>
            <c:dLbl>
              <c:idx val="32"/>
              <c:tx>
                <c:rich>
                  <a:bodyPr/>
                  <a:lstStyle/>
                  <a:p>
                    <a:fld id="{65F5EDD4-0DA7-4B6A-A8C9-FD35FB0A23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D12-44DE-B956-CABCB15EBC04}"/>
                </c:ext>
              </c:extLst>
            </c:dLbl>
            <c:dLbl>
              <c:idx val="33"/>
              <c:tx>
                <c:rich>
                  <a:bodyPr/>
                  <a:lstStyle/>
                  <a:p>
                    <a:fld id="{F5B1E497-91A7-4405-B14A-991DE493C6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D12-44DE-B956-CABCB15EBC04}"/>
                </c:ext>
              </c:extLst>
            </c:dLbl>
            <c:dLbl>
              <c:idx val="34"/>
              <c:tx>
                <c:rich>
                  <a:bodyPr/>
                  <a:lstStyle/>
                  <a:p>
                    <a:fld id="{5E6A5412-AF66-4BDB-A3F0-20D1B3172E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D12-44DE-B956-CABCB15EBC04}"/>
                </c:ext>
              </c:extLst>
            </c:dLbl>
            <c:dLbl>
              <c:idx val="35"/>
              <c:tx>
                <c:rich>
                  <a:bodyPr/>
                  <a:lstStyle/>
                  <a:p>
                    <a:fld id="{1DE8A924-157D-4ED9-B9E6-92F7BF0D9A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4D12-44DE-B956-CABCB15EBC04}"/>
                </c:ext>
              </c:extLst>
            </c:dLbl>
            <c:dLbl>
              <c:idx val="36"/>
              <c:tx>
                <c:rich>
                  <a:bodyPr/>
                  <a:lstStyle/>
                  <a:p>
                    <a:fld id="{7C93EB3F-5C99-4EC5-A9DC-4B4F6E14DB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4D12-44DE-B956-CABCB15EBC04}"/>
                </c:ext>
              </c:extLst>
            </c:dLbl>
            <c:dLbl>
              <c:idx val="37"/>
              <c:tx>
                <c:rich>
                  <a:bodyPr/>
                  <a:lstStyle/>
                  <a:p>
                    <a:fld id="{492287C7-A089-43F8-8162-641207E080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4D12-44DE-B956-CABCB15EBC04}"/>
                </c:ext>
              </c:extLst>
            </c:dLbl>
            <c:dLbl>
              <c:idx val="38"/>
              <c:tx>
                <c:rich>
                  <a:bodyPr/>
                  <a:lstStyle/>
                  <a:p>
                    <a:fld id="{10FA11CE-2FA8-4081-BF53-295F0BB226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4D12-44DE-B956-CABCB15EBC04}"/>
                </c:ext>
              </c:extLst>
            </c:dLbl>
            <c:dLbl>
              <c:idx val="39"/>
              <c:tx>
                <c:rich>
                  <a:bodyPr/>
                  <a:lstStyle/>
                  <a:p>
                    <a:fld id="{C3B4394D-C9ED-4634-9AF0-A7EFDA93E4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4D12-44DE-B956-CABCB15EBC04}"/>
                </c:ext>
              </c:extLst>
            </c:dLbl>
            <c:dLbl>
              <c:idx val="40"/>
              <c:tx>
                <c:rich>
                  <a:bodyPr/>
                  <a:lstStyle/>
                  <a:p>
                    <a:fld id="{F3183DB7-CEA3-44DE-B071-090F34D6E3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4D12-44DE-B956-CABCB15EBC04}"/>
                </c:ext>
              </c:extLst>
            </c:dLbl>
            <c:dLbl>
              <c:idx val="41"/>
              <c:tx>
                <c:rich>
                  <a:bodyPr/>
                  <a:lstStyle/>
                  <a:p>
                    <a:fld id="{08D7275B-DBE0-4EA3-B49A-8CF1B9ADB6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4D12-44DE-B956-CABCB15EBC04}"/>
                </c:ext>
              </c:extLst>
            </c:dLbl>
            <c:dLbl>
              <c:idx val="42"/>
              <c:tx>
                <c:rich>
                  <a:bodyPr/>
                  <a:lstStyle/>
                  <a:p>
                    <a:fld id="{DB78C127-6C63-4C8F-9CD0-3905D13A85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4D12-44DE-B956-CABCB15EBC04}"/>
                </c:ext>
              </c:extLst>
            </c:dLbl>
            <c:dLbl>
              <c:idx val="43"/>
              <c:tx>
                <c:rich>
                  <a:bodyPr/>
                  <a:lstStyle/>
                  <a:p>
                    <a:fld id="{A5200480-F45E-4B4E-877A-46D758E47A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4D12-44DE-B956-CABCB15EBC04}"/>
                </c:ext>
              </c:extLst>
            </c:dLbl>
            <c:dLbl>
              <c:idx val="44"/>
              <c:tx>
                <c:rich>
                  <a:bodyPr/>
                  <a:lstStyle/>
                  <a:p>
                    <a:fld id="{1704A586-7D53-4B80-842D-C10D4AD759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4D12-44DE-B956-CABCB15EBC04}"/>
                </c:ext>
              </c:extLst>
            </c:dLbl>
            <c:dLbl>
              <c:idx val="45"/>
              <c:tx>
                <c:rich>
                  <a:bodyPr/>
                  <a:lstStyle/>
                  <a:p>
                    <a:fld id="{DED8BBFD-A4AB-41DD-8629-65A25122B4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4D12-44DE-B956-CABCB15EBC04}"/>
                </c:ext>
              </c:extLst>
            </c:dLbl>
            <c:dLbl>
              <c:idx val="46"/>
              <c:tx>
                <c:rich>
                  <a:bodyPr/>
                  <a:lstStyle/>
                  <a:p>
                    <a:fld id="{12D11439-8910-4420-AF6D-D3758941C8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4D12-44DE-B956-CABCB15EBC04}"/>
                </c:ext>
              </c:extLst>
            </c:dLbl>
            <c:dLbl>
              <c:idx val="47"/>
              <c:tx>
                <c:rich>
                  <a:bodyPr/>
                  <a:lstStyle/>
                  <a:p>
                    <a:fld id="{74C28104-B6E1-4395-8B78-351CF08ECE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4D12-44DE-B956-CABCB15EBC04}"/>
                </c:ext>
              </c:extLst>
            </c:dLbl>
            <c:dLbl>
              <c:idx val="48"/>
              <c:tx>
                <c:rich>
                  <a:bodyPr/>
                  <a:lstStyle/>
                  <a:p>
                    <a:fld id="{1ACD688C-2CCC-4396-8732-87E50255EE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4D12-44DE-B956-CABCB15EBC04}"/>
                </c:ext>
              </c:extLst>
            </c:dLbl>
            <c:dLbl>
              <c:idx val="49"/>
              <c:tx>
                <c:rich>
                  <a:bodyPr/>
                  <a:lstStyle/>
                  <a:p>
                    <a:fld id="{350409FE-FC78-40DA-B0C3-86A8BBA35A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4D12-44DE-B956-CABCB15EBC04}"/>
                </c:ext>
              </c:extLst>
            </c:dLbl>
            <c:dLbl>
              <c:idx val="50"/>
              <c:tx>
                <c:rich>
                  <a:bodyPr/>
                  <a:lstStyle/>
                  <a:p>
                    <a:fld id="{79F30FF6-3384-4E95-9947-14A6CC5E9B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4D12-44DE-B956-CABCB15EBC04}"/>
                </c:ext>
              </c:extLst>
            </c:dLbl>
            <c:dLbl>
              <c:idx val="51"/>
              <c:tx>
                <c:rich>
                  <a:bodyPr/>
                  <a:lstStyle/>
                  <a:p>
                    <a:fld id="{ED6F08FE-9B67-4135-B49B-0B6C233580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4D12-44DE-B956-CABCB15EBC04}"/>
                </c:ext>
              </c:extLst>
            </c:dLbl>
            <c:dLbl>
              <c:idx val="52"/>
              <c:tx>
                <c:rich>
                  <a:bodyPr/>
                  <a:lstStyle/>
                  <a:p>
                    <a:fld id="{CF53B165-7B77-456A-A94E-2FD4EEF4FD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4D12-44DE-B956-CABCB15EBC04}"/>
                </c:ext>
              </c:extLst>
            </c:dLbl>
            <c:dLbl>
              <c:idx val="53"/>
              <c:tx>
                <c:rich>
                  <a:bodyPr/>
                  <a:lstStyle/>
                  <a:p>
                    <a:fld id="{E6E5D179-4107-4E90-A53E-7B732D0723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4D12-44DE-B956-CABCB15EBC04}"/>
                </c:ext>
              </c:extLst>
            </c:dLbl>
            <c:dLbl>
              <c:idx val="54"/>
              <c:tx>
                <c:rich>
                  <a:bodyPr/>
                  <a:lstStyle/>
                  <a:p>
                    <a:fld id="{FD0E5B87-245A-4E89-BBAA-03CC063478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4D12-44DE-B956-CABCB15EBC04}"/>
                </c:ext>
              </c:extLst>
            </c:dLbl>
            <c:dLbl>
              <c:idx val="55"/>
              <c:tx>
                <c:rich>
                  <a:bodyPr/>
                  <a:lstStyle/>
                  <a:p>
                    <a:fld id="{29AA09A0-5F6D-458A-8B7D-0EB758A730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D12-44DE-B956-CABCB15EBC04}"/>
                </c:ext>
              </c:extLst>
            </c:dLbl>
            <c:dLbl>
              <c:idx val="56"/>
              <c:tx>
                <c:rich>
                  <a:bodyPr/>
                  <a:lstStyle/>
                  <a:p>
                    <a:fld id="{4C55972D-64B1-40B9-BFA0-5DD6CA5A56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8E3F-4D1B-A313-C02BEC0FDBD1}"/>
                </c:ext>
              </c:extLst>
            </c:dLbl>
            <c:dLbl>
              <c:idx val="57"/>
              <c:tx>
                <c:rich>
                  <a:bodyPr/>
                  <a:lstStyle/>
                  <a:p>
                    <a:fld id="{4239FCAF-731F-42CE-A466-2809D378BC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8E3F-4D1B-A313-C02BEC0FDBD1}"/>
                </c:ext>
              </c:extLst>
            </c:dLbl>
            <c:dLbl>
              <c:idx val="58"/>
              <c:tx>
                <c:rich>
                  <a:bodyPr/>
                  <a:lstStyle/>
                  <a:p>
                    <a:fld id="{A5B24E06-F068-4130-9ECF-72F43DCC8C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8E3F-4D1B-A313-C02BEC0FDBD1}"/>
                </c:ext>
              </c:extLst>
            </c:dLbl>
            <c:dLbl>
              <c:idx val="59"/>
              <c:tx>
                <c:rich>
                  <a:bodyPr/>
                  <a:lstStyle/>
                  <a:p>
                    <a:fld id="{CA3C80DA-C46D-4626-8F1F-46DFCE4D28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8E3F-4D1B-A313-C02BEC0FDBD1}"/>
                </c:ext>
              </c:extLst>
            </c:dLbl>
            <c:dLbl>
              <c:idx val="60"/>
              <c:tx>
                <c:rich>
                  <a:bodyPr/>
                  <a:lstStyle/>
                  <a:p>
                    <a:fld id="{B2F46DB7-51D7-431A-9DE7-A579B6E94B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8E3F-4D1B-A313-C02BEC0FDBD1}"/>
                </c:ext>
              </c:extLst>
            </c:dLbl>
            <c:dLbl>
              <c:idx val="61"/>
              <c:tx>
                <c:rich>
                  <a:bodyPr/>
                  <a:lstStyle/>
                  <a:p>
                    <a:fld id="{7838F07F-560C-47BA-8A5A-E6E1F61AF5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8E3F-4D1B-A313-C02BEC0FDBD1}"/>
                </c:ext>
              </c:extLst>
            </c:dLbl>
            <c:dLbl>
              <c:idx val="62"/>
              <c:tx>
                <c:rich>
                  <a:bodyPr/>
                  <a:lstStyle/>
                  <a:p>
                    <a:fld id="{1C75AFBF-D680-409F-9BB1-7E3877AAFB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8E3F-4D1B-A313-C02BEC0FDBD1}"/>
                </c:ext>
              </c:extLst>
            </c:dLbl>
            <c:dLbl>
              <c:idx val="63"/>
              <c:tx>
                <c:rich>
                  <a:bodyPr/>
                  <a:lstStyle/>
                  <a:p>
                    <a:fld id="{FBEDF649-9801-4BFA-9459-7BD3D05475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8E3F-4D1B-A313-C02BEC0FDBD1}"/>
                </c:ext>
              </c:extLst>
            </c:dLbl>
            <c:dLbl>
              <c:idx val="64"/>
              <c:tx>
                <c:rich>
                  <a:bodyPr/>
                  <a:lstStyle/>
                  <a:p>
                    <a:fld id="{B2249BF2-115C-41FC-BD17-89EA9CED9D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8E3F-4D1B-A313-C02BEC0FDBD1}"/>
                </c:ext>
              </c:extLst>
            </c:dLbl>
            <c:dLbl>
              <c:idx val="65"/>
              <c:tx>
                <c:rich>
                  <a:bodyPr/>
                  <a:lstStyle/>
                  <a:p>
                    <a:fld id="{02377FC4-EF98-43F6-8237-C9480DC7FB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8E3F-4D1B-A313-C02BEC0FDBD1}"/>
                </c:ext>
              </c:extLst>
            </c:dLbl>
            <c:dLbl>
              <c:idx val="66"/>
              <c:tx>
                <c:rich>
                  <a:bodyPr/>
                  <a:lstStyle/>
                  <a:p>
                    <a:fld id="{F51F5F61-C8F6-47FE-8713-54AEE7A1A1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8E3F-4D1B-A313-C02BEC0FDBD1}"/>
                </c:ext>
              </c:extLst>
            </c:dLbl>
            <c:dLbl>
              <c:idx val="67"/>
              <c:tx>
                <c:rich>
                  <a:bodyPr/>
                  <a:lstStyle/>
                  <a:p>
                    <a:fld id="{EF57D3A0-710A-4186-B8B2-A30CD286E4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8E3F-4D1B-A313-C02BEC0FDBD1}"/>
                </c:ext>
              </c:extLst>
            </c:dLbl>
            <c:dLbl>
              <c:idx val="68"/>
              <c:tx>
                <c:rich>
                  <a:bodyPr/>
                  <a:lstStyle/>
                  <a:p>
                    <a:fld id="{41F7963B-F1D1-4335-A17D-86CEA7F38D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8E3F-4D1B-A313-C02BEC0FDBD1}"/>
                </c:ext>
              </c:extLst>
            </c:dLbl>
            <c:dLbl>
              <c:idx val="69"/>
              <c:tx>
                <c:rich>
                  <a:bodyPr/>
                  <a:lstStyle/>
                  <a:p>
                    <a:fld id="{6E526FF0-1F86-4AFC-843D-4CB108B928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8E3F-4D1B-A313-C02BEC0FDBD1}"/>
                </c:ext>
              </c:extLst>
            </c:dLbl>
            <c:dLbl>
              <c:idx val="70"/>
              <c:tx>
                <c:rich>
                  <a:bodyPr/>
                  <a:lstStyle/>
                  <a:p>
                    <a:fld id="{5C147231-4521-4DBE-8CD8-6855B8342C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8E3F-4D1B-A313-C02BEC0FDBD1}"/>
                </c:ext>
              </c:extLst>
            </c:dLbl>
            <c:dLbl>
              <c:idx val="71"/>
              <c:tx>
                <c:rich>
                  <a:bodyPr/>
                  <a:lstStyle/>
                  <a:p>
                    <a:fld id="{7DC48A83-B884-4DD5-8BB1-2BB6C6DD30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8E3F-4D1B-A313-C02BEC0FDBD1}"/>
                </c:ext>
              </c:extLst>
            </c:dLbl>
            <c:dLbl>
              <c:idx val="72"/>
              <c:tx>
                <c:rich>
                  <a:bodyPr/>
                  <a:lstStyle/>
                  <a:p>
                    <a:fld id="{5040A34A-888E-43A2-930C-16A5F06570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8E3F-4D1B-A313-C02BEC0FDBD1}"/>
                </c:ext>
              </c:extLst>
            </c:dLbl>
            <c:dLbl>
              <c:idx val="73"/>
              <c:tx>
                <c:rich>
                  <a:bodyPr/>
                  <a:lstStyle/>
                  <a:p>
                    <a:fld id="{A2FB46F4-5CCA-4199-8FBB-EE566B8C20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8E3F-4D1B-A313-C02BEC0FDBD1}"/>
                </c:ext>
              </c:extLst>
            </c:dLbl>
            <c:dLbl>
              <c:idx val="74"/>
              <c:tx>
                <c:rich>
                  <a:bodyPr/>
                  <a:lstStyle/>
                  <a:p>
                    <a:fld id="{80AB5B69-00CD-4822-BCF9-40AB5BB836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8E3F-4D1B-A313-C02BEC0FDBD1}"/>
                </c:ext>
              </c:extLst>
            </c:dLbl>
            <c:dLbl>
              <c:idx val="75"/>
              <c:tx>
                <c:rich>
                  <a:bodyPr/>
                  <a:lstStyle/>
                  <a:p>
                    <a:fld id="{070B4937-9538-47BA-A230-5A14FD8454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8E3F-4D1B-A313-C02BEC0FDBD1}"/>
                </c:ext>
              </c:extLst>
            </c:dLbl>
            <c:dLbl>
              <c:idx val="76"/>
              <c:tx>
                <c:rich>
                  <a:bodyPr/>
                  <a:lstStyle/>
                  <a:p>
                    <a:fld id="{983BC287-203B-40DB-A690-31451400D7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8E3F-4D1B-A313-C02BEC0FDBD1}"/>
                </c:ext>
              </c:extLst>
            </c:dLbl>
            <c:dLbl>
              <c:idx val="77"/>
              <c:tx>
                <c:rich>
                  <a:bodyPr/>
                  <a:lstStyle/>
                  <a:p>
                    <a:fld id="{6976AA59-5513-4DFB-80AF-C02A1FEB8B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8E3F-4D1B-A313-C02BEC0FDBD1}"/>
                </c:ext>
              </c:extLst>
            </c:dLbl>
            <c:dLbl>
              <c:idx val="78"/>
              <c:tx>
                <c:rich>
                  <a:bodyPr/>
                  <a:lstStyle/>
                  <a:p>
                    <a:fld id="{50B79D9A-61CC-45B3-9731-B3B16E4570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8E3F-4D1B-A313-C02BEC0FDBD1}"/>
                </c:ext>
              </c:extLst>
            </c:dLbl>
            <c:dLbl>
              <c:idx val="79"/>
              <c:tx>
                <c:rich>
                  <a:bodyPr/>
                  <a:lstStyle/>
                  <a:p>
                    <a:fld id="{1F3EF924-4E3F-4CB1-BF1D-1D8DB86055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8E3F-4D1B-A313-C02BEC0FDBD1}"/>
                </c:ext>
              </c:extLst>
            </c:dLbl>
            <c:dLbl>
              <c:idx val="80"/>
              <c:tx>
                <c:rich>
                  <a:bodyPr/>
                  <a:lstStyle/>
                  <a:p>
                    <a:fld id="{245358B7-5D14-4B2E-9529-CA9425E175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8E3F-4D1B-A313-C02BEC0FDBD1}"/>
                </c:ext>
              </c:extLst>
            </c:dLbl>
            <c:dLbl>
              <c:idx val="81"/>
              <c:tx>
                <c:rich>
                  <a:bodyPr/>
                  <a:lstStyle/>
                  <a:p>
                    <a:fld id="{C0B0D455-F310-44DE-8056-76BD935BF3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9-8E3F-4D1B-A313-C02BEC0FDBD1}"/>
                </c:ext>
              </c:extLst>
            </c:dLbl>
            <c:dLbl>
              <c:idx val="82"/>
              <c:tx>
                <c:rich>
                  <a:bodyPr/>
                  <a:lstStyle/>
                  <a:p>
                    <a:fld id="{3D3158D4-A3B7-4B4C-B851-7C2393F5E6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A-8E3F-4D1B-A313-C02BEC0FDBD1}"/>
                </c:ext>
              </c:extLst>
            </c:dLbl>
            <c:dLbl>
              <c:idx val="83"/>
              <c:tx>
                <c:rich>
                  <a:bodyPr/>
                  <a:lstStyle/>
                  <a:p>
                    <a:fld id="{0AD6B1EF-284A-4AC9-BC7B-F88FCAF73E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B-8E3F-4D1B-A313-C02BEC0FDBD1}"/>
                </c:ext>
              </c:extLst>
            </c:dLbl>
            <c:dLbl>
              <c:idx val="84"/>
              <c:tx>
                <c:rich>
                  <a:bodyPr/>
                  <a:lstStyle/>
                  <a:p>
                    <a:fld id="{3969DE1E-F05B-4A79-ADD5-2AE56DCBFF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C-8E3F-4D1B-A313-C02BEC0FDBD1}"/>
                </c:ext>
              </c:extLst>
            </c:dLbl>
            <c:dLbl>
              <c:idx val="85"/>
              <c:tx>
                <c:rich>
                  <a:bodyPr/>
                  <a:lstStyle/>
                  <a:p>
                    <a:fld id="{A1913F5F-E269-4A5F-9DC5-38E7462FEE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D-8E3F-4D1B-A313-C02BEC0FDBD1}"/>
                </c:ext>
              </c:extLst>
            </c:dLbl>
            <c:dLbl>
              <c:idx val="86"/>
              <c:tx>
                <c:rich>
                  <a:bodyPr/>
                  <a:lstStyle/>
                  <a:p>
                    <a:fld id="{D2AED3E4-23DF-416E-9E3E-499CDB286D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E-8E3F-4D1B-A313-C02BEC0FDBD1}"/>
                </c:ext>
              </c:extLst>
            </c:dLbl>
            <c:dLbl>
              <c:idx val="87"/>
              <c:tx>
                <c:rich>
                  <a:bodyPr/>
                  <a:lstStyle/>
                  <a:p>
                    <a:fld id="{2A959137-057B-442F-A0A7-1D48DE133B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F-8E3F-4D1B-A313-C02BEC0FDBD1}"/>
                </c:ext>
              </c:extLst>
            </c:dLbl>
            <c:dLbl>
              <c:idx val="88"/>
              <c:tx>
                <c:rich>
                  <a:bodyPr/>
                  <a:lstStyle/>
                  <a:p>
                    <a:fld id="{7B759639-956C-42E4-B744-4B6B4DB084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0-8E3F-4D1B-A313-C02BEC0FDBD1}"/>
                </c:ext>
              </c:extLst>
            </c:dLbl>
            <c:dLbl>
              <c:idx val="89"/>
              <c:tx>
                <c:rich>
                  <a:bodyPr/>
                  <a:lstStyle/>
                  <a:p>
                    <a:fld id="{65F9E2CF-AB6B-474D-A498-F10CD2C955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1-8E3F-4D1B-A313-C02BEC0FDBD1}"/>
                </c:ext>
              </c:extLst>
            </c:dLbl>
            <c:dLbl>
              <c:idx val="90"/>
              <c:tx>
                <c:rich>
                  <a:bodyPr/>
                  <a:lstStyle/>
                  <a:p>
                    <a:fld id="{79613686-485E-48A7-B832-152EF183BA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2-8E3F-4D1B-A313-C02BEC0FDBD1}"/>
                </c:ext>
              </c:extLst>
            </c:dLbl>
            <c:dLbl>
              <c:idx val="91"/>
              <c:tx>
                <c:rich>
                  <a:bodyPr/>
                  <a:lstStyle/>
                  <a:p>
                    <a:fld id="{DCF510E6-9CD0-4A78-A77D-D6C8312348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3-8E3F-4D1B-A313-C02BEC0FDBD1}"/>
                </c:ext>
              </c:extLst>
            </c:dLbl>
            <c:dLbl>
              <c:idx val="92"/>
              <c:tx>
                <c:rich>
                  <a:bodyPr/>
                  <a:lstStyle/>
                  <a:p>
                    <a:fld id="{5E6F6556-34C9-4E52-96B4-F53E1D982A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4-8E3F-4D1B-A313-C02BEC0FDBD1}"/>
                </c:ext>
              </c:extLst>
            </c:dLbl>
            <c:dLbl>
              <c:idx val="93"/>
              <c:tx>
                <c:rich>
                  <a:bodyPr/>
                  <a:lstStyle/>
                  <a:p>
                    <a:fld id="{B7A1A6FD-2C09-4CEA-83A1-47A2D406F9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5-8E3F-4D1B-A313-C02BEC0FDBD1}"/>
                </c:ext>
              </c:extLst>
            </c:dLbl>
            <c:dLbl>
              <c:idx val="94"/>
              <c:tx>
                <c:rich>
                  <a:bodyPr/>
                  <a:lstStyle/>
                  <a:p>
                    <a:fld id="{DFF970B2-53A9-4FFE-AB6F-4354767184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6-8E3F-4D1B-A313-C02BEC0FDBD1}"/>
                </c:ext>
              </c:extLst>
            </c:dLbl>
            <c:dLbl>
              <c:idx val="95"/>
              <c:tx>
                <c:rich>
                  <a:bodyPr/>
                  <a:lstStyle/>
                  <a:p>
                    <a:fld id="{D6B0900C-4D23-4D7B-A396-2C2DADD294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7-8E3F-4D1B-A313-C02BEC0FDBD1}"/>
                </c:ext>
              </c:extLst>
            </c:dLbl>
            <c:dLbl>
              <c:idx val="96"/>
              <c:tx>
                <c:rich>
                  <a:bodyPr/>
                  <a:lstStyle/>
                  <a:p>
                    <a:fld id="{70DEA408-42E0-4F87-A116-386F1DE942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8-8E3F-4D1B-A313-C02BEC0FDBD1}"/>
                </c:ext>
              </c:extLst>
            </c:dLbl>
            <c:dLbl>
              <c:idx val="97"/>
              <c:tx>
                <c:rich>
                  <a:bodyPr/>
                  <a:lstStyle/>
                  <a:p>
                    <a:fld id="{71CBC6D1-E1C1-41F2-88B0-3B33AF5B94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9-8E3F-4D1B-A313-C02BEC0FDBD1}"/>
                </c:ext>
              </c:extLst>
            </c:dLbl>
            <c:dLbl>
              <c:idx val="98"/>
              <c:tx>
                <c:rich>
                  <a:bodyPr/>
                  <a:lstStyle/>
                  <a:p>
                    <a:fld id="{1CAA5510-649D-4D0E-8648-1B0E01F646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A-8E3F-4D1B-A313-C02BEC0FDBD1}"/>
                </c:ext>
              </c:extLst>
            </c:dLbl>
            <c:dLbl>
              <c:idx val="99"/>
              <c:tx>
                <c:rich>
                  <a:bodyPr/>
                  <a:lstStyle/>
                  <a:p>
                    <a:fld id="{B564B867-28C5-4F94-8502-4AD6FADB79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B-8E3F-4D1B-A313-C02BEC0FDBD1}"/>
                </c:ext>
              </c:extLst>
            </c:dLbl>
            <c:dLbl>
              <c:idx val="100"/>
              <c:tx>
                <c:rich>
                  <a:bodyPr/>
                  <a:lstStyle/>
                  <a:p>
                    <a:fld id="{B21FB7E4-5139-42AB-9FBA-24E2C1AB17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C-8E3F-4D1B-A313-C02BEC0FDBD1}"/>
                </c:ext>
              </c:extLst>
            </c:dLbl>
            <c:dLbl>
              <c:idx val="101"/>
              <c:tx>
                <c:rich>
                  <a:bodyPr/>
                  <a:lstStyle/>
                  <a:p>
                    <a:fld id="{4560FD15-349C-4482-97C7-CD7DEB906C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D-8E3F-4D1B-A313-C02BEC0FDBD1}"/>
                </c:ext>
              </c:extLst>
            </c:dLbl>
            <c:dLbl>
              <c:idx val="102"/>
              <c:tx>
                <c:rich>
                  <a:bodyPr/>
                  <a:lstStyle/>
                  <a:p>
                    <a:fld id="{E5E678CA-5829-459A-BC37-0590DA3CC5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E-8E3F-4D1B-A313-C02BEC0FDBD1}"/>
                </c:ext>
              </c:extLst>
            </c:dLbl>
            <c:dLbl>
              <c:idx val="103"/>
              <c:tx>
                <c:rich>
                  <a:bodyPr/>
                  <a:lstStyle/>
                  <a:p>
                    <a:fld id="{935748F5-DD86-42E8-8DFF-152967C051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F-8E3F-4D1B-A313-C02BEC0FDBD1}"/>
                </c:ext>
              </c:extLst>
            </c:dLbl>
            <c:dLbl>
              <c:idx val="104"/>
              <c:tx>
                <c:rich>
                  <a:bodyPr/>
                  <a:lstStyle/>
                  <a:p>
                    <a:fld id="{DFA18D20-A4A2-4780-B62E-A06D50774A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0-8E3F-4D1B-A313-C02BEC0FDBD1}"/>
                </c:ext>
              </c:extLst>
            </c:dLbl>
            <c:dLbl>
              <c:idx val="105"/>
              <c:tx>
                <c:rich>
                  <a:bodyPr/>
                  <a:lstStyle/>
                  <a:p>
                    <a:fld id="{77426E96-F086-4208-A262-170BFA0DE0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1-8E3F-4D1B-A313-C02BEC0FDBD1}"/>
                </c:ext>
              </c:extLst>
            </c:dLbl>
            <c:dLbl>
              <c:idx val="106"/>
              <c:tx>
                <c:rich>
                  <a:bodyPr/>
                  <a:lstStyle/>
                  <a:p>
                    <a:fld id="{C6BFC330-CB65-46A4-A2BC-FD24740954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2-8E3F-4D1B-A313-C02BEC0FDBD1}"/>
                </c:ext>
              </c:extLst>
            </c:dLbl>
            <c:dLbl>
              <c:idx val="107"/>
              <c:tx>
                <c:rich>
                  <a:bodyPr/>
                  <a:lstStyle/>
                  <a:p>
                    <a:fld id="{F5D6AD6E-2515-4B7E-B0A6-92079144A2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3-8E3F-4D1B-A313-C02BEC0FDBD1}"/>
                </c:ext>
              </c:extLst>
            </c:dLbl>
            <c:dLbl>
              <c:idx val="108"/>
              <c:tx>
                <c:rich>
                  <a:bodyPr/>
                  <a:lstStyle/>
                  <a:p>
                    <a:fld id="{E06B8A11-8169-4C93-904E-AA78C84DA6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4-8E3F-4D1B-A313-C02BEC0FDBD1}"/>
                </c:ext>
              </c:extLst>
            </c:dLbl>
            <c:dLbl>
              <c:idx val="109"/>
              <c:tx>
                <c:rich>
                  <a:bodyPr/>
                  <a:lstStyle/>
                  <a:p>
                    <a:fld id="{7360BED0-F3BB-40EA-B1E4-95935552E2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5-8E3F-4D1B-A313-C02BEC0FDBD1}"/>
                </c:ext>
              </c:extLst>
            </c:dLbl>
            <c:dLbl>
              <c:idx val="110"/>
              <c:tx>
                <c:rich>
                  <a:bodyPr/>
                  <a:lstStyle/>
                  <a:p>
                    <a:fld id="{81EA0895-CAA6-428E-B862-4F7E8BADE7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6-8E3F-4D1B-A313-C02BEC0FDBD1}"/>
                </c:ext>
              </c:extLst>
            </c:dLbl>
            <c:dLbl>
              <c:idx val="111"/>
              <c:tx>
                <c:rich>
                  <a:bodyPr/>
                  <a:lstStyle/>
                  <a:p>
                    <a:fld id="{C5E2BE70-0899-4C71-842D-0691F967D1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7-8E3F-4D1B-A313-C02BEC0FDBD1}"/>
                </c:ext>
              </c:extLst>
            </c:dLbl>
            <c:dLbl>
              <c:idx val="112"/>
              <c:tx>
                <c:rich>
                  <a:bodyPr/>
                  <a:lstStyle/>
                  <a:p>
                    <a:fld id="{E59020F0-A956-4F00-92CC-D93C79C8DA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8-8E3F-4D1B-A313-C02BEC0FDBD1}"/>
                </c:ext>
              </c:extLst>
            </c:dLbl>
            <c:dLbl>
              <c:idx val="113"/>
              <c:tx>
                <c:rich>
                  <a:bodyPr/>
                  <a:lstStyle/>
                  <a:p>
                    <a:fld id="{5FEEC470-D14F-453A-9DD0-739C6FAC10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9-8E3F-4D1B-A313-C02BEC0FDBD1}"/>
                </c:ext>
              </c:extLst>
            </c:dLbl>
            <c:dLbl>
              <c:idx val="114"/>
              <c:tx>
                <c:rich>
                  <a:bodyPr/>
                  <a:lstStyle/>
                  <a:p>
                    <a:fld id="{1657999B-C85D-4A84-96C1-7244289CD3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A-8E3F-4D1B-A313-C02BEC0FDBD1}"/>
                </c:ext>
              </c:extLst>
            </c:dLbl>
            <c:dLbl>
              <c:idx val="115"/>
              <c:tx>
                <c:rich>
                  <a:bodyPr/>
                  <a:lstStyle/>
                  <a:p>
                    <a:fld id="{24B5A33A-4AB1-4AAC-B465-79B7468570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B-8E3F-4D1B-A313-C02BEC0FDBD1}"/>
                </c:ext>
              </c:extLst>
            </c:dLbl>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9</c:f>
              <c:numCache>
                <c:formatCode>General</c:formatCode>
                <c:ptCount val="8"/>
                <c:pt idx="0">
                  <c:v>1</c:v>
                </c:pt>
                <c:pt idx="1">
                  <c:v>1</c:v>
                </c:pt>
                <c:pt idx="2">
                  <c:v>3</c:v>
                </c:pt>
                <c:pt idx="3">
                  <c:v>3</c:v>
                </c:pt>
                <c:pt idx="4">
                  <c:v>3</c:v>
                </c:pt>
                <c:pt idx="5">
                  <c:v>3</c:v>
                </c:pt>
                <c:pt idx="6">
                  <c:v>3</c:v>
                </c:pt>
                <c:pt idx="7">
                  <c:v>3</c:v>
                </c:pt>
              </c:numCache>
            </c:numRef>
          </c:xVal>
          <c:yVal>
            <c:numRef>
              <c:f>Sheet1!$B$2:$B$9</c:f>
              <c:numCache>
                <c:formatCode>General</c:formatCode>
                <c:ptCount val="8"/>
                <c:pt idx="0">
                  <c:v>0.1139647057603243</c:v>
                </c:pt>
                <c:pt idx="1">
                  <c:v>0.53170732834111545</c:v>
                </c:pt>
                <c:pt idx="2">
                  <c:v>0.26442389371198899</c:v>
                </c:pt>
                <c:pt idx="3">
                  <c:v>0</c:v>
                </c:pt>
                <c:pt idx="4">
                  <c:v>0.52050228670122045</c:v>
                </c:pt>
                <c:pt idx="5">
                  <c:v>-1.269199893030784E-3</c:v>
                </c:pt>
                <c:pt idx="6">
                  <c:v>0</c:v>
                </c:pt>
                <c:pt idx="7">
                  <c:v>0</c:v>
                </c:pt>
              </c:numCache>
            </c:numRef>
          </c:yVal>
          <c:bubbleSize>
            <c:numRef>
              <c:f>Sheet1!$C$2:$C$9</c:f>
              <c:numCache>
                <c:formatCode>General</c:formatCode>
                <c:ptCount val="8"/>
                <c:pt idx="0">
                  <c:v>8411779</c:v>
                </c:pt>
                <c:pt idx="1">
                  <c:v>892564</c:v>
                </c:pt>
                <c:pt idx="2">
                  <c:v>6219905</c:v>
                </c:pt>
                <c:pt idx="3">
                  <c:v>151938</c:v>
                </c:pt>
                <c:pt idx="4">
                  <c:v>1670207</c:v>
                </c:pt>
                <c:pt idx="5">
                  <c:v>899507</c:v>
                </c:pt>
                <c:pt idx="6">
                  <c:v>8373</c:v>
                </c:pt>
                <c:pt idx="7">
                  <c:v>51036</c:v>
                </c:pt>
              </c:numCache>
            </c:numRef>
          </c:bubbleSize>
          <c:bubble3D val="0"/>
          <c:extLst>
            <c:ext xmlns:c15="http://schemas.microsoft.com/office/drawing/2012/chart" uri="{02D57815-91ED-43cb-92C2-25804820EDAC}">
              <c15:datalabelsRange>
                <c15:f>Sheet1!$E$2:$E$150</c15:f>
                <c15:dlblRangeCache>
                  <c:ptCount val="149"/>
                  <c:pt idx="0">
                    <c:v>Gillette</c:v>
                  </c:pt>
                  <c:pt idx="1">
                    <c:v>Harry's</c:v>
                  </c:pt>
                  <c:pt idx="2">
                    <c:v>Gillette</c:v>
                  </c:pt>
                  <c:pt idx="3">
                    <c:v>Harry's</c:v>
                  </c:pt>
                  <c:pt idx="4">
                    <c:v>Schick</c:v>
                  </c:pt>
                  <c:pt idx="5">
                    <c:v>Dollar Shave Club</c:v>
                  </c:pt>
                  <c:pt idx="6">
                    <c:v>Van Der Hagen</c:v>
                  </c:pt>
                  <c:pt idx="7">
                    <c:v>Equate</c:v>
                  </c:pt>
                </c15:dlblRangeCache>
              </c15:datalabelsRange>
            </c:ext>
            <c:ext xmlns:c16="http://schemas.microsoft.com/office/drawing/2014/chart" uri="{C3380CC4-5D6E-409C-BE32-E72D297353CC}">
              <c16:uniqueId val="{00000026-26FB-4B52-8D72-D56D618E8EAF}"/>
            </c:ext>
          </c:extLst>
        </c:ser>
        <c:dLbls>
          <c:dLblPos val="ctr"/>
          <c:showLegendKey val="0"/>
          <c:showVal val="1"/>
          <c:showCatName val="0"/>
          <c:showSerName val="0"/>
          <c:showPercent val="0"/>
          <c:showBubbleSize val="0"/>
        </c:dLbls>
        <c:bubbleScale val="75"/>
        <c:showNegBubbles val="0"/>
        <c:axId val="804121775"/>
        <c:axId val="804116783"/>
      </c:bubbleChart>
      <c:valAx>
        <c:axId val="804121775"/>
        <c:scaling>
          <c:orientation val="minMax"/>
          <c:max val="4"/>
          <c:min val="0"/>
        </c:scaling>
        <c:delete val="0"/>
        <c:axPos val="b"/>
        <c:numFmt formatCode="0%" sourceLinked="0"/>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16783"/>
        <c:crosses val="autoZero"/>
        <c:crossBetween val="midCat"/>
        <c:minorUnit val="0.1"/>
      </c:valAx>
      <c:valAx>
        <c:axId val="804116783"/>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en-US" sz="800" dirty="0">
                    <a:solidFill>
                      <a:schemeClr val="tx1"/>
                    </a:solidFill>
                    <a:latin typeface="Nexa Bold" panose="00000800000000000000" pitchFamily="2" charset="0"/>
                  </a:rPr>
                  <a:t>Averag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Valu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uplift</a:t>
                </a:r>
                <a:endParaRPr lang="en-CH" sz="800" dirty="0">
                  <a:solidFill>
                    <a:schemeClr val="tx1"/>
                  </a:solidFill>
                  <a:latin typeface="Nexa Bold" panose="00000800000000000000" pitchFamily="2" charset="0"/>
                </a:endParaRPr>
              </a:p>
            </c:rich>
          </c:tx>
          <c:layout>
            <c:manualLayout>
              <c:xMode val="edge"/>
              <c:yMode val="edge"/>
              <c:x val="2.0811111111111117E-3"/>
              <c:y val="0.10078557265656676"/>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CH"/>
            </a:p>
          </c:txPr>
        </c:title>
        <c:numFmt formatCode="0%" sourceLinked="0"/>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21775"/>
        <c:crosses val="autoZero"/>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64864197530864"/>
          <c:y val="0.12152940918360107"/>
          <c:w val="0.83974691358024689"/>
          <c:h val="0.72254306602702423"/>
        </c:manualLayout>
      </c:layout>
      <c:bubbleChart>
        <c:varyColors val="0"/>
        <c:ser>
          <c:idx val="0"/>
          <c:order val="0"/>
          <c:tx>
            <c:strRef>
              <c:f>Sheet1!$B$1</c:f>
              <c:strCache>
                <c:ptCount val="1"/>
                <c:pt idx="0">
                  <c:v>Average Value Uplift</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26FB-4B52-8D72-D56D618E8EAF}"/>
              </c:ext>
            </c:extLst>
          </c:dPt>
          <c:dPt>
            <c:idx val="1"/>
            <c:invertIfNegative val="0"/>
            <c:bubble3D val="0"/>
            <c:spPr>
              <a:solidFill>
                <a:srgbClr val="E6E5E5"/>
              </a:solidFill>
              <a:ln>
                <a:noFill/>
              </a:ln>
              <a:effectLst/>
            </c:spPr>
            <c:extLst>
              <c:ext xmlns:c16="http://schemas.microsoft.com/office/drawing/2014/chart" uri="{C3380CC4-5D6E-409C-BE32-E72D297353CC}">
                <c16:uniqueId val="{00000003-26FB-4B52-8D72-D56D618E8EAF}"/>
              </c:ext>
            </c:extLst>
          </c:dPt>
          <c:dPt>
            <c:idx val="2"/>
            <c:invertIfNegative val="0"/>
            <c:bubble3D val="0"/>
            <c:spPr>
              <a:solidFill>
                <a:srgbClr val="E6E5E5"/>
              </a:solidFill>
              <a:ln>
                <a:noFill/>
              </a:ln>
              <a:effectLst/>
            </c:spPr>
            <c:extLst>
              <c:ext xmlns:c16="http://schemas.microsoft.com/office/drawing/2014/chart" uri="{C3380CC4-5D6E-409C-BE32-E72D297353CC}">
                <c16:uniqueId val="{00000005-26FB-4B52-8D72-D56D618E8EAF}"/>
              </c:ext>
            </c:extLst>
          </c:dPt>
          <c:dPt>
            <c:idx val="3"/>
            <c:invertIfNegative val="0"/>
            <c:bubble3D val="0"/>
            <c:spPr>
              <a:solidFill>
                <a:srgbClr val="7ECAC4"/>
              </a:solidFill>
              <a:ln>
                <a:noFill/>
              </a:ln>
              <a:effectLst/>
            </c:spPr>
            <c:extLst>
              <c:ext xmlns:c16="http://schemas.microsoft.com/office/drawing/2014/chart" uri="{C3380CC4-5D6E-409C-BE32-E72D297353CC}">
                <c16:uniqueId val="{00000007-26FB-4B52-8D72-D56D618E8EAF}"/>
              </c:ext>
            </c:extLst>
          </c:dPt>
          <c:dPt>
            <c:idx val="4"/>
            <c:invertIfNegative val="0"/>
            <c:bubble3D val="0"/>
            <c:spPr>
              <a:solidFill>
                <a:srgbClr val="E6E5E5"/>
              </a:solidFill>
              <a:ln>
                <a:noFill/>
              </a:ln>
              <a:effectLst/>
            </c:spPr>
            <c:extLst>
              <c:ext xmlns:c16="http://schemas.microsoft.com/office/drawing/2014/chart" uri="{C3380CC4-5D6E-409C-BE32-E72D297353CC}">
                <c16:uniqueId val="{00000009-26FB-4B52-8D72-D56D618E8EAF}"/>
              </c:ext>
            </c:extLst>
          </c:dPt>
          <c:dPt>
            <c:idx val="5"/>
            <c:invertIfNegative val="0"/>
            <c:bubble3D val="0"/>
            <c:spPr>
              <a:solidFill>
                <a:srgbClr val="7ECAC4"/>
              </a:solidFill>
              <a:ln>
                <a:noFill/>
              </a:ln>
              <a:effectLst/>
            </c:spPr>
            <c:extLst>
              <c:ext xmlns:c16="http://schemas.microsoft.com/office/drawing/2014/chart" uri="{C3380CC4-5D6E-409C-BE32-E72D297353CC}">
                <c16:uniqueId val="{0000000B-26FB-4B52-8D72-D56D618E8EAF}"/>
              </c:ext>
            </c:extLst>
          </c:dPt>
          <c:dPt>
            <c:idx val="6"/>
            <c:invertIfNegative val="0"/>
            <c:bubble3D val="0"/>
            <c:spPr>
              <a:solidFill>
                <a:srgbClr val="E6E5E5"/>
              </a:solidFill>
              <a:ln>
                <a:noFill/>
              </a:ln>
              <a:effectLst/>
            </c:spPr>
            <c:extLst>
              <c:ext xmlns:c16="http://schemas.microsoft.com/office/drawing/2014/chart" uri="{C3380CC4-5D6E-409C-BE32-E72D297353CC}">
                <c16:uniqueId val="{0000000D-26FB-4B52-8D72-D56D618E8EAF}"/>
              </c:ext>
            </c:extLst>
          </c:dPt>
          <c:dPt>
            <c:idx val="7"/>
            <c:invertIfNegative val="0"/>
            <c:bubble3D val="0"/>
            <c:spPr>
              <a:solidFill>
                <a:schemeClr val="bg2"/>
              </a:solidFill>
              <a:ln>
                <a:noFill/>
              </a:ln>
              <a:effectLst/>
            </c:spPr>
            <c:extLst>
              <c:ext xmlns:c16="http://schemas.microsoft.com/office/drawing/2014/chart" uri="{C3380CC4-5D6E-409C-BE32-E72D297353CC}">
                <c16:uniqueId val="{0000000F-26FB-4B52-8D72-D56D618E8EAF}"/>
              </c:ext>
            </c:extLst>
          </c:dPt>
          <c:dPt>
            <c:idx val="8"/>
            <c:invertIfNegative val="0"/>
            <c:bubble3D val="0"/>
            <c:spPr>
              <a:solidFill>
                <a:schemeClr val="bg2"/>
              </a:solidFill>
              <a:ln>
                <a:noFill/>
              </a:ln>
              <a:effectLst/>
            </c:spPr>
            <c:extLst>
              <c:ext xmlns:c16="http://schemas.microsoft.com/office/drawing/2014/chart" uri="{C3380CC4-5D6E-409C-BE32-E72D297353CC}">
                <c16:uniqueId val="{00000011-26FB-4B52-8D72-D56D618E8EAF}"/>
              </c:ext>
            </c:extLst>
          </c:dPt>
          <c:dPt>
            <c:idx val="11"/>
            <c:invertIfNegative val="0"/>
            <c:bubble3D val="0"/>
            <c:spPr>
              <a:solidFill>
                <a:schemeClr val="bg2"/>
              </a:solidFill>
              <a:ln>
                <a:noFill/>
              </a:ln>
              <a:effectLst/>
            </c:spPr>
            <c:extLst>
              <c:ext xmlns:c16="http://schemas.microsoft.com/office/drawing/2014/chart" uri="{C3380CC4-5D6E-409C-BE32-E72D297353CC}">
                <c16:uniqueId val="{00000013-26FB-4B52-8D72-D56D618E8EAF}"/>
              </c:ext>
            </c:extLst>
          </c:dPt>
          <c:dPt>
            <c:idx val="12"/>
            <c:invertIfNegative val="0"/>
            <c:bubble3D val="0"/>
            <c:spPr>
              <a:solidFill>
                <a:schemeClr val="bg2"/>
              </a:solidFill>
              <a:ln>
                <a:noFill/>
              </a:ln>
              <a:effectLst/>
            </c:spPr>
            <c:extLst>
              <c:ext xmlns:c16="http://schemas.microsoft.com/office/drawing/2014/chart" uri="{C3380CC4-5D6E-409C-BE32-E72D297353CC}">
                <c16:uniqueId val="{00000002-7B2D-4A32-96D2-9C641BCDE5CC}"/>
              </c:ext>
            </c:extLst>
          </c:dPt>
          <c:dPt>
            <c:idx val="13"/>
            <c:invertIfNegative val="0"/>
            <c:bubble3D val="0"/>
            <c:extLst>
              <c:ext xmlns:c16="http://schemas.microsoft.com/office/drawing/2014/chart" uri="{C3380CC4-5D6E-409C-BE32-E72D297353CC}">
                <c16:uniqueId val="{00000017-26FB-4B52-8D72-D56D618E8EAF}"/>
              </c:ext>
            </c:extLst>
          </c:dPt>
          <c:dPt>
            <c:idx val="14"/>
            <c:invertIfNegative val="0"/>
            <c:bubble3D val="0"/>
            <c:spPr>
              <a:solidFill>
                <a:schemeClr val="bg2"/>
              </a:solidFill>
              <a:ln>
                <a:noFill/>
              </a:ln>
              <a:effectLst/>
            </c:spPr>
            <c:extLst>
              <c:ext xmlns:c16="http://schemas.microsoft.com/office/drawing/2014/chart" uri="{C3380CC4-5D6E-409C-BE32-E72D297353CC}">
                <c16:uniqueId val="{00000019-26FB-4B52-8D72-D56D618E8EAF}"/>
              </c:ext>
            </c:extLst>
          </c:dPt>
          <c:dPt>
            <c:idx val="15"/>
            <c:invertIfNegative val="0"/>
            <c:bubble3D val="0"/>
            <c:extLst>
              <c:ext xmlns:c16="http://schemas.microsoft.com/office/drawing/2014/chart" uri="{C3380CC4-5D6E-409C-BE32-E72D297353CC}">
                <c16:uniqueId val="{0000001C-26FB-4B52-8D72-D56D618E8EAF}"/>
              </c:ext>
            </c:extLst>
          </c:dPt>
          <c:dPt>
            <c:idx val="19"/>
            <c:invertIfNegative val="0"/>
            <c:bubble3D val="0"/>
            <c:spPr>
              <a:solidFill>
                <a:srgbClr val="7ECAC4"/>
              </a:solidFill>
              <a:ln>
                <a:noFill/>
              </a:ln>
              <a:effectLst/>
            </c:spPr>
            <c:extLst>
              <c:ext xmlns:c16="http://schemas.microsoft.com/office/drawing/2014/chart" uri="{C3380CC4-5D6E-409C-BE32-E72D297353CC}">
                <c16:uniqueId val="{00000002-0A6E-4C83-9A06-9C3309B2855E}"/>
              </c:ext>
            </c:extLst>
          </c:dPt>
          <c:dPt>
            <c:idx val="24"/>
            <c:invertIfNegative val="0"/>
            <c:bubble3D val="0"/>
            <c:spPr>
              <a:solidFill>
                <a:schemeClr val="bg2"/>
              </a:solidFill>
              <a:ln>
                <a:noFill/>
              </a:ln>
              <a:effectLst/>
            </c:spPr>
            <c:extLst>
              <c:ext xmlns:c16="http://schemas.microsoft.com/office/drawing/2014/chart" uri="{C3380CC4-5D6E-409C-BE32-E72D297353CC}">
                <c16:uniqueId val="{00000005-0A6E-4C83-9A06-9C3309B2855E}"/>
              </c:ext>
            </c:extLst>
          </c:dPt>
          <c:dPt>
            <c:idx val="29"/>
            <c:invertIfNegative val="0"/>
            <c:bubble3D val="0"/>
            <c:extLst>
              <c:ext xmlns:c16="http://schemas.microsoft.com/office/drawing/2014/chart" uri="{C3380CC4-5D6E-409C-BE32-E72D297353CC}">
                <c16:uniqueId val="{00000003-8F47-486F-B734-6012CEA493B3}"/>
              </c:ext>
            </c:extLst>
          </c:dPt>
          <c:dPt>
            <c:idx val="31"/>
            <c:invertIfNegative val="0"/>
            <c:bubble3D val="0"/>
            <c:spPr>
              <a:solidFill>
                <a:schemeClr val="accent2"/>
              </a:solidFill>
              <a:ln>
                <a:noFill/>
              </a:ln>
              <a:effectLst/>
            </c:spPr>
            <c:extLst>
              <c:ext xmlns:c16="http://schemas.microsoft.com/office/drawing/2014/chart" uri="{C3380CC4-5D6E-409C-BE32-E72D297353CC}">
                <c16:uniqueId val="{00000000-4D12-44DE-B956-CABCB15EBC04}"/>
              </c:ext>
            </c:extLst>
          </c:dPt>
          <c:dPt>
            <c:idx val="33"/>
            <c:invertIfNegative val="0"/>
            <c:bubble3D val="0"/>
            <c:spPr>
              <a:solidFill>
                <a:schemeClr val="accent2"/>
              </a:solidFill>
              <a:ln>
                <a:noFill/>
              </a:ln>
              <a:effectLst/>
            </c:spPr>
            <c:extLst>
              <c:ext xmlns:c16="http://schemas.microsoft.com/office/drawing/2014/chart" uri="{C3380CC4-5D6E-409C-BE32-E72D297353CC}">
                <c16:uniqueId val="{00000001-4D12-44DE-B956-CABCB15EBC04}"/>
              </c:ext>
            </c:extLst>
          </c:dPt>
          <c:dLbls>
            <c:dLbl>
              <c:idx val="0"/>
              <c:tx>
                <c:rich>
                  <a:bodyPr/>
                  <a:lstStyle/>
                  <a:p>
                    <a:fld id="{17155AD1-05F5-42FE-BA6B-F1913A837D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FB-4B52-8D72-D56D618E8EAF}"/>
                </c:ext>
              </c:extLst>
            </c:dLbl>
            <c:dLbl>
              <c:idx val="1"/>
              <c:tx>
                <c:rich>
                  <a:bodyPr/>
                  <a:lstStyle/>
                  <a:p>
                    <a:fld id="{8C11EFAB-7027-4432-B444-7E5612D4A9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FB-4B52-8D72-D56D618E8EAF}"/>
                </c:ext>
              </c:extLst>
            </c:dLbl>
            <c:dLbl>
              <c:idx val="2"/>
              <c:tx>
                <c:rich>
                  <a:bodyPr/>
                  <a:lstStyle/>
                  <a:p>
                    <a:fld id="{F46E70A1-24AE-46F9-92C3-1BE4AAEFFB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26FB-4B52-8D72-D56D618E8EAF}"/>
                </c:ext>
              </c:extLst>
            </c:dLbl>
            <c:dLbl>
              <c:idx val="3"/>
              <c:tx>
                <c:rich>
                  <a:bodyPr/>
                  <a:lstStyle/>
                  <a:p>
                    <a:fld id="{0CD1D618-26DF-494C-9F1F-FE51888D97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FB-4B52-8D72-D56D618E8EAF}"/>
                </c:ext>
              </c:extLst>
            </c:dLbl>
            <c:dLbl>
              <c:idx val="4"/>
              <c:tx>
                <c:rich>
                  <a:bodyPr/>
                  <a:lstStyle/>
                  <a:p>
                    <a:fld id="{B559F784-12E9-4927-97C5-0AFBD9B49B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FB-4B52-8D72-D56D618E8EAF}"/>
                </c:ext>
              </c:extLst>
            </c:dLbl>
            <c:dLbl>
              <c:idx val="5"/>
              <c:tx>
                <c:rich>
                  <a:bodyPr/>
                  <a:lstStyle/>
                  <a:p>
                    <a:fld id="{979EDB81-889F-4AA4-A8D4-C3478B834E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26FB-4B52-8D72-D56D618E8EAF}"/>
                </c:ext>
              </c:extLst>
            </c:dLbl>
            <c:dLbl>
              <c:idx val="6"/>
              <c:tx>
                <c:rich>
                  <a:bodyPr/>
                  <a:lstStyle/>
                  <a:p>
                    <a:fld id="{9DB3761E-B755-41EA-9FFA-A7302C164E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26FB-4B52-8D72-D56D618E8EAF}"/>
                </c:ext>
              </c:extLst>
            </c:dLbl>
            <c:dLbl>
              <c:idx val="7"/>
              <c:tx>
                <c:rich>
                  <a:bodyPr/>
                  <a:lstStyle/>
                  <a:p>
                    <a:fld id="{193A24AB-F10C-49F0-8D0F-A074AEB6EC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26FB-4B52-8D72-D56D618E8EAF}"/>
                </c:ext>
              </c:extLst>
            </c:dLbl>
            <c:dLbl>
              <c:idx val="8"/>
              <c:tx>
                <c:rich>
                  <a:bodyPr/>
                  <a:lstStyle/>
                  <a:p>
                    <a:fld id="{4584B621-8B63-4A68-9BD9-F35E586FF3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26FB-4B52-8D72-D56D618E8EAF}"/>
                </c:ext>
              </c:extLst>
            </c:dLbl>
            <c:dLbl>
              <c:idx val="9"/>
              <c:tx>
                <c:rich>
                  <a:bodyPr/>
                  <a:lstStyle/>
                  <a:p>
                    <a:fld id="{23A06424-62F6-43BC-A1DF-A15EF6FF0A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B2D-4A32-96D2-9C641BCDE5CC}"/>
                </c:ext>
              </c:extLst>
            </c:dLbl>
            <c:dLbl>
              <c:idx val="10"/>
              <c:tx>
                <c:rich>
                  <a:bodyPr/>
                  <a:lstStyle/>
                  <a:p>
                    <a:fld id="{D105401A-196C-4D3B-8CBA-933D34008C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7B2D-4A32-96D2-9C641BCDE5CC}"/>
                </c:ext>
              </c:extLst>
            </c:dLbl>
            <c:dLbl>
              <c:idx val="11"/>
              <c:tx>
                <c:rich>
                  <a:bodyPr/>
                  <a:lstStyle/>
                  <a:p>
                    <a:fld id="{EDEBCDA2-2249-4258-827A-D1F53F3C42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26FB-4B52-8D72-D56D618E8EAF}"/>
                </c:ext>
              </c:extLst>
            </c:dLbl>
            <c:dLbl>
              <c:idx val="12"/>
              <c:tx>
                <c:rich>
                  <a:bodyPr/>
                  <a:lstStyle/>
                  <a:p>
                    <a:fld id="{887117A0-98AD-4901-A7F8-EC9CD57605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7B2D-4A32-96D2-9C641BCDE5CC}"/>
                </c:ext>
              </c:extLst>
            </c:dLbl>
            <c:dLbl>
              <c:idx val="13"/>
              <c:tx>
                <c:rich>
                  <a:bodyPr/>
                  <a:lstStyle/>
                  <a:p>
                    <a:fld id="{442CA884-D1B8-45EA-B7F4-171BCA9884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26FB-4B52-8D72-D56D618E8EAF}"/>
                </c:ext>
              </c:extLst>
            </c:dLbl>
            <c:dLbl>
              <c:idx val="14"/>
              <c:tx>
                <c:rich>
                  <a:bodyPr/>
                  <a:lstStyle/>
                  <a:p>
                    <a:fld id="{18138C10-5BA6-4EDD-9908-69AC5C9363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26FB-4B52-8D72-D56D618E8EAF}"/>
                </c:ext>
              </c:extLst>
            </c:dLbl>
            <c:dLbl>
              <c:idx val="15"/>
              <c:tx>
                <c:rich>
                  <a:bodyPr/>
                  <a:lstStyle/>
                  <a:p>
                    <a:fld id="{FB0CA7E2-964D-4C82-A68B-E7BA30D10A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26FB-4B52-8D72-D56D618E8EAF}"/>
                </c:ext>
              </c:extLst>
            </c:dLbl>
            <c:dLbl>
              <c:idx val="16"/>
              <c:tx>
                <c:rich>
                  <a:bodyPr/>
                  <a:lstStyle/>
                  <a:p>
                    <a:fld id="{0BFE4693-0B82-4CBF-B748-EBEB9789D5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0A6E-4C83-9A06-9C3309B2855E}"/>
                </c:ext>
              </c:extLst>
            </c:dLbl>
            <c:dLbl>
              <c:idx val="17"/>
              <c:tx>
                <c:rich>
                  <a:bodyPr/>
                  <a:lstStyle/>
                  <a:p>
                    <a:fld id="{814C75DE-9B4C-40BF-80A0-A7B13F7436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0A6E-4C83-9A06-9C3309B2855E}"/>
                </c:ext>
              </c:extLst>
            </c:dLbl>
            <c:dLbl>
              <c:idx val="18"/>
              <c:tx>
                <c:rich>
                  <a:bodyPr/>
                  <a:lstStyle/>
                  <a:p>
                    <a:fld id="{2B07F255-0D4F-446A-B56E-05D470986E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0A6E-4C83-9A06-9C3309B2855E}"/>
                </c:ext>
              </c:extLst>
            </c:dLbl>
            <c:dLbl>
              <c:idx val="19"/>
              <c:tx>
                <c:rich>
                  <a:bodyPr/>
                  <a:lstStyle/>
                  <a:p>
                    <a:fld id="{4DD8E57D-0876-4929-830D-AD23AFC2A0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0A6E-4C83-9A06-9C3309B2855E}"/>
                </c:ext>
              </c:extLst>
            </c:dLbl>
            <c:dLbl>
              <c:idx val="20"/>
              <c:tx>
                <c:rich>
                  <a:bodyPr/>
                  <a:lstStyle/>
                  <a:p>
                    <a:fld id="{65E4273E-C5A4-4346-BDFD-363DF31974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5AD-4BCF-9CB2-60EDA2D7DB42}"/>
                </c:ext>
              </c:extLst>
            </c:dLbl>
            <c:dLbl>
              <c:idx val="21"/>
              <c:tx>
                <c:rich>
                  <a:bodyPr/>
                  <a:lstStyle/>
                  <a:p>
                    <a:fld id="{C0B3E6D1-E99C-4625-B967-720C4324F6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5AD-4BCF-9CB2-60EDA2D7DB42}"/>
                </c:ext>
              </c:extLst>
            </c:dLbl>
            <c:dLbl>
              <c:idx val="22"/>
              <c:tx>
                <c:rich>
                  <a:bodyPr/>
                  <a:lstStyle/>
                  <a:p>
                    <a:fld id="{47DCBB28-3B32-4633-A1DB-0AA248AF10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5AD-4BCF-9CB2-60EDA2D7DB42}"/>
                </c:ext>
              </c:extLst>
            </c:dLbl>
            <c:dLbl>
              <c:idx val="23"/>
              <c:tx>
                <c:rich>
                  <a:bodyPr/>
                  <a:lstStyle/>
                  <a:p>
                    <a:fld id="{D4A9E91B-99F3-45B5-8A8F-B4D94F2D53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5AD-4BCF-9CB2-60EDA2D7DB42}"/>
                </c:ext>
              </c:extLst>
            </c:dLbl>
            <c:dLbl>
              <c:idx val="24"/>
              <c:tx>
                <c:rich>
                  <a:bodyPr/>
                  <a:lstStyle/>
                  <a:p>
                    <a:fld id="{93380277-FB06-4445-B7C1-D82E435A65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0A6E-4C83-9A06-9C3309B2855E}"/>
                </c:ext>
              </c:extLst>
            </c:dLbl>
            <c:dLbl>
              <c:idx val="25"/>
              <c:tx>
                <c:rich>
                  <a:bodyPr/>
                  <a:lstStyle/>
                  <a:p>
                    <a:fld id="{DEA07BC1-1253-4DB9-BDC8-0A613958FC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4D12-44DE-B956-CABCB15EBC04}"/>
                </c:ext>
              </c:extLst>
            </c:dLbl>
            <c:dLbl>
              <c:idx val="26"/>
              <c:tx>
                <c:rich>
                  <a:bodyPr/>
                  <a:lstStyle/>
                  <a:p>
                    <a:fld id="{80024388-EFE6-4652-9322-4548268946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D12-44DE-B956-CABCB15EBC04}"/>
                </c:ext>
              </c:extLst>
            </c:dLbl>
            <c:dLbl>
              <c:idx val="27"/>
              <c:tx>
                <c:rich>
                  <a:bodyPr/>
                  <a:lstStyle/>
                  <a:p>
                    <a:fld id="{104C6A7E-A7A2-4CF9-AE1D-FCE1266423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D12-44DE-B956-CABCB15EBC04}"/>
                </c:ext>
              </c:extLst>
            </c:dLbl>
            <c:dLbl>
              <c:idx val="28"/>
              <c:tx>
                <c:rich>
                  <a:bodyPr/>
                  <a:lstStyle/>
                  <a:p>
                    <a:fld id="{A34BA116-7991-46C3-9561-FD1CC24041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D12-44DE-B956-CABCB15EBC04}"/>
                </c:ext>
              </c:extLst>
            </c:dLbl>
            <c:dLbl>
              <c:idx val="29"/>
              <c:tx>
                <c:rich>
                  <a:bodyPr/>
                  <a:lstStyle/>
                  <a:p>
                    <a:fld id="{17ECFC2C-063B-482A-B5C8-00173B550D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8F47-486F-B734-6012CEA493B3}"/>
                </c:ext>
              </c:extLst>
            </c:dLbl>
            <c:dLbl>
              <c:idx val="30"/>
              <c:tx>
                <c:rich>
                  <a:bodyPr/>
                  <a:lstStyle/>
                  <a:p>
                    <a:fld id="{A9A7E508-3C20-4F1E-95DB-99D181706D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D12-44DE-B956-CABCB15EBC04}"/>
                </c:ext>
              </c:extLst>
            </c:dLbl>
            <c:dLbl>
              <c:idx val="31"/>
              <c:tx>
                <c:rich>
                  <a:bodyPr/>
                  <a:lstStyle/>
                  <a:p>
                    <a:fld id="{ACD59040-8B6B-4192-A27A-2E64522C4E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D12-44DE-B956-CABCB15EBC04}"/>
                </c:ext>
              </c:extLst>
            </c:dLbl>
            <c:dLbl>
              <c:idx val="32"/>
              <c:tx>
                <c:rich>
                  <a:bodyPr/>
                  <a:lstStyle/>
                  <a:p>
                    <a:fld id="{2AFEF51F-388F-4D9F-A25C-85258BFB42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D12-44DE-B956-CABCB15EBC04}"/>
                </c:ext>
              </c:extLst>
            </c:dLbl>
            <c:dLbl>
              <c:idx val="33"/>
              <c:tx>
                <c:rich>
                  <a:bodyPr/>
                  <a:lstStyle/>
                  <a:p>
                    <a:fld id="{12A84DFA-F282-4FD4-9709-B158E7E5B7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D12-44DE-B956-CABCB15EBC04}"/>
                </c:ext>
              </c:extLst>
            </c:dLbl>
            <c:dLbl>
              <c:idx val="34"/>
              <c:tx>
                <c:rich>
                  <a:bodyPr/>
                  <a:lstStyle/>
                  <a:p>
                    <a:fld id="{9219E8A5-BD7A-4E8D-9991-75AB5204D6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D12-44DE-B956-CABCB15EBC04}"/>
                </c:ext>
              </c:extLst>
            </c:dLbl>
            <c:dLbl>
              <c:idx val="35"/>
              <c:tx>
                <c:rich>
                  <a:bodyPr/>
                  <a:lstStyle/>
                  <a:p>
                    <a:fld id="{6BB27964-21B9-4F02-8A1D-C8C72B7751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4D12-44DE-B956-CABCB15EBC04}"/>
                </c:ext>
              </c:extLst>
            </c:dLbl>
            <c:dLbl>
              <c:idx val="36"/>
              <c:tx>
                <c:rich>
                  <a:bodyPr/>
                  <a:lstStyle/>
                  <a:p>
                    <a:fld id="{EC3FEC17-D8A4-404A-B16B-317FBC503E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4D12-44DE-B956-CABCB15EBC04}"/>
                </c:ext>
              </c:extLst>
            </c:dLbl>
            <c:dLbl>
              <c:idx val="37"/>
              <c:tx>
                <c:rich>
                  <a:bodyPr/>
                  <a:lstStyle/>
                  <a:p>
                    <a:fld id="{95DB5655-B817-47A8-BBE5-719AB8851E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4D12-44DE-B956-CABCB15EBC04}"/>
                </c:ext>
              </c:extLst>
            </c:dLbl>
            <c:dLbl>
              <c:idx val="38"/>
              <c:tx>
                <c:rich>
                  <a:bodyPr/>
                  <a:lstStyle/>
                  <a:p>
                    <a:fld id="{1A78BDE7-C0F0-43AC-A4C6-E835B0D76C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4D12-44DE-B956-CABCB15EBC04}"/>
                </c:ext>
              </c:extLst>
            </c:dLbl>
            <c:dLbl>
              <c:idx val="39"/>
              <c:tx>
                <c:rich>
                  <a:bodyPr/>
                  <a:lstStyle/>
                  <a:p>
                    <a:fld id="{BBA8B481-4226-465A-9FED-1DFDD6BE66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4D12-44DE-B956-CABCB15EBC04}"/>
                </c:ext>
              </c:extLst>
            </c:dLbl>
            <c:dLbl>
              <c:idx val="40"/>
              <c:tx>
                <c:rich>
                  <a:bodyPr/>
                  <a:lstStyle/>
                  <a:p>
                    <a:fld id="{DBC2C4B9-D1F2-4B40-A946-8995C7DFF9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4D12-44DE-B956-CABCB15EBC04}"/>
                </c:ext>
              </c:extLst>
            </c:dLbl>
            <c:dLbl>
              <c:idx val="41"/>
              <c:tx>
                <c:rich>
                  <a:bodyPr/>
                  <a:lstStyle/>
                  <a:p>
                    <a:fld id="{9DED23CD-CB9F-4206-A481-ED3525A7D2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4D12-44DE-B956-CABCB15EBC04}"/>
                </c:ext>
              </c:extLst>
            </c:dLbl>
            <c:dLbl>
              <c:idx val="42"/>
              <c:tx>
                <c:rich>
                  <a:bodyPr/>
                  <a:lstStyle/>
                  <a:p>
                    <a:fld id="{00E64D78-9C2F-4254-AAFE-CE7F1DD4CD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4D12-44DE-B956-CABCB15EBC04}"/>
                </c:ext>
              </c:extLst>
            </c:dLbl>
            <c:dLbl>
              <c:idx val="43"/>
              <c:tx>
                <c:rich>
                  <a:bodyPr/>
                  <a:lstStyle/>
                  <a:p>
                    <a:fld id="{E3BC2083-D838-46DB-9FAD-8A1566C41F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4D12-44DE-B956-CABCB15EBC04}"/>
                </c:ext>
              </c:extLst>
            </c:dLbl>
            <c:dLbl>
              <c:idx val="44"/>
              <c:tx>
                <c:rich>
                  <a:bodyPr/>
                  <a:lstStyle/>
                  <a:p>
                    <a:fld id="{92868C42-BAC4-4CD3-AF9F-5D81BAAB3E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4D12-44DE-B956-CABCB15EBC04}"/>
                </c:ext>
              </c:extLst>
            </c:dLbl>
            <c:dLbl>
              <c:idx val="45"/>
              <c:tx>
                <c:rich>
                  <a:bodyPr/>
                  <a:lstStyle/>
                  <a:p>
                    <a:fld id="{1D72E3D5-8DD3-4F8B-9C6B-E33245DED5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4D12-44DE-B956-CABCB15EBC04}"/>
                </c:ext>
              </c:extLst>
            </c:dLbl>
            <c:dLbl>
              <c:idx val="46"/>
              <c:tx>
                <c:rich>
                  <a:bodyPr/>
                  <a:lstStyle/>
                  <a:p>
                    <a:fld id="{96AC8EAF-00F1-44C1-804B-9CFCB9AF2B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4D12-44DE-B956-CABCB15EBC04}"/>
                </c:ext>
              </c:extLst>
            </c:dLbl>
            <c:dLbl>
              <c:idx val="47"/>
              <c:tx>
                <c:rich>
                  <a:bodyPr/>
                  <a:lstStyle/>
                  <a:p>
                    <a:fld id="{B1D2AE2F-7450-4CC2-BB35-A760E4767A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4D12-44DE-B956-CABCB15EBC04}"/>
                </c:ext>
              </c:extLst>
            </c:dLbl>
            <c:dLbl>
              <c:idx val="48"/>
              <c:tx>
                <c:rich>
                  <a:bodyPr/>
                  <a:lstStyle/>
                  <a:p>
                    <a:fld id="{B9A25FA0-8D1B-4DB9-BDCA-38C72668DD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4D12-44DE-B956-CABCB15EBC04}"/>
                </c:ext>
              </c:extLst>
            </c:dLbl>
            <c:dLbl>
              <c:idx val="49"/>
              <c:tx>
                <c:rich>
                  <a:bodyPr/>
                  <a:lstStyle/>
                  <a:p>
                    <a:fld id="{DDE041F9-972B-4206-988E-F0040ACAD1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4D12-44DE-B956-CABCB15EBC04}"/>
                </c:ext>
              </c:extLst>
            </c:dLbl>
            <c:dLbl>
              <c:idx val="50"/>
              <c:tx>
                <c:rich>
                  <a:bodyPr/>
                  <a:lstStyle/>
                  <a:p>
                    <a:fld id="{E0E1A31D-EBCD-4EAE-8722-46398D37C5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4D12-44DE-B956-CABCB15EBC04}"/>
                </c:ext>
              </c:extLst>
            </c:dLbl>
            <c:dLbl>
              <c:idx val="51"/>
              <c:tx>
                <c:rich>
                  <a:bodyPr/>
                  <a:lstStyle/>
                  <a:p>
                    <a:fld id="{84D70338-AC2D-41AC-AE52-D14EC511D9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4D12-44DE-B956-CABCB15EBC04}"/>
                </c:ext>
              </c:extLst>
            </c:dLbl>
            <c:dLbl>
              <c:idx val="52"/>
              <c:tx>
                <c:rich>
                  <a:bodyPr/>
                  <a:lstStyle/>
                  <a:p>
                    <a:fld id="{1B5D0D84-4EEF-44F5-9C3B-EE1ABC7428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4D12-44DE-B956-CABCB15EBC04}"/>
                </c:ext>
              </c:extLst>
            </c:dLbl>
            <c:dLbl>
              <c:idx val="53"/>
              <c:tx>
                <c:rich>
                  <a:bodyPr/>
                  <a:lstStyle/>
                  <a:p>
                    <a:fld id="{56CE4C27-E7B5-41E1-85F8-1836622FD7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4D12-44DE-B956-CABCB15EBC04}"/>
                </c:ext>
              </c:extLst>
            </c:dLbl>
            <c:dLbl>
              <c:idx val="54"/>
              <c:tx>
                <c:rich>
                  <a:bodyPr/>
                  <a:lstStyle/>
                  <a:p>
                    <a:fld id="{69E395BA-2264-4CA5-A309-CE646D03B4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4D12-44DE-B956-CABCB15EBC04}"/>
                </c:ext>
              </c:extLst>
            </c:dLbl>
            <c:dLbl>
              <c:idx val="55"/>
              <c:tx>
                <c:rich>
                  <a:bodyPr/>
                  <a:lstStyle/>
                  <a:p>
                    <a:fld id="{719F2717-73D0-4266-9DB8-435B425804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D12-44DE-B956-CABCB15EBC04}"/>
                </c:ext>
              </c:extLst>
            </c:dLbl>
            <c:dLbl>
              <c:idx val="56"/>
              <c:tx>
                <c:rich>
                  <a:bodyPr/>
                  <a:lstStyle/>
                  <a:p>
                    <a:fld id="{92F64B6D-563D-47E9-A28C-E95F34CDBA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8E3F-4D1B-A313-C02BEC0FDBD1}"/>
                </c:ext>
              </c:extLst>
            </c:dLbl>
            <c:dLbl>
              <c:idx val="57"/>
              <c:tx>
                <c:rich>
                  <a:bodyPr/>
                  <a:lstStyle/>
                  <a:p>
                    <a:fld id="{1ACB6875-6372-473D-90AF-4F6C6DBD2E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8E3F-4D1B-A313-C02BEC0FDBD1}"/>
                </c:ext>
              </c:extLst>
            </c:dLbl>
            <c:dLbl>
              <c:idx val="58"/>
              <c:tx>
                <c:rich>
                  <a:bodyPr/>
                  <a:lstStyle/>
                  <a:p>
                    <a:fld id="{51B3DE44-3435-49DC-B323-BC4432AD2F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8E3F-4D1B-A313-C02BEC0FDBD1}"/>
                </c:ext>
              </c:extLst>
            </c:dLbl>
            <c:dLbl>
              <c:idx val="59"/>
              <c:tx>
                <c:rich>
                  <a:bodyPr/>
                  <a:lstStyle/>
                  <a:p>
                    <a:fld id="{F5DC8513-95AA-4261-9F84-CFCC0824C9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8E3F-4D1B-A313-C02BEC0FDBD1}"/>
                </c:ext>
              </c:extLst>
            </c:dLbl>
            <c:dLbl>
              <c:idx val="60"/>
              <c:tx>
                <c:rich>
                  <a:bodyPr/>
                  <a:lstStyle/>
                  <a:p>
                    <a:fld id="{5425A20C-0AA8-4C0B-8AF0-356F0C5C0C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8E3F-4D1B-A313-C02BEC0FDBD1}"/>
                </c:ext>
              </c:extLst>
            </c:dLbl>
            <c:dLbl>
              <c:idx val="61"/>
              <c:tx>
                <c:rich>
                  <a:bodyPr/>
                  <a:lstStyle/>
                  <a:p>
                    <a:fld id="{C615F7FC-E217-4E57-A77E-11E5E8CC55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8E3F-4D1B-A313-C02BEC0FDBD1}"/>
                </c:ext>
              </c:extLst>
            </c:dLbl>
            <c:dLbl>
              <c:idx val="62"/>
              <c:tx>
                <c:rich>
                  <a:bodyPr/>
                  <a:lstStyle/>
                  <a:p>
                    <a:fld id="{9731E40C-C787-4EC2-B0AD-15FAF603FD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8E3F-4D1B-A313-C02BEC0FDBD1}"/>
                </c:ext>
              </c:extLst>
            </c:dLbl>
            <c:dLbl>
              <c:idx val="63"/>
              <c:tx>
                <c:rich>
                  <a:bodyPr/>
                  <a:lstStyle/>
                  <a:p>
                    <a:fld id="{66701AF0-A801-49DE-A94F-F69B23E4FE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8E3F-4D1B-A313-C02BEC0FDBD1}"/>
                </c:ext>
              </c:extLst>
            </c:dLbl>
            <c:dLbl>
              <c:idx val="64"/>
              <c:tx>
                <c:rich>
                  <a:bodyPr/>
                  <a:lstStyle/>
                  <a:p>
                    <a:fld id="{CA27C142-F733-40CB-9A73-45A87D47BF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8E3F-4D1B-A313-C02BEC0FDBD1}"/>
                </c:ext>
              </c:extLst>
            </c:dLbl>
            <c:dLbl>
              <c:idx val="65"/>
              <c:tx>
                <c:rich>
                  <a:bodyPr/>
                  <a:lstStyle/>
                  <a:p>
                    <a:fld id="{957A9513-0360-4D0E-9067-89FD1B4824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8E3F-4D1B-A313-C02BEC0FDBD1}"/>
                </c:ext>
              </c:extLst>
            </c:dLbl>
            <c:dLbl>
              <c:idx val="66"/>
              <c:tx>
                <c:rich>
                  <a:bodyPr/>
                  <a:lstStyle/>
                  <a:p>
                    <a:fld id="{41980C1A-FDB3-4D6A-9E4B-9C8DE1619C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8E3F-4D1B-A313-C02BEC0FDBD1}"/>
                </c:ext>
              </c:extLst>
            </c:dLbl>
            <c:dLbl>
              <c:idx val="67"/>
              <c:tx>
                <c:rich>
                  <a:bodyPr/>
                  <a:lstStyle/>
                  <a:p>
                    <a:fld id="{480837A4-9065-427A-92DC-7ED5231AC2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8E3F-4D1B-A313-C02BEC0FDBD1}"/>
                </c:ext>
              </c:extLst>
            </c:dLbl>
            <c:dLbl>
              <c:idx val="68"/>
              <c:tx>
                <c:rich>
                  <a:bodyPr/>
                  <a:lstStyle/>
                  <a:p>
                    <a:fld id="{83E359D1-D441-4E93-AA87-53B103161F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8E3F-4D1B-A313-C02BEC0FDBD1}"/>
                </c:ext>
              </c:extLst>
            </c:dLbl>
            <c:dLbl>
              <c:idx val="69"/>
              <c:tx>
                <c:rich>
                  <a:bodyPr/>
                  <a:lstStyle/>
                  <a:p>
                    <a:fld id="{82BA5FFE-62B3-443A-93CB-CFA88F8096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8E3F-4D1B-A313-C02BEC0FDBD1}"/>
                </c:ext>
              </c:extLst>
            </c:dLbl>
            <c:dLbl>
              <c:idx val="70"/>
              <c:tx>
                <c:rich>
                  <a:bodyPr/>
                  <a:lstStyle/>
                  <a:p>
                    <a:fld id="{4A6497E2-3A41-4B8C-BB84-EC79E1E7D5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8E3F-4D1B-A313-C02BEC0FDBD1}"/>
                </c:ext>
              </c:extLst>
            </c:dLbl>
            <c:dLbl>
              <c:idx val="71"/>
              <c:tx>
                <c:rich>
                  <a:bodyPr/>
                  <a:lstStyle/>
                  <a:p>
                    <a:fld id="{3A3E5058-EC9E-4153-B0EA-4E5443F9DA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8E3F-4D1B-A313-C02BEC0FDBD1}"/>
                </c:ext>
              </c:extLst>
            </c:dLbl>
            <c:dLbl>
              <c:idx val="72"/>
              <c:tx>
                <c:rich>
                  <a:bodyPr/>
                  <a:lstStyle/>
                  <a:p>
                    <a:fld id="{C880D583-0EDD-4A03-8A7D-75C8A1D119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8E3F-4D1B-A313-C02BEC0FDBD1}"/>
                </c:ext>
              </c:extLst>
            </c:dLbl>
            <c:dLbl>
              <c:idx val="73"/>
              <c:tx>
                <c:rich>
                  <a:bodyPr/>
                  <a:lstStyle/>
                  <a:p>
                    <a:fld id="{E94F9706-9807-4C10-8C76-A69947E3D1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8E3F-4D1B-A313-C02BEC0FDBD1}"/>
                </c:ext>
              </c:extLst>
            </c:dLbl>
            <c:dLbl>
              <c:idx val="74"/>
              <c:tx>
                <c:rich>
                  <a:bodyPr/>
                  <a:lstStyle/>
                  <a:p>
                    <a:fld id="{1E5CD7A8-8B5B-4DD9-A2B9-005CDC69FA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8E3F-4D1B-A313-C02BEC0FDBD1}"/>
                </c:ext>
              </c:extLst>
            </c:dLbl>
            <c:dLbl>
              <c:idx val="75"/>
              <c:tx>
                <c:rich>
                  <a:bodyPr/>
                  <a:lstStyle/>
                  <a:p>
                    <a:fld id="{3E43E7DD-B840-410E-9EC7-163BB41FEE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8E3F-4D1B-A313-C02BEC0FDBD1}"/>
                </c:ext>
              </c:extLst>
            </c:dLbl>
            <c:dLbl>
              <c:idx val="76"/>
              <c:tx>
                <c:rich>
                  <a:bodyPr/>
                  <a:lstStyle/>
                  <a:p>
                    <a:fld id="{067F54DD-B7EB-48D8-B53B-517D987CA3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8E3F-4D1B-A313-C02BEC0FDBD1}"/>
                </c:ext>
              </c:extLst>
            </c:dLbl>
            <c:dLbl>
              <c:idx val="77"/>
              <c:tx>
                <c:rich>
                  <a:bodyPr/>
                  <a:lstStyle/>
                  <a:p>
                    <a:fld id="{1D359C8A-74F0-43F8-AD76-196F95F021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8E3F-4D1B-A313-C02BEC0FDBD1}"/>
                </c:ext>
              </c:extLst>
            </c:dLbl>
            <c:dLbl>
              <c:idx val="78"/>
              <c:tx>
                <c:rich>
                  <a:bodyPr/>
                  <a:lstStyle/>
                  <a:p>
                    <a:fld id="{C3CC1E49-E66E-4467-A671-A3697BD781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8E3F-4D1B-A313-C02BEC0FDBD1}"/>
                </c:ext>
              </c:extLst>
            </c:dLbl>
            <c:dLbl>
              <c:idx val="79"/>
              <c:tx>
                <c:rich>
                  <a:bodyPr/>
                  <a:lstStyle/>
                  <a:p>
                    <a:fld id="{CC78CF2A-33D5-44AA-9010-52C34B8DA4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8E3F-4D1B-A313-C02BEC0FDBD1}"/>
                </c:ext>
              </c:extLst>
            </c:dLbl>
            <c:dLbl>
              <c:idx val="80"/>
              <c:tx>
                <c:rich>
                  <a:bodyPr/>
                  <a:lstStyle/>
                  <a:p>
                    <a:fld id="{A0A86C1E-78DB-4D40-A7EE-DCE4DAC366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8E3F-4D1B-A313-C02BEC0FDBD1}"/>
                </c:ext>
              </c:extLst>
            </c:dLbl>
            <c:dLbl>
              <c:idx val="81"/>
              <c:tx>
                <c:rich>
                  <a:bodyPr/>
                  <a:lstStyle/>
                  <a:p>
                    <a:fld id="{35D91390-E141-4299-809F-F90C9EFD51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9-8E3F-4D1B-A313-C02BEC0FDBD1}"/>
                </c:ext>
              </c:extLst>
            </c:dLbl>
            <c:dLbl>
              <c:idx val="82"/>
              <c:tx>
                <c:rich>
                  <a:bodyPr/>
                  <a:lstStyle/>
                  <a:p>
                    <a:fld id="{705235BD-F03E-4D5A-97B4-FFC957988E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A-8E3F-4D1B-A313-C02BEC0FDBD1}"/>
                </c:ext>
              </c:extLst>
            </c:dLbl>
            <c:dLbl>
              <c:idx val="83"/>
              <c:tx>
                <c:rich>
                  <a:bodyPr/>
                  <a:lstStyle/>
                  <a:p>
                    <a:fld id="{103B34DD-3CFA-4502-B5F3-5A655125C4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B-8E3F-4D1B-A313-C02BEC0FDBD1}"/>
                </c:ext>
              </c:extLst>
            </c:dLbl>
            <c:dLbl>
              <c:idx val="84"/>
              <c:tx>
                <c:rich>
                  <a:bodyPr/>
                  <a:lstStyle/>
                  <a:p>
                    <a:fld id="{164998CB-34E2-45EF-BCEF-711BA9D031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C-8E3F-4D1B-A313-C02BEC0FDBD1}"/>
                </c:ext>
              </c:extLst>
            </c:dLbl>
            <c:dLbl>
              <c:idx val="85"/>
              <c:tx>
                <c:rich>
                  <a:bodyPr/>
                  <a:lstStyle/>
                  <a:p>
                    <a:fld id="{1EDDEADA-6F93-4F02-9F60-0AEB9B4B2A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D-8E3F-4D1B-A313-C02BEC0FDBD1}"/>
                </c:ext>
              </c:extLst>
            </c:dLbl>
            <c:dLbl>
              <c:idx val="86"/>
              <c:tx>
                <c:rich>
                  <a:bodyPr/>
                  <a:lstStyle/>
                  <a:p>
                    <a:fld id="{80CE521B-57BA-432F-9CA9-C80F3DBD25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E-8E3F-4D1B-A313-C02BEC0FDBD1}"/>
                </c:ext>
              </c:extLst>
            </c:dLbl>
            <c:dLbl>
              <c:idx val="87"/>
              <c:tx>
                <c:rich>
                  <a:bodyPr/>
                  <a:lstStyle/>
                  <a:p>
                    <a:fld id="{7C35192F-1DFC-4613-BF58-DB03A9F68B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F-8E3F-4D1B-A313-C02BEC0FDBD1}"/>
                </c:ext>
              </c:extLst>
            </c:dLbl>
            <c:dLbl>
              <c:idx val="88"/>
              <c:tx>
                <c:rich>
                  <a:bodyPr/>
                  <a:lstStyle/>
                  <a:p>
                    <a:fld id="{BECC8795-5433-4AA7-B821-2D312B7154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0-8E3F-4D1B-A313-C02BEC0FDBD1}"/>
                </c:ext>
              </c:extLst>
            </c:dLbl>
            <c:dLbl>
              <c:idx val="89"/>
              <c:tx>
                <c:rich>
                  <a:bodyPr/>
                  <a:lstStyle/>
                  <a:p>
                    <a:fld id="{03CC159B-328E-494F-92F9-4B76ACCF74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1-8E3F-4D1B-A313-C02BEC0FDBD1}"/>
                </c:ext>
              </c:extLst>
            </c:dLbl>
            <c:dLbl>
              <c:idx val="90"/>
              <c:tx>
                <c:rich>
                  <a:bodyPr/>
                  <a:lstStyle/>
                  <a:p>
                    <a:fld id="{597898EC-DD35-48BB-9541-8ED541C1D3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2-8E3F-4D1B-A313-C02BEC0FDBD1}"/>
                </c:ext>
              </c:extLst>
            </c:dLbl>
            <c:dLbl>
              <c:idx val="91"/>
              <c:tx>
                <c:rich>
                  <a:bodyPr/>
                  <a:lstStyle/>
                  <a:p>
                    <a:fld id="{5CC8DAC6-22B5-4292-B955-039AA26A60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3-8E3F-4D1B-A313-C02BEC0FDBD1}"/>
                </c:ext>
              </c:extLst>
            </c:dLbl>
            <c:dLbl>
              <c:idx val="92"/>
              <c:tx>
                <c:rich>
                  <a:bodyPr/>
                  <a:lstStyle/>
                  <a:p>
                    <a:fld id="{DBB26A61-2E8F-46AC-BE20-DBEF63A8ED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4-8E3F-4D1B-A313-C02BEC0FDBD1}"/>
                </c:ext>
              </c:extLst>
            </c:dLbl>
            <c:dLbl>
              <c:idx val="93"/>
              <c:tx>
                <c:rich>
                  <a:bodyPr/>
                  <a:lstStyle/>
                  <a:p>
                    <a:fld id="{89E72503-995A-49FF-A9E6-9811691DC6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5-8E3F-4D1B-A313-C02BEC0FDBD1}"/>
                </c:ext>
              </c:extLst>
            </c:dLbl>
            <c:dLbl>
              <c:idx val="94"/>
              <c:tx>
                <c:rich>
                  <a:bodyPr/>
                  <a:lstStyle/>
                  <a:p>
                    <a:fld id="{FBE3F84D-44DD-4D0A-8109-CE1BC382BF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6-8E3F-4D1B-A313-C02BEC0FDBD1}"/>
                </c:ext>
              </c:extLst>
            </c:dLbl>
            <c:dLbl>
              <c:idx val="95"/>
              <c:tx>
                <c:rich>
                  <a:bodyPr/>
                  <a:lstStyle/>
                  <a:p>
                    <a:fld id="{E0502276-3355-4B9C-99DD-19FA8E347A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7-8E3F-4D1B-A313-C02BEC0FDBD1}"/>
                </c:ext>
              </c:extLst>
            </c:dLbl>
            <c:dLbl>
              <c:idx val="96"/>
              <c:tx>
                <c:rich>
                  <a:bodyPr/>
                  <a:lstStyle/>
                  <a:p>
                    <a:fld id="{8FABD4EB-AC5A-4427-AE60-977EBA967A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8-8E3F-4D1B-A313-C02BEC0FDBD1}"/>
                </c:ext>
              </c:extLst>
            </c:dLbl>
            <c:dLbl>
              <c:idx val="97"/>
              <c:tx>
                <c:rich>
                  <a:bodyPr/>
                  <a:lstStyle/>
                  <a:p>
                    <a:fld id="{163C0713-C277-490E-9C3C-1482ECBBF0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9-8E3F-4D1B-A313-C02BEC0FDBD1}"/>
                </c:ext>
              </c:extLst>
            </c:dLbl>
            <c:dLbl>
              <c:idx val="98"/>
              <c:tx>
                <c:rich>
                  <a:bodyPr/>
                  <a:lstStyle/>
                  <a:p>
                    <a:fld id="{7379C436-51B5-499A-A0BB-4FFD909964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A-8E3F-4D1B-A313-C02BEC0FDBD1}"/>
                </c:ext>
              </c:extLst>
            </c:dLbl>
            <c:dLbl>
              <c:idx val="99"/>
              <c:tx>
                <c:rich>
                  <a:bodyPr/>
                  <a:lstStyle/>
                  <a:p>
                    <a:fld id="{CB2015F3-C778-4836-B9EA-A90DB3AF86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B-8E3F-4D1B-A313-C02BEC0FDBD1}"/>
                </c:ext>
              </c:extLst>
            </c:dLbl>
            <c:dLbl>
              <c:idx val="100"/>
              <c:tx>
                <c:rich>
                  <a:bodyPr/>
                  <a:lstStyle/>
                  <a:p>
                    <a:fld id="{9859C7B5-3C16-4891-A9D9-32E84EE7F1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C-8E3F-4D1B-A313-C02BEC0FDBD1}"/>
                </c:ext>
              </c:extLst>
            </c:dLbl>
            <c:dLbl>
              <c:idx val="101"/>
              <c:tx>
                <c:rich>
                  <a:bodyPr/>
                  <a:lstStyle/>
                  <a:p>
                    <a:fld id="{F6E0F2B8-8DA7-4681-8498-A679286324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D-8E3F-4D1B-A313-C02BEC0FDBD1}"/>
                </c:ext>
              </c:extLst>
            </c:dLbl>
            <c:dLbl>
              <c:idx val="102"/>
              <c:tx>
                <c:rich>
                  <a:bodyPr/>
                  <a:lstStyle/>
                  <a:p>
                    <a:fld id="{7AC2984E-C728-46F7-B52F-AABA7F00F6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E-8E3F-4D1B-A313-C02BEC0FDBD1}"/>
                </c:ext>
              </c:extLst>
            </c:dLbl>
            <c:dLbl>
              <c:idx val="103"/>
              <c:tx>
                <c:rich>
                  <a:bodyPr/>
                  <a:lstStyle/>
                  <a:p>
                    <a:fld id="{670B6EC2-A9D6-46C6-BA11-B17FFB3C36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F-8E3F-4D1B-A313-C02BEC0FDBD1}"/>
                </c:ext>
              </c:extLst>
            </c:dLbl>
            <c:dLbl>
              <c:idx val="104"/>
              <c:tx>
                <c:rich>
                  <a:bodyPr/>
                  <a:lstStyle/>
                  <a:p>
                    <a:fld id="{4FC3F985-7D28-48FB-9453-5027E6AFE4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0-8E3F-4D1B-A313-C02BEC0FDBD1}"/>
                </c:ext>
              </c:extLst>
            </c:dLbl>
            <c:dLbl>
              <c:idx val="105"/>
              <c:tx>
                <c:rich>
                  <a:bodyPr/>
                  <a:lstStyle/>
                  <a:p>
                    <a:fld id="{1A3A8C3E-3808-4070-956E-07907A3A02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1-8E3F-4D1B-A313-C02BEC0FDBD1}"/>
                </c:ext>
              </c:extLst>
            </c:dLbl>
            <c:dLbl>
              <c:idx val="106"/>
              <c:tx>
                <c:rich>
                  <a:bodyPr/>
                  <a:lstStyle/>
                  <a:p>
                    <a:fld id="{1AD4DFA2-6E00-485F-BD8C-2BBBE4E3CF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2-8E3F-4D1B-A313-C02BEC0FDBD1}"/>
                </c:ext>
              </c:extLst>
            </c:dLbl>
            <c:dLbl>
              <c:idx val="107"/>
              <c:tx>
                <c:rich>
                  <a:bodyPr/>
                  <a:lstStyle/>
                  <a:p>
                    <a:fld id="{608A5C6D-65CC-4E7B-BE68-E933FBDDEE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3-8E3F-4D1B-A313-C02BEC0FDBD1}"/>
                </c:ext>
              </c:extLst>
            </c:dLbl>
            <c:dLbl>
              <c:idx val="108"/>
              <c:tx>
                <c:rich>
                  <a:bodyPr/>
                  <a:lstStyle/>
                  <a:p>
                    <a:fld id="{5F3A201C-6800-4DA4-9BA0-098FA3FB43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4-8E3F-4D1B-A313-C02BEC0FDBD1}"/>
                </c:ext>
              </c:extLst>
            </c:dLbl>
            <c:dLbl>
              <c:idx val="109"/>
              <c:tx>
                <c:rich>
                  <a:bodyPr/>
                  <a:lstStyle/>
                  <a:p>
                    <a:fld id="{73619A3B-D041-4AB7-A189-F6ED5404E7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5-8E3F-4D1B-A313-C02BEC0FDBD1}"/>
                </c:ext>
              </c:extLst>
            </c:dLbl>
            <c:dLbl>
              <c:idx val="110"/>
              <c:tx>
                <c:rich>
                  <a:bodyPr/>
                  <a:lstStyle/>
                  <a:p>
                    <a:fld id="{9E880CD6-4F53-4CFB-A472-963409FC6B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6-8E3F-4D1B-A313-C02BEC0FDBD1}"/>
                </c:ext>
              </c:extLst>
            </c:dLbl>
            <c:dLbl>
              <c:idx val="111"/>
              <c:tx>
                <c:rich>
                  <a:bodyPr/>
                  <a:lstStyle/>
                  <a:p>
                    <a:fld id="{A1236E80-EF60-49FA-97CA-77EDAF69FA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7-8E3F-4D1B-A313-C02BEC0FDBD1}"/>
                </c:ext>
              </c:extLst>
            </c:dLbl>
            <c:dLbl>
              <c:idx val="112"/>
              <c:tx>
                <c:rich>
                  <a:bodyPr/>
                  <a:lstStyle/>
                  <a:p>
                    <a:fld id="{5A86D35F-DD59-42E5-9366-03ACD1CBBD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8-8E3F-4D1B-A313-C02BEC0FDBD1}"/>
                </c:ext>
              </c:extLst>
            </c:dLbl>
            <c:dLbl>
              <c:idx val="113"/>
              <c:tx>
                <c:rich>
                  <a:bodyPr/>
                  <a:lstStyle/>
                  <a:p>
                    <a:fld id="{D4D8FC41-3335-429D-AF90-9B937D04A0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9-8E3F-4D1B-A313-C02BEC0FDBD1}"/>
                </c:ext>
              </c:extLst>
            </c:dLbl>
            <c:dLbl>
              <c:idx val="114"/>
              <c:tx>
                <c:rich>
                  <a:bodyPr/>
                  <a:lstStyle/>
                  <a:p>
                    <a:fld id="{EEDDF0F5-635B-410A-8961-C6377AC196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A-8E3F-4D1B-A313-C02BEC0FDBD1}"/>
                </c:ext>
              </c:extLst>
            </c:dLbl>
            <c:dLbl>
              <c:idx val="115"/>
              <c:tx>
                <c:rich>
                  <a:bodyPr/>
                  <a:lstStyle/>
                  <a:p>
                    <a:fld id="{BFE48072-4F1F-4747-90D2-FD81508BB3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B-8E3F-4D1B-A313-C02BEC0FDBD1}"/>
                </c:ext>
              </c:extLst>
            </c:dLbl>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8</c:f>
              <c:numCache>
                <c:formatCode>General</c:formatCode>
                <c:ptCount val="7"/>
                <c:pt idx="0">
                  <c:v>1</c:v>
                </c:pt>
                <c:pt idx="1">
                  <c:v>3</c:v>
                </c:pt>
                <c:pt idx="2">
                  <c:v>3</c:v>
                </c:pt>
                <c:pt idx="3">
                  <c:v>3</c:v>
                </c:pt>
                <c:pt idx="4">
                  <c:v>3</c:v>
                </c:pt>
                <c:pt idx="5">
                  <c:v>3</c:v>
                </c:pt>
                <c:pt idx="6">
                  <c:v>3</c:v>
                </c:pt>
              </c:numCache>
            </c:numRef>
          </c:xVal>
          <c:yVal>
            <c:numRef>
              <c:f>Sheet1!$B$2:$B$8</c:f>
              <c:numCache>
                <c:formatCode>General</c:formatCode>
                <c:ptCount val="7"/>
                <c:pt idx="0">
                  <c:v>0.24923026170236279</c:v>
                </c:pt>
                <c:pt idx="1">
                  <c:v>-0.1614699718356595</c:v>
                </c:pt>
                <c:pt idx="2">
                  <c:v>0</c:v>
                </c:pt>
                <c:pt idx="3">
                  <c:v>-4.1622861695754007E-2</c:v>
                </c:pt>
                <c:pt idx="4">
                  <c:v>-6.4600584123253466E-2</c:v>
                </c:pt>
                <c:pt idx="5">
                  <c:v>-9.5689587114431665E-2</c:v>
                </c:pt>
                <c:pt idx="6">
                  <c:v>0</c:v>
                </c:pt>
              </c:numCache>
            </c:numRef>
          </c:yVal>
          <c:bubbleSize>
            <c:numRef>
              <c:f>Sheet1!$C$2:$C$8</c:f>
              <c:numCache>
                <c:formatCode>General</c:formatCode>
                <c:ptCount val="7"/>
                <c:pt idx="0">
                  <c:v>38005340</c:v>
                </c:pt>
                <c:pt idx="1">
                  <c:v>4081396</c:v>
                </c:pt>
                <c:pt idx="2">
                  <c:v>271146</c:v>
                </c:pt>
                <c:pt idx="3">
                  <c:v>2362412</c:v>
                </c:pt>
                <c:pt idx="4">
                  <c:v>1029606</c:v>
                </c:pt>
                <c:pt idx="5">
                  <c:v>279376</c:v>
                </c:pt>
                <c:pt idx="6">
                  <c:v>1171</c:v>
                </c:pt>
              </c:numCache>
            </c:numRef>
          </c:bubbleSize>
          <c:bubble3D val="0"/>
          <c:extLst>
            <c:ext xmlns:c15="http://schemas.microsoft.com/office/drawing/2012/chart" uri="{02D57815-91ED-43cb-92C2-25804820EDAC}">
              <c15:datalabelsRange>
                <c15:f>Sheet1!$E$2:$E$150</c15:f>
                <c15:dlblRangeCache>
                  <c:ptCount val="149"/>
                  <c:pt idx="0">
                    <c:v>Gillette</c:v>
                  </c:pt>
                  <c:pt idx="1">
                    <c:v>Gillette</c:v>
                  </c:pt>
                  <c:pt idx="2">
                    <c:v>Harry's</c:v>
                  </c:pt>
                  <c:pt idx="3">
                    <c:v>Schick</c:v>
                  </c:pt>
                  <c:pt idx="4">
                    <c:v>Dollar Shave Club</c:v>
                  </c:pt>
                  <c:pt idx="5">
                    <c:v>Equate</c:v>
                  </c:pt>
                  <c:pt idx="6">
                    <c:v>Van Der Hagen</c:v>
                  </c:pt>
                </c15:dlblRangeCache>
              </c15:datalabelsRange>
            </c:ext>
            <c:ext xmlns:c16="http://schemas.microsoft.com/office/drawing/2014/chart" uri="{C3380CC4-5D6E-409C-BE32-E72D297353CC}">
              <c16:uniqueId val="{00000026-26FB-4B52-8D72-D56D618E8EAF}"/>
            </c:ext>
          </c:extLst>
        </c:ser>
        <c:dLbls>
          <c:dLblPos val="ctr"/>
          <c:showLegendKey val="0"/>
          <c:showVal val="1"/>
          <c:showCatName val="0"/>
          <c:showSerName val="0"/>
          <c:showPercent val="0"/>
          <c:showBubbleSize val="0"/>
        </c:dLbls>
        <c:bubbleScale val="75"/>
        <c:showNegBubbles val="0"/>
        <c:axId val="804121775"/>
        <c:axId val="804116783"/>
      </c:bubbleChart>
      <c:valAx>
        <c:axId val="804121775"/>
        <c:scaling>
          <c:orientation val="minMax"/>
          <c:max val="4"/>
          <c:min val="0"/>
        </c:scaling>
        <c:delete val="0"/>
        <c:axPos val="b"/>
        <c:numFmt formatCode="0%" sourceLinked="0"/>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16783"/>
        <c:crosses val="autoZero"/>
        <c:crossBetween val="midCat"/>
        <c:minorUnit val="0.1"/>
      </c:valAx>
      <c:valAx>
        <c:axId val="804116783"/>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en-US" sz="800" dirty="0">
                    <a:solidFill>
                      <a:schemeClr val="tx1"/>
                    </a:solidFill>
                    <a:latin typeface="Nexa Bold" panose="00000800000000000000" pitchFamily="2" charset="0"/>
                  </a:rPr>
                  <a:t>Averag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Valu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uplift</a:t>
                </a:r>
                <a:endParaRPr lang="en-CH" sz="800" dirty="0">
                  <a:solidFill>
                    <a:schemeClr val="tx1"/>
                  </a:solidFill>
                  <a:latin typeface="Nexa Bold" panose="00000800000000000000" pitchFamily="2" charset="0"/>
                </a:endParaRPr>
              </a:p>
            </c:rich>
          </c:tx>
          <c:layout>
            <c:manualLayout>
              <c:xMode val="edge"/>
              <c:yMode val="edge"/>
              <c:x val="2.0811111111111117E-3"/>
              <c:y val="0.10078557265656676"/>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CH"/>
            </a:p>
          </c:txPr>
        </c:title>
        <c:numFmt formatCode="0%" sourceLinked="0"/>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21775"/>
        <c:crosses val="autoZero"/>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Harry's</c:v>
                </c:pt>
              </c:strCache>
            </c:strRef>
          </c:cat>
          <c:val>
            <c:numRef>
              <c:f>Sheet1!$B$2:$B$4</c:f>
              <c:numCache>
                <c:formatCode>General</c:formatCode>
                <c:ptCount val="3"/>
                <c:pt idx="0">
                  <c:v>0.87832491684954983</c:v>
                </c:pt>
                <c:pt idx="1">
                  <c:v>9.7413913940889302E-2</c:v>
                </c:pt>
                <c:pt idx="2">
                  <c:v>1.674083389820883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Harry's</c:v>
                </c:pt>
              </c:strCache>
            </c:strRef>
          </c:cat>
          <c:val>
            <c:numRef>
              <c:f>Sheet1!$C$2:$C$4</c:f>
              <c:numCache>
                <c:formatCode>General</c:formatCode>
                <c:ptCount val="3"/>
                <c:pt idx="0">
                  <c:v>0.88200018478198738</c:v>
                </c:pt>
                <c:pt idx="1">
                  <c:v>9.7983218686598719E-2</c:v>
                </c:pt>
                <c:pt idx="2">
                  <c:v>1.3986579863426806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Harry's</c:v>
                </c:pt>
              </c:strCache>
            </c:strRef>
          </c:cat>
          <c:val>
            <c:numRef>
              <c:f>Sheet1!$D$2:$D$4</c:f>
              <c:numCache>
                <c:formatCode>General</c:formatCode>
                <c:ptCount val="3"/>
                <c:pt idx="0">
                  <c:v>0.55000000000000004</c:v>
                </c:pt>
                <c:pt idx="1">
                  <c:v>0.57999999999999996</c:v>
                </c:pt>
                <c:pt idx="2">
                  <c:v>0.48</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Bic</c:v>
                </c:pt>
                <c:pt idx="3">
                  <c:v>Equate</c:v>
                </c:pt>
                <c:pt idx="4">
                  <c:v>Schick</c:v>
                </c:pt>
                <c:pt idx="5">
                  <c:v>Dollar Shave Club</c:v>
                </c:pt>
                <c:pt idx="6">
                  <c:v>Van Der Hagen</c:v>
                </c:pt>
                <c:pt idx="7">
                  <c:v>Comfort 3</c:v>
                </c:pt>
              </c:strCache>
            </c:strRef>
          </c:cat>
          <c:val>
            <c:numRef>
              <c:f>Sheet1!$B$2:$B$9</c:f>
              <c:numCache>
                <c:formatCode>General</c:formatCode>
                <c:ptCount val="8"/>
                <c:pt idx="0">
                  <c:v>0.56483715371964871</c:v>
                </c:pt>
                <c:pt idx="1">
                  <c:v>0.1416278236977879</c:v>
                </c:pt>
                <c:pt idx="2">
                  <c:v>0.10553634108316133</c:v>
                </c:pt>
                <c:pt idx="3">
                  <c:v>7.0658383772867053E-2</c:v>
                </c:pt>
                <c:pt idx="4">
                  <c:v>6.8500003472781137E-2</c:v>
                </c:pt>
                <c:pt idx="5">
                  <c:v>2.5977300664784764E-2</c:v>
                </c:pt>
                <c:pt idx="6">
                  <c:v>1.198161606558552E-2</c:v>
                </c:pt>
                <c:pt idx="7">
                  <c:v>1.0605108215972398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Bic</c:v>
                </c:pt>
                <c:pt idx="3">
                  <c:v>Equate</c:v>
                </c:pt>
                <c:pt idx="4">
                  <c:v>Schick</c:v>
                </c:pt>
                <c:pt idx="5">
                  <c:v>Dollar Shave Club</c:v>
                </c:pt>
                <c:pt idx="6">
                  <c:v>Van Der Hagen</c:v>
                </c:pt>
                <c:pt idx="7">
                  <c:v>Comfort 3</c:v>
                </c:pt>
              </c:strCache>
            </c:strRef>
          </c:cat>
          <c:val>
            <c:numRef>
              <c:f>Sheet1!$C$2:$C$9</c:f>
              <c:numCache>
                <c:formatCode>General</c:formatCode>
                <c:ptCount val="8"/>
                <c:pt idx="0">
                  <c:v>0.40765098188056009</c:v>
                </c:pt>
                <c:pt idx="1">
                  <c:v>1.6206463030456225E-2</c:v>
                </c:pt>
                <c:pt idx="2">
                  <c:v>0.17610978021632487</c:v>
                </c:pt>
                <c:pt idx="3">
                  <c:v>5.629218263438214E-2</c:v>
                </c:pt>
                <c:pt idx="4">
                  <c:v>0.23988376089980643</c:v>
                </c:pt>
                <c:pt idx="5">
                  <c:v>7.3793689215100711E-2</c:v>
                </c:pt>
                <c:pt idx="6">
                  <c:v>3.650833154247165E-4</c:v>
                </c:pt>
                <c:pt idx="7">
                  <c:v>2.960640545256369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Bic</c:v>
                </c:pt>
                <c:pt idx="3">
                  <c:v>Equate</c:v>
                </c:pt>
                <c:pt idx="4">
                  <c:v>Schick</c:v>
                </c:pt>
                <c:pt idx="5">
                  <c:v>Dollar Shave Club</c:v>
                </c:pt>
                <c:pt idx="6">
                  <c:v>Van Der Hagen</c:v>
                </c:pt>
                <c:pt idx="7">
                  <c:v>Comfort 3</c:v>
                </c:pt>
              </c:strCache>
            </c:strRef>
          </c:cat>
          <c:val>
            <c:numRef>
              <c:f>Sheet1!$D$2:$D$9</c:f>
              <c:numCache>
                <c:formatCode>General</c:formatCode>
                <c:ptCount val="8"/>
                <c:pt idx="0">
                  <c:v>0.02</c:v>
                </c:pt>
                <c:pt idx="1">
                  <c:v>0.01</c:v>
                </c:pt>
                <c:pt idx="2">
                  <c:v>0.09</c:v>
                </c:pt>
                <c:pt idx="3">
                  <c:v>0.06</c:v>
                </c:pt>
                <c:pt idx="4">
                  <c:v>0.16</c:v>
                </c:pt>
                <c:pt idx="5">
                  <c:v>0.14000000000000001</c:v>
                </c:pt>
                <c:pt idx="6">
                  <c:v>0</c:v>
                </c:pt>
                <c:pt idx="7">
                  <c:v>0.15</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illette</c:v>
                </c:pt>
                <c:pt idx="1">
                  <c:v>Harry's</c:v>
                </c:pt>
              </c:strCache>
            </c:strRef>
          </c:cat>
          <c:val>
            <c:numRef>
              <c:f>Sheet1!$B$2:$B$3</c:f>
              <c:numCache>
                <c:formatCode>General</c:formatCode>
                <c:ptCount val="2"/>
                <c:pt idx="0">
                  <c:v>0.97700099026865961</c:v>
                </c:pt>
                <c:pt idx="1">
                  <c:v>2.2633781684865389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illette</c:v>
                </c:pt>
                <c:pt idx="1">
                  <c:v>Harry's</c:v>
                </c:pt>
              </c:strCache>
            </c:strRef>
          </c:cat>
          <c:val>
            <c:numRef>
              <c:f>Sheet1!$C$2:$C$3</c:f>
              <c:numCache>
                <c:formatCode>General</c:formatCode>
                <c:ptCount val="2"/>
                <c:pt idx="0">
                  <c:v>0.98112054302241758</c:v>
                </c:pt>
                <c:pt idx="1">
                  <c:v>1.886616177885278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illette</c:v>
                </c:pt>
                <c:pt idx="1">
                  <c:v>Harry's</c:v>
                </c:pt>
              </c:strCache>
            </c:strRef>
          </c:cat>
          <c:val>
            <c:numRef>
              <c:f>Sheet1!$D$2:$D$3</c:f>
              <c:numCache>
                <c:formatCode>General</c:formatCode>
                <c:ptCount val="2"/>
                <c:pt idx="0">
                  <c:v>0.56000000000000005</c:v>
                </c:pt>
                <c:pt idx="1">
                  <c:v>0.48</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Bic</c:v>
                </c:pt>
              </c:strCache>
            </c:strRef>
          </c:cat>
          <c:val>
            <c:numRef>
              <c:f>Sheet1!$B$2:$B$4</c:f>
              <c:numCache>
                <c:formatCode>General</c:formatCode>
                <c:ptCount val="3"/>
                <c:pt idx="0">
                  <c:v>0.59800345216981332</c:v>
                </c:pt>
                <c:pt idx="1">
                  <c:v>0.37414980431335232</c:v>
                </c:pt>
                <c:pt idx="2">
                  <c:v>2.5763393123248785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Bic</c:v>
                </c:pt>
              </c:strCache>
            </c:strRef>
          </c:cat>
          <c:val>
            <c:numRef>
              <c:f>Sheet1!$C$2:$C$4</c:f>
              <c:numCache>
                <c:formatCode>General</c:formatCode>
                <c:ptCount val="3"/>
                <c:pt idx="0">
                  <c:v>0.5978867441942749</c:v>
                </c:pt>
                <c:pt idx="1">
                  <c:v>0.37883722158862609</c:v>
                </c:pt>
                <c:pt idx="2">
                  <c:v>2.3171462582742459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Bic</c:v>
                </c:pt>
              </c:strCache>
            </c:strRef>
          </c:cat>
          <c:val>
            <c:numRef>
              <c:f>Sheet1!$D$2:$D$4</c:f>
              <c:numCache>
                <c:formatCode>General</c:formatCode>
                <c:ptCount val="3"/>
                <c:pt idx="0">
                  <c:v>0.54</c:v>
                </c:pt>
                <c:pt idx="1">
                  <c:v>0.57999999999999996</c:v>
                </c:pt>
                <c:pt idx="2">
                  <c:v>0.53</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Bic</c:v>
                </c:pt>
                <c:pt idx="3">
                  <c:v>Schick</c:v>
                </c:pt>
                <c:pt idx="4">
                  <c:v>Dollar Shave Club</c:v>
                </c:pt>
                <c:pt idx="5">
                  <c:v>Equate</c:v>
                </c:pt>
                <c:pt idx="6">
                  <c:v>Van Der Hagen</c:v>
                </c:pt>
                <c:pt idx="7">
                  <c:v>Comfort 3</c:v>
                </c:pt>
              </c:strCache>
            </c:strRef>
          </c:cat>
          <c:val>
            <c:numRef>
              <c:f>Sheet1!$B$2:$B$9</c:f>
              <c:numCache>
                <c:formatCode>General</c:formatCode>
                <c:ptCount val="8"/>
                <c:pt idx="0">
                  <c:v>0.57662833002313973</c:v>
                </c:pt>
                <c:pt idx="1">
                  <c:v>0.20956447897778954</c:v>
                </c:pt>
                <c:pt idx="2">
                  <c:v>6.6744369606912921E-2</c:v>
                </c:pt>
                <c:pt idx="3">
                  <c:v>4.4152894114313078E-2</c:v>
                </c:pt>
                <c:pt idx="4">
                  <c:v>3.8732858470295811E-2</c:v>
                </c:pt>
                <c:pt idx="5">
                  <c:v>3.0087847895468579E-2</c:v>
                </c:pt>
                <c:pt idx="6">
                  <c:v>1.786491388394575E-2</c:v>
                </c:pt>
                <c:pt idx="7">
                  <c:v>1.5812503419505446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Bic</c:v>
                </c:pt>
                <c:pt idx="3">
                  <c:v>Schick</c:v>
                </c:pt>
                <c:pt idx="4">
                  <c:v>Dollar Shave Club</c:v>
                </c:pt>
                <c:pt idx="5">
                  <c:v>Equate</c:v>
                </c:pt>
                <c:pt idx="6">
                  <c:v>Van Der Hagen</c:v>
                </c:pt>
                <c:pt idx="7">
                  <c:v>Comfort 3</c:v>
                </c:pt>
              </c:strCache>
            </c:strRef>
          </c:cat>
          <c:val>
            <c:numRef>
              <c:f>Sheet1!$C$2:$C$9</c:f>
              <c:numCache>
                <c:formatCode>General</c:formatCode>
                <c:ptCount val="8"/>
                <c:pt idx="0">
                  <c:v>0.49788122895873504</c:v>
                </c:pt>
                <c:pt idx="1">
                  <c:v>2.0448426644065411E-2</c:v>
                </c:pt>
                <c:pt idx="2">
                  <c:v>0.13957026037713524</c:v>
                </c:pt>
                <c:pt idx="3">
                  <c:v>0.19490866636224055</c:v>
                </c:pt>
                <c:pt idx="4">
                  <c:v>9.3237573788214539E-2</c:v>
                </c:pt>
                <c:pt idx="5">
                  <c:v>1.5969418707204575E-2</c:v>
                </c:pt>
                <c:pt idx="6">
                  <c:v>4.612790459836824E-4</c:v>
                </c:pt>
                <c:pt idx="7">
                  <c:v>3.7407391368398019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llette</c:v>
                </c:pt>
                <c:pt idx="1">
                  <c:v>Harry's</c:v>
                </c:pt>
                <c:pt idx="2">
                  <c:v>Bic</c:v>
                </c:pt>
                <c:pt idx="3">
                  <c:v>Schick</c:v>
                </c:pt>
                <c:pt idx="4">
                  <c:v>Dollar Shave Club</c:v>
                </c:pt>
                <c:pt idx="5">
                  <c:v>Equate</c:v>
                </c:pt>
                <c:pt idx="6">
                  <c:v>Van Der Hagen</c:v>
                </c:pt>
                <c:pt idx="7">
                  <c:v>Comfort 3</c:v>
                </c:pt>
              </c:strCache>
            </c:strRef>
          </c:cat>
          <c:val>
            <c:numRef>
              <c:f>Sheet1!$D$2:$D$9</c:f>
              <c:numCache>
                <c:formatCode>General</c:formatCode>
                <c:ptCount val="8"/>
                <c:pt idx="0">
                  <c:v>0.06</c:v>
                </c:pt>
                <c:pt idx="1">
                  <c:v>0.01</c:v>
                </c:pt>
                <c:pt idx="2">
                  <c:v>0.25</c:v>
                </c:pt>
                <c:pt idx="3">
                  <c:v>0.3</c:v>
                </c:pt>
                <c:pt idx="4">
                  <c:v>0.14000000000000001</c:v>
                </c:pt>
                <c:pt idx="5">
                  <c:v>0.05</c:v>
                </c:pt>
                <c:pt idx="6">
                  <c:v>0</c:v>
                </c:pt>
                <c:pt idx="7">
                  <c:v>0.15</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Bic</c:v>
                </c:pt>
                <c:pt idx="2">
                  <c:v>Equate</c:v>
                </c:pt>
                <c:pt idx="3">
                  <c:v>Schick</c:v>
                </c:pt>
              </c:strCache>
            </c:strRef>
          </c:cat>
          <c:val>
            <c:numRef>
              <c:f>Sheet1!$B$2:$B$5</c:f>
              <c:numCache>
                <c:formatCode>General</c:formatCode>
                <c:ptCount val="4"/>
                <c:pt idx="0">
                  <c:v>0.54082386189050302</c:v>
                </c:pt>
                <c:pt idx="1">
                  <c:v>0.18453803758152043</c:v>
                </c:pt>
                <c:pt idx="2">
                  <c:v>0.15328221133792058</c:v>
                </c:pt>
                <c:pt idx="3">
                  <c:v>0.11808405065965208</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Bic</c:v>
                </c:pt>
                <c:pt idx="2">
                  <c:v>Equate</c:v>
                </c:pt>
                <c:pt idx="3">
                  <c:v>Schick</c:v>
                </c:pt>
              </c:strCache>
            </c:strRef>
          </c:cat>
          <c:val>
            <c:numRef>
              <c:f>Sheet1!$C$2:$C$5</c:f>
              <c:numCache>
                <c:formatCode>General</c:formatCode>
                <c:ptCount val="4"/>
                <c:pt idx="0">
                  <c:v>6.5207948666118093E-2</c:v>
                </c:pt>
                <c:pt idx="1">
                  <c:v>0.31478505165928605</c:v>
                </c:pt>
                <c:pt idx="2">
                  <c:v>0.20932567233378616</c:v>
                </c:pt>
                <c:pt idx="3">
                  <c:v>0.41057383757893434</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Bic</c:v>
                </c:pt>
                <c:pt idx="2">
                  <c:v>Equate</c:v>
                </c:pt>
                <c:pt idx="3">
                  <c:v>Schick</c:v>
                </c:pt>
              </c:strCache>
            </c:strRef>
          </c:cat>
          <c:val>
            <c:numRef>
              <c:f>Sheet1!$D$2:$D$5</c:f>
              <c:numCache>
                <c:formatCode>General</c:formatCode>
                <c:ptCount val="4"/>
                <c:pt idx="0">
                  <c:v>0</c:v>
                </c:pt>
                <c:pt idx="1">
                  <c:v>0.03</c:v>
                </c:pt>
                <c:pt idx="2">
                  <c:v>0.06</c:v>
                </c:pt>
                <c:pt idx="3">
                  <c:v>0.11</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Bic</c:v>
                </c:pt>
              </c:strCache>
            </c:strRef>
          </c:cat>
          <c:val>
            <c:numRef>
              <c:f>Sheet1!$B$2:$B$4</c:f>
              <c:numCache>
                <c:formatCode>General</c:formatCode>
                <c:ptCount val="3"/>
                <c:pt idx="0">
                  <c:v>0.59800345216981332</c:v>
                </c:pt>
                <c:pt idx="1">
                  <c:v>0.37414980431335232</c:v>
                </c:pt>
                <c:pt idx="2">
                  <c:v>2.5763393123248785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Bic</c:v>
                </c:pt>
              </c:strCache>
            </c:strRef>
          </c:cat>
          <c:val>
            <c:numRef>
              <c:f>Sheet1!$C$2:$C$4</c:f>
              <c:numCache>
                <c:formatCode>General</c:formatCode>
                <c:ptCount val="3"/>
                <c:pt idx="0">
                  <c:v>0.5978867441942749</c:v>
                </c:pt>
                <c:pt idx="1">
                  <c:v>0.37883722158862609</c:v>
                </c:pt>
                <c:pt idx="2">
                  <c:v>2.3171462582742459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illette</c:v>
                </c:pt>
                <c:pt idx="1">
                  <c:v>Schick</c:v>
                </c:pt>
                <c:pt idx="2">
                  <c:v>Bic</c:v>
                </c:pt>
              </c:strCache>
            </c:strRef>
          </c:cat>
          <c:val>
            <c:numRef>
              <c:f>Sheet1!$D$2:$D$4</c:f>
              <c:numCache>
                <c:formatCode>General</c:formatCode>
                <c:ptCount val="3"/>
                <c:pt idx="0">
                  <c:v>0.54</c:v>
                </c:pt>
                <c:pt idx="1">
                  <c:v>0.57999999999999996</c:v>
                </c:pt>
                <c:pt idx="2">
                  <c:v>0.53</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64864197530864"/>
          <c:y val="0.12152940918360107"/>
          <c:w val="0.83974691358024689"/>
          <c:h val="0.72254306602702423"/>
        </c:manualLayout>
      </c:layout>
      <c:bubbleChart>
        <c:varyColors val="0"/>
        <c:ser>
          <c:idx val="0"/>
          <c:order val="0"/>
          <c:tx>
            <c:strRef>
              <c:f>Sheet1!$B$1</c:f>
              <c:strCache>
                <c:ptCount val="1"/>
                <c:pt idx="0">
                  <c:v>Average Value Uplift</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26FB-4B52-8D72-D56D618E8EAF}"/>
              </c:ext>
            </c:extLst>
          </c:dPt>
          <c:dPt>
            <c:idx val="1"/>
            <c:invertIfNegative val="0"/>
            <c:bubble3D val="0"/>
            <c:spPr>
              <a:solidFill>
                <a:srgbClr val="E6E5E5"/>
              </a:solidFill>
              <a:ln>
                <a:noFill/>
              </a:ln>
              <a:effectLst/>
            </c:spPr>
            <c:extLst>
              <c:ext xmlns:c16="http://schemas.microsoft.com/office/drawing/2014/chart" uri="{C3380CC4-5D6E-409C-BE32-E72D297353CC}">
                <c16:uniqueId val="{00000003-26FB-4B52-8D72-D56D618E8EAF}"/>
              </c:ext>
            </c:extLst>
          </c:dPt>
          <c:dPt>
            <c:idx val="2"/>
            <c:invertIfNegative val="0"/>
            <c:bubble3D val="0"/>
            <c:spPr>
              <a:solidFill>
                <a:srgbClr val="7ECAC4"/>
              </a:solidFill>
              <a:ln>
                <a:noFill/>
              </a:ln>
              <a:effectLst/>
            </c:spPr>
            <c:extLst>
              <c:ext xmlns:c16="http://schemas.microsoft.com/office/drawing/2014/chart" uri="{C3380CC4-5D6E-409C-BE32-E72D297353CC}">
                <c16:uniqueId val="{00000005-26FB-4B52-8D72-D56D618E8EAF}"/>
              </c:ext>
            </c:extLst>
          </c:dPt>
          <c:dPt>
            <c:idx val="3"/>
            <c:invertIfNegative val="0"/>
            <c:bubble3D val="0"/>
            <c:spPr>
              <a:solidFill>
                <a:srgbClr val="E6E5E5"/>
              </a:solidFill>
              <a:ln>
                <a:noFill/>
              </a:ln>
              <a:effectLst/>
            </c:spPr>
            <c:extLst>
              <c:ext xmlns:c16="http://schemas.microsoft.com/office/drawing/2014/chart" uri="{C3380CC4-5D6E-409C-BE32-E72D297353CC}">
                <c16:uniqueId val="{00000007-26FB-4B52-8D72-D56D618E8EAF}"/>
              </c:ext>
            </c:extLst>
          </c:dPt>
          <c:dPt>
            <c:idx val="4"/>
            <c:invertIfNegative val="0"/>
            <c:bubble3D val="0"/>
            <c:spPr>
              <a:solidFill>
                <a:srgbClr val="E6E5E5"/>
              </a:solidFill>
              <a:ln>
                <a:noFill/>
              </a:ln>
              <a:effectLst/>
            </c:spPr>
            <c:extLst>
              <c:ext xmlns:c16="http://schemas.microsoft.com/office/drawing/2014/chart" uri="{C3380CC4-5D6E-409C-BE32-E72D297353CC}">
                <c16:uniqueId val="{00000009-26FB-4B52-8D72-D56D618E8EAF}"/>
              </c:ext>
            </c:extLst>
          </c:dPt>
          <c:dPt>
            <c:idx val="5"/>
            <c:invertIfNegative val="0"/>
            <c:bubble3D val="0"/>
            <c:spPr>
              <a:solidFill>
                <a:srgbClr val="7ECAC4"/>
              </a:solidFill>
              <a:ln>
                <a:noFill/>
              </a:ln>
              <a:effectLst/>
            </c:spPr>
            <c:extLst>
              <c:ext xmlns:c16="http://schemas.microsoft.com/office/drawing/2014/chart" uri="{C3380CC4-5D6E-409C-BE32-E72D297353CC}">
                <c16:uniqueId val="{0000000B-26FB-4B52-8D72-D56D618E8EAF}"/>
              </c:ext>
            </c:extLst>
          </c:dPt>
          <c:dPt>
            <c:idx val="6"/>
            <c:invertIfNegative val="0"/>
            <c:bubble3D val="0"/>
            <c:spPr>
              <a:solidFill>
                <a:srgbClr val="7ECAC4"/>
              </a:solidFill>
              <a:ln>
                <a:noFill/>
              </a:ln>
              <a:effectLst/>
            </c:spPr>
            <c:extLst>
              <c:ext xmlns:c16="http://schemas.microsoft.com/office/drawing/2014/chart" uri="{C3380CC4-5D6E-409C-BE32-E72D297353CC}">
                <c16:uniqueId val="{0000000D-26FB-4B52-8D72-D56D618E8EAF}"/>
              </c:ext>
            </c:extLst>
          </c:dPt>
          <c:dPt>
            <c:idx val="7"/>
            <c:invertIfNegative val="0"/>
            <c:bubble3D val="0"/>
            <c:spPr>
              <a:solidFill>
                <a:schemeClr val="bg2"/>
              </a:solidFill>
              <a:ln>
                <a:noFill/>
              </a:ln>
              <a:effectLst/>
            </c:spPr>
            <c:extLst>
              <c:ext xmlns:c16="http://schemas.microsoft.com/office/drawing/2014/chart" uri="{C3380CC4-5D6E-409C-BE32-E72D297353CC}">
                <c16:uniqueId val="{0000000F-26FB-4B52-8D72-D56D618E8EAF}"/>
              </c:ext>
            </c:extLst>
          </c:dPt>
          <c:dPt>
            <c:idx val="8"/>
            <c:invertIfNegative val="0"/>
            <c:bubble3D val="0"/>
            <c:spPr>
              <a:solidFill>
                <a:schemeClr val="bg2"/>
              </a:solidFill>
              <a:ln>
                <a:noFill/>
              </a:ln>
              <a:effectLst/>
            </c:spPr>
            <c:extLst>
              <c:ext xmlns:c16="http://schemas.microsoft.com/office/drawing/2014/chart" uri="{C3380CC4-5D6E-409C-BE32-E72D297353CC}">
                <c16:uniqueId val="{00000011-26FB-4B52-8D72-D56D618E8EAF}"/>
              </c:ext>
            </c:extLst>
          </c:dPt>
          <c:dPt>
            <c:idx val="11"/>
            <c:invertIfNegative val="0"/>
            <c:bubble3D val="0"/>
            <c:spPr>
              <a:solidFill>
                <a:schemeClr val="bg2"/>
              </a:solidFill>
              <a:ln>
                <a:noFill/>
              </a:ln>
              <a:effectLst/>
            </c:spPr>
            <c:extLst>
              <c:ext xmlns:c16="http://schemas.microsoft.com/office/drawing/2014/chart" uri="{C3380CC4-5D6E-409C-BE32-E72D297353CC}">
                <c16:uniqueId val="{00000013-26FB-4B52-8D72-D56D618E8EAF}"/>
              </c:ext>
            </c:extLst>
          </c:dPt>
          <c:dPt>
            <c:idx val="12"/>
            <c:invertIfNegative val="0"/>
            <c:bubble3D val="0"/>
            <c:spPr>
              <a:solidFill>
                <a:schemeClr val="bg2"/>
              </a:solidFill>
              <a:ln>
                <a:noFill/>
              </a:ln>
              <a:effectLst/>
            </c:spPr>
            <c:extLst>
              <c:ext xmlns:c16="http://schemas.microsoft.com/office/drawing/2014/chart" uri="{C3380CC4-5D6E-409C-BE32-E72D297353CC}">
                <c16:uniqueId val="{00000002-7B2D-4A32-96D2-9C641BCDE5CC}"/>
              </c:ext>
            </c:extLst>
          </c:dPt>
          <c:dPt>
            <c:idx val="13"/>
            <c:invertIfNegative val="0"/>
            <c:bubble3D val="0"/>
            <c:extLst>
              <c:ext xmlns:c16="http://schemas.microsoft.com/office/drawing/2014/chart" uri="{C3380CC4-5D6E-409C-BE32-E72D297353CC}">
                <c16:uniqueId val="{00000017-26FB-4B52-8D72-D56D618E8EAF}"/>
              </c:ext>
            </c:extLst>
          </c:dPt>
          <c:dPt>
            <c:idx val="14"/>
            <c:invertIfNegative val="0"/>
            <c:bubble3D val="0"/>
            <c:spPr>
              <a:solidFill>
                <a:schemeClr val="bg2"/>
              </a:solidFill>
              <a:ln>
                <a:noFill/>
              </a:ln>
              <a:effectLst/>
            </c:spPr>
            <c:extLst>
              <c:ext xmlns:c16="http://schemas.microsoft.com/office/drawing/2014/chart" uri="{C3380CC4-5D6E-409C-BE32-E72D297353CC}">
                <c16:uniqueId val="{00000019-26FB-4B52-8D72-D56D618E8EAF}"/>
              </c:ext>
            </c:extLst>
          </c:dPt>
          <c:dPt>
            <c:idx val="15"/>
            <c:invertIfNegative val="0"/>
            <c:bubble3D val="0"/>
            <c:extLst>
              <c:ext xmlns:c16="http://schemas.microsoft.com/office/drawing/2014/chart" uri="{C3380CC4-5D6E-409C-BE32-E72D297353CC}">
                <c16:uniqueId val="{0000001C-26FB-4B52-8D72-D56D618E8EAF}"/>
              </c:ext>
            </c:extLst>
          </c:dPt>
          <c:dPt>
            <c:idx val="19"/>
            <c:invertIfNegative val="0"/>
            <c:bubble3D val="0"/>
            <c:spPr>
              <a:solidFill>
                <a:srgbClr val="7ECAC4"/>
              </a:solidFill>
              <a:ln>
                <a:noFill/>
              </a:ln>
              <a:effectLst/>
            </c:spPr>
            <c:extLst>
              <c:ext xmlns:c16="http://schemas.microsoft.com/office/drawing/2014/chart" uri="{C3380CC4-5D6E-409C-BE32-E72D297353CC}">
                <c16:uniqueId val="{00000002-0A6E-4C83-9A06-9C3309B2855E}"/>
              </c:ext>
            </c:extLst>
          </c:dPt>
          <c:dPt>
            <c:idx val="24"/>
            <c:invertIfNegative val="0"/>
            <c:bubble3D val="0"/>
            <c:spPr>
              <a:solidFill>
                <a:schemeClr val="bg2"/>
              </a:solidFill>
              <a:ln>
                <a:noFill/>
              </a:ln>
              <a:effectLst/>
            </c:spPr>
            <c:extLst>
              <c:ext xmlns:c16="http://schemas.microsoft.com/office/drawing/2014/chart" uri="{C3380CC4-5D6E-409C-BE32-E72D297353CC}">
                <c16:uniqueId val="{00000005-0A6E-4C83-9A06-9C3309B2855E}"/>
              </c:ext>
            </c:extLst>
          </c:dPt>
          <c:dPt>
            <c:idx val="29"/>
            <c:invertIfNegative val="0"/>
            <c:bubble3D val="0"/>
            <c:extLst>
              <c:ext xmlns:c16="http://schemas.microsoft.com/office/drawing/2014/chart" uri="{C3380CC4-5D6E-409C-BE32-E72D297353CC}">
                <c16:uniqueId val="{00000003-8F47-486F-B734-6012CEA493B3}"/>
              </c:ext>
            </c:extLst>
          </c:dPt>
          <c:dPt>
            <c:idx val="31"/>
            <c:invertIfNegative val="0"/>
            <c:bubble3D val="0"/>
            <c:spPr>
              <a:solidFill>
                <a:schemeClr val="accent2"/>
              </a:solidFill>
              <a:ln>
                <a:noFill/>
              </a:ln>
              <a:effectLst/>
            </c:spPr>
            <c:extLst>
              <c:ext xmlns:c16="http://schemas.microsoft.com/office/drawing/2014/chart" uri="{C3380CC4-5D6E-409C-BE32-E72D297353CC}">
                <c16:uniqueId val="{00000000-4D12-44DE-B956-CABCB15EBC04}"/>
              </c:ext>
            </c:extLst>
          </c:dPt>
          <c:dPt>
            <c:idx val="33"/>
            <c:invertIfNegative val="0"/>
            <c:bubble3D val="0"/>
            <c:spPr>
              <a:solidFill>
                <a:schemeClr val="accent2"/>
              </a:solidFill>
              <a:ln>
                <a:noFill/>
              </a:ln>
              <a:effectLst/>
            </c:spPr>
            <c:extLst>
              <c:ext xmlns:c16="http://schemas.microsoft.com/office/drawing/2014/chart" uri="{C3380CC4-5D6E-409C-BE32-E72D297353CC}">
                <c16:uniqueId val="{00000001-4D12-44DE-B956-CABCB15EBC04}"/>
              </c:ext>
            </c:extLst>
          </c:dPt>
          <c:dLbls>
            <c:dLbl>
              <c:idx val="0"/>
              <c:tx>
                <c:rich>
                  <a:bodyPr/>
                  <a:lstStyle/>
                  <a:p>
                    <a:fld id="{7020C2D1-9C66-4BAE-8CB2-A940DA0345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FB-4B52-8D72-D56D618E8EAF}"/>
                </c:ext>
              </c:extLst>
            </c:dLbl>
            <c:dLbl>
              <c:idx val="1"/>
              <c:tx>
                <c:rich>
                  <a:bodyPr/>
                  <a:lstStyle/>
                  <a:p>
                    <a:fld id="{6AD335BC-0E46-4230-89E5-7DBD11CCC3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FB-4B52-8D72-D56D618E8EAF}"/>
                </c:ext>
              </c:extLst>
            </c:dLbl>
            <c:dLbl>
              <c:idx val="2"/>
              <c:tx>
                <c:rich>
                  <a:bodyPr/>
                  <a:lstStyle/>
                  <a:p>
                    <a:fld id="{67B1B9D2-4669-4766-B3B8-F3E332C578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26FB-4B52-8D72-D56D618E8EAF}"/>
                </c:ext>
              </c:extLst>
            </c:dLbl>
            <c:dLbl>
              <c:idx val="3"/>
              <c:tx>
                <c:rich>
                  <a:bodyPr/>
                  <a:lstStyle/>
                  <a:p>
                    <a:fld id="{FF090C1B-C6AC-40FB-A81E-E74B437EEE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FB-4B52-8D72-D56D618E8EAF}"/>
                </c:ext>
              </c:extLst>
            </c:dLbl>
            <c:dLbl>
              <c:idx val="4"/>
              <c:tx>
                <c:rich>
                  <a:bodyPr/>
                  <a:lstStyle/>
                  <a:p>
                    <a:fld id="{0A23CA89-0D87-4F9B-817D-5B59DFA51E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FB-4B52-8D72-D56D618E8EAF}"/>
                </c:ext>
              </c:extLst>
            </c:dLbl>
            <c:dLbl>
              <c:idx val="5"/>
              <c:tx>
                <c:rich>
                  <a:bodyPr/>
                  <a:lstStyle/>
                  <a:p>
                    <a:fld id="{434CBE71-DE14-400B-8EA9-DB8557BF53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26FB-4B52-8D72-D56D618E8EAF}"/>
                </c:ext>
              </c:extLst>
            </c:dLbl>
            <c:dLbl>
              <c:idx val="6"/>
              <c:tx>
                <c:rich>
                  <a:bodyPr/>
                  <a:lstStyle/>
                  <a:p>
                    <a:fld id="{0536C7C3-D239-4A3B-A2E3-7D89054C92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26FB-4B52-8D72-D56D618E8EAF}"/>
                </c:ext>
              </c:extLst>
            </c:dLbl>
            <c:dLbl>
              <c:idx val="7"/>
              <c:tx>
                <c:rich>
                  <a:bodyPr/>
                  <a:lstStyle/>
                  <a:p>
                    <a:fld id="{D347E8BD-92BC-4A10-8D6B-5E2ACA66E7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26FB-4B52-8D72-D56D618E8EAF}"/>
                </c:ext>
              </c:extLst>
            </c:dLbl>
            <c:dLbl>
              <c:idx val="8"/>
              <c:tx>
                <c:rich>
                  <a:bodyPr/>
                  <a:lstStyle/>
                  <a:p>
                    <a:fld id="{DB75D9FA-87EA-4A02-A833-2BA3CF1081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26FB-4B52-8D72-D56D618E8EAF}"/>
                </c:ext>
              </c:extLst>
            </c:dLbl>
            <c:dLbl>
              <c:idx val="9"/>
              <c:tx>
                <c:rich>
                  <a:bodyPr/>
                  <a:lstStyle/>
                  <a:p>
                    <a:fld id="{C4C7432E-5934-43B3-9FCF-A5368A0BD5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B2D-4A32-96D2-9C641BCDE5CC}"/>
                </c:ext>
              </c:extLst>
            </c:dLbl>
            <c:dLbl>
              <c:idx val="10"/>
              <c:tx>
                <c:rich>
                  <a:bodyPr/>
                  <a:lstStyle/>
                  <a:p>
                    <a:fld id="{928318B1-B2D9-4AF7-B8DF-5BA20F1AD4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7B2D-4A32-96D2-9C641BCDE5CC}"/>
                </c:ext>
              </c:extLst>
            </c:dLbl>
            <c:dLbl>
              <c:idx val="11"/>
              <c:tx>
                <c:rich>
                  <a:bodyPr/>
                  <a:lstStyle/>
                  <a:p>
                    <a:fld id="{D495EBF8-A00D-4EE9-9A90-4E63730B26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26FB-4B52-8D72-D56D618E8EAF}"/>
                </c:ext>
              </c:extLst>
            </c:dLbl>
            <c:dLbl>
              <c:idx val="12"/>
              <c:tx>
                <c:rich>
                  <a:bodyPr/>
                  <a:lstStyle/>
                  <a:p>
                    <a:fld id="{F541F0F6-708B-44C6-82D8-6B45289D5A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7B2D-4A32-96D2-9C641BCDE5CC}"/>
                </c:ext>
              </c:extLst>
            </c:dLbl>
            <c:dLbl>
              <c:idx val="13"/>
              <c:tx>
                <c:rich>
                  <a:bodyPr/>
                  <a:lstStyle/>
                  <a:p>
                    <a:fld id="{7DC19994-0E68-422D-9CC5-A69A730EB4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26FB-4B52-8D72-D56D618E8EAF}"/>
                </c:ext>
              </c:extLst>
            </c:dLbl>
            <c:dLbl>
              <c:idx val="14"/>
              <c:tx>
                <c:rich>
                  <a:bodyPr/>
                  <a:lstStyle/>
                  <a:p>
                    <a:fld id="{AE24941B-CD17-46DD-9612-34C621BDE9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26FB-4B52-8D72-D56D618E8EAF}"/>
                </c:ext>
              </c:extLst>
            </c:dLbl>
            <c:dLbl>
              <c:idx val="15"/>
              <c:tx>
                <c:rich>
                  <a:bodyPr/>
                  <a:lstStyle/>
                  <a:p>
                    <a:fld id="{598BC1FC-CD41-4D2C-8633-45510F9173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26FB-4B52-8D72-D56D618E8EAF}"/>
                </c:ext>
              </c:extLst>
            </c:dLbl>
            <c:dLbl>
              <c:idx val="16"/>
              <c:tx>
                <c:rich>
                  <a:bodyPr/>
                  <a:lstStyle/>
                  <a:p>
                    <a:fld id="{739850BA-89AF-4944-987D-A0A5BF1E07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0A6E-4C83-9A06-9C3309B2855E}"/>
                </c:ext>
              </c:extLst>
            </c:dLbl>
            <c:dLbl>
              <c:idx val="17"/>
              <c:tx>
                <c:rich>
                  <a:bodyPr/>
                  <a:lstStyle/>
                  <a:p>
                    <a:fld id="{2DEFB011-4DCF-4D7C-B166-5148D3982D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0A6E-4C83-9A06-9C3309B2855E}"/>
                </c:ext>
              </c:extLst>
            </c:dLbl>
            <c:dLbl>
              <c:idx val="18"/>
              <c:tx>
                <c:rich>
                  <a:bodyPr/>
                  <a:lstStyle/>
                  <a:p>
                    <a:fld id="{514082F6-770C-4A1C-86C7-7A0C9C5658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0A6E-4C83-9A06-9C3309B2855E}"/>
                </c:ext>
              </c:extLst>
            </c:dLbl>
            <c:dLbl>
              <c:idx val="19"/>
              <c:tx>
                <c:rich>
                  <a:bodyPr/>
                  <a:lstStyle/>
                  <a:p>
                    <a:fld id="{157CE5F0-0C56-4282-88B4-8F2F9CB27E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0A6E-4C83-9A06-9C3309B2855E}"/>
                </c:ext>
              </c:extLst>
            </c:dLbl>
            <c:dLbl>
              <c:idx val="20"/>
              <c:tx>
                <c:rich>
                  <a:bodyPr/>
                  <a:lstStyle/>
                  <a:p>
                    <a:fld id="{3FB07311-1A60-4A6F-9F94-7D516E90EA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5AD-4BCF-9CB2-60EDA2D7DB42}"/>
                </c:ext>
              </c:extLst>
            </c:dLbl>
            <c:dLbl>
              <c:idx val="21"/>
              <c:tx>
                <c:rich>
                  <a:bodyPr/>
                  <a:lstStyle/>
                  <a:p>
                    <a:fld id="{A30B2636-4700-4227-AD3A-3609E40648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5AD-4BCF-9CB2-60EDA2D7DB42}"/>
                </c:ext>
              </c:extLst>
            </c:dLbl>
            <c:dLbl>
              <c:idx val="22"/>
              <c:tx>
                <c:rich>
                  <a:bodyPr/>
                  <a:lstStyle/>
                  <a:p>
                    <a:fld id="{ECFE807A-D9CC-4E45-A403-932EA55A5E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5AD-4BCF-9CB2-60EDA2D7DB42}"/>
                </c:ext>
              </c:extLst>
            </c:dLbl>
            <c:dLbl>
              <c:idx val="23"/>
              <c:tx>
                <c:rich>
                  <a:bodyPr/>
                  <a:lstStyle/>
                  <a:p>
                    <a:fld id="{E764B6F0-1830-4C57-891D-CB84542736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5AD-4BCF-9CB2-60EDA2D7DB42}"/>
                </c:ext>
              </c:extLst>
            </c:dLbl>
            <c:dLbl>
              <c:idx val="24"/>
              <c:tx>
                <c:rich>
                  <a:bodyPr/>
                  <a:lstStyle/>
                  <a:p>
                    <a:fld id="{2926F97A-F13F-4E41-B7EA-EEA9FA063A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0A6E-4C83-9A06-9C3309B2855E}"/>
                </c:ext>
              </c:extLst>
            </c:dLbl>
            <c:dLbl>
              <c:idx val="25"/>
              <c:tx>
                <c:rich>
                  <a:bodyPr/>
                  <a:lstStyle/>
                  <a:p>
                    <a:fld id="{861851C5-A2B0-402C-A679-4CC36F7B01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4D12-44DE-B956-CABCB15EBC04}"/>
                </c:ext>
              </c:extLst>
            </c:dLbl>
            <c:dLbl>
              <c:idx val="26"/>
              <c:tx>
                <c:rich>
                  <a:bodyPr/>
                  <a:lstStyle/>
                  <a:p>
                    <a:fld id="{CCFA3741-A55A-4B4D-93C9-85509001D1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D12-44DE-B956-CABCB15EBC04}"/>
                </c:ext>
              </c:extLst>
            </c:dLbl>
            <c:dLbl>
              <c:idx val="27"/>
              <c:tx>
                <c:rich>
                  <a:bodyPr/>
                  <a:lstStyle/>
                  <a:p>
                    <a:fld id="{AFFD1F11-432E-4C4C-AA89-28F8EE6521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D12-44DE-B956-CABCB15EBC04}"/>
                </c:ext>
              </c:extLst>
            </c:dLbl>
            <c:dLbl>
              <c:idx val="28"/>
              <c:tx>
                <c:rich>
                  <a:bodyPr/>
                  <a:lstStyle/>
                  <a:p>
                    <a:fld id="{0BAC7D00-2080-44B4-A78C-4B0A40905B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D12-44DE-B956-CABCB15EBC04}"/>
                </c:ext>
              </c:extLst>
            </c:dLbl>
            <c:dLbl>
              <c:idx val="29"/>
              <c:tx>
                <c:rich>
                  <a:bodyPr/>
                  <a:lstStyle/>
                  <a:p>
                    <a:fld id="{7718F1BC-E5D3-4ABE-A267-4C66EAC6C5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8F47-486F-B734-6012CEA493B3}"/>
                </c:ext>
              </c:extLst>
            </c:dLbl>
            <c:dLbl>
              <c:idx val="30"/>
              <c:tx>
                <c:rich>
                  <a:bodyPr/>
                  <a:lstStyle/>
                  <a:p>
                    <a:fld id="{75FDFDCF-2D7D-4879-98BD-268EEBC614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D12-44DE-B956-CABCB15EBC04}"/>
                </c:ext>
              </c:extLst>
            </c:dLbl>
            <c:dLbl>
              <c:idx val="31"/>
              <c:tx>
                <c:rich>
                  <a:bodyPr/>
                  <a:lstStyle/>
                  <a:p>
                    <a:fld id="{35228A32-4554-4483-9EFA-E6647E1D4A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D12-44DE-B956-CABCB15EBC04}"/>
                </c:ext>
              </c:extLst>
            </c:dLbl>
            <c:dLbl>
              <c:idx val="32"/>
              <c:tx>
                <c:rich>
                  <a:bodyPr/>
                  <a:lstStyle/>
                  <a:p>
                    <a:fld id="{C4EE2967-0D02-4EA0-A10A-E01116657A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D12-44DE-B956-CABCB15EBC04}"/>
                </c:ext>
              </c:extLst>
            </c:dLbl>
            <c:dLbl>
              <c:idx val="33"/>
              <c:tx>
                <c:rich>
                  <a:bodyPr/>
                  <a:lstStyle/>
                  <a:p>
                    <a:fld id="{AB9B6C3C-F7B6-464B-8603-1465ABEF69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D12-44DE-B956-CABCB15EBC04}"/>
                </c:ext>
              </c:extLst>
            </c:dLbl>
            <c:dLbl>
              <c:idx val="34"/>
              <c:tx>
                <c:rich>
                  <a:bodyPr/>
                  <a:lstStyle/>
                  <a:p>
                    <a:fld id="{335A4E22-3E11-494D-8268-6BDFD5F9B2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D12-44DE-B956-CABCB15EBC04}"/>
                </c:ext>
              </c:extLst>
            </c:dLbl>
            <c:dLbl>
              <c:idx val="35"/>
              <c:tx>
                <c:rich>
                  <a:bodyPr/>
                  <a:lstStyle/>
                  <a:p>
                    <a:fld id="{D7F4CB52-5F5E-4CCC-9B71-F5605822AC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4D12-44DE-B956-CABCB15EBC04}"/>
                </c:ext>
              </c:extLst>
            </c:dLbl>
            <c:dLbl>
              <c:idx val="36"/>
              <c:tx>
                <c:rich>
                  <a:bodyPr/>
                  <a:lstStyle/>
                  <a:p>
                    <a:fld id="{B786DB58-1A6C-4DEF-94FD-D2D9EDC7DA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4D12-44DE-B956-CABCB15EBC04}"/>
                </c:ext>
              </c:extLst>
            </c:dLbl>
            <c:dLbl>
              <c:idx val="37"/>
              <c:tx>
                <c:rich>
                  <a:bodyPr/>
                  <a:lstStyle/>
                  <a:p>
                    <a:fld id="{C3B13E9F-8C47-4D31-BDB1-F1A4A48536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4D12-44DE-B956-CABCB15EBC04}"/>
                </c:ext>
              </c:extLst>
            </c:dLbl>
            <c:dLbl>
              <c:idx val="38"/>
              <c:tx>
                <c:rich>
                  <a:bodyPr/>
                  <a:lstStyle/>
                  <a:p>
                    <a:fld id="{54ACA527-DAA5-4A46-8364-3E0C47AF0D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4D12-44DE-B956-CABCB15EBC04}"/>
                </c:ext>
              </c:extLst>
            </c:dLbl>
            <c:dLbl>
              <c:idx val="39"/>
              <c:tx>
                <c:rich>
                  <a:bodyPr/>
                  <a:lstStyle/>
                  <a:p>
                    <a:fld id="{BF0E3053-0267-4371-A62F-05C620B395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4D12-44DE-B956-CABCB15EBC04}"/>
                </c:ext>
              </c:extLst>
            </c:dLbl>
            <c:dLbl>
              <c:idx val="40"/>
              <c:tx>
                <c:rich>
                  <a:bodyPr/>
                  <a:lstStyle/>
                  <a:p>
                    <a:fld id="{A6520AD4-F319-4392-A96F-28EA58E9B3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4D12-44DE-B956-CABCB15EBC04}"/>
                </c:ext>
              </c:extLst>
            </c:dLbl>
            <c:dLbl>
              <c:idx val="41"/>
              <c:tx>
                <c:rich>
                  <a:bodyPr/>
                  <a:lstStyle/>
                  <a:p>
                    <a:fld id="{94028D67-75D6-4C2A-BDF6-50C2B4E7A7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4D12-44DE-B956-CABCB15EBC04}"/>
                </c:ext>
              </c:extLst>
            </c:dLbl>
            <c:dLbl>
              <c:idx val="42"/>
              <c:tx>
                <c:rich>
                  <a:bodyPr/>
                  <a:lstStyle/>
                  <a:p>
                    <a:fld id="{46BC9279-1C39-4724-B99E-2BF5710C41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4D12-44DE-B956-CABCB15EBC04}"/>
                </c:ext>
              </c:extLst>
            </c:dLbl>
            <c:dLbl>
              <c:idx val="43"/>
              <c:tx>
                <c:rich>
                  <a:bodyPr/>
                  <a:lstStyle/>
                  <a:p>
                    <a:fld id="{19A06B44-7FB0-4DED-9279-CBD0125943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4D12-44DE-B956-CABCB15EBC04}"/>
                </c:ext>
              </c:extLst>
            </c:dLbl>
            <c:dLbl>
              <c:idx val="44"/>
              <c:tx>
                <c:rich>
                  <a:bodyPr/>
                  <a:lstStyle/>
                  <a:p>
                    <a:fld id="{436D5B75-C073-41D3-B342-4DBB84D82D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4D12-44DE-B956-CABCB15EBC04}"/>
                </c:ext>
              </c:extLst>
            </c:dLbl>
            <c:dLbl>
              <c:idx val="45"/>
              <c:tx>
                <c:rich>
                  <a:bodyPr/>
                  <a:lstStyle/>
                  <a:p>
                    <a:fld id="{5C974BEA-4429-4915-AB96-3CBC504952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4D12-44DE-B956-CABCB15EBC04}"/>
                </c:ext>
              </c:extLst>
            </c:dLbl>
            <c:dLbl>
              <c:idx val="46"/>
              <c:tx>
                <c:rich>
                  <a:bodyPr/>
                  <a:lstStyle/>
                  <a:p>
                    <a:fld id="{EC9791A0-1F75-4A1E-9942-8A2092901E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4D12-44DE-B956-CABCB15EBC04}"/>
                </c:ext>
              </c:extLst>
            </c:dLbl>
            <c:dLbl>
              <c:idx val="47"/>
              <c:tx>
                <c:rich>
                  <a:bodyPr/>
                  <a:lstStyle/>
                  <a:p>
                    <a:fld id="{A4C4F586-D46E-4938-8DF6-7743EEF4FB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4D12-44DE-B956-CABCB15EBC04}"/>
                </c:ext>
              </c:extLst>
            </c:dLbl>
            <c:dLbl>
              <c:idx val="48"/>
              <c:tx>
                <c:rich>
                  <a:bodyPr/>
                  <a:lstStyle/>
                  <a:p>
                    <a:fld id="{5CC42EF7-9683-4592-AFC6-B5C504DA88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4D12-44DE-B956-CABCB15EBC04}"/>
                </c:ext>
              </c:extLst>
            </c:dLbl>
            <c:dLbl>
              <c:idx val="49"/>
              <c:tx>
                <c:rich>
                  <a:bodyPr/>
                  <a:lstStyle/>
                  <a:p>
                    <a:fld id="{1148B78D-74F2-4F02-BC88-6D8BF7B9F1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4D12-44DE-B956-CABCB15EBC04}"/>
                </c:ext>
              </c:extLst>
            </c:dLbl>
            <c:dLbl>
              <c:idx val="50"/>
              <c:tx>
                <c:rich>
                  <a:bodyPr/>
                  <a:lstStyle/>
                  <a:p>
                    <a:fld id="{279DC4DA-A043-4E85-A325-2D4839C431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4D12-44DE-B956-CABCB15EBC04}"/>
                </c:ext>
              </c:extLst>
            </c:dLbl>
            <c:dLbl>
              <c:idx val="51"/>
              <c:tx>
                <c:rich>
                  <a:bodyPr/>
                  <a:lstStyle/>
                  <a:p>
                    <a:fld id="{248D747D-9B0A-4244-B6A9-F530D1FB14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4D12-44DE-B956-CABCB15EBC04}"/>
                </c:ext>
              </c:extLst>
            </c:dLbl>
            <c:dLbl>
              <c:idx val="52"/>
              <c:tx>
                <c:rich>
                  <a:bodyPr/>
                  <a:lstStyle/>
                  <a:p>
                    <a:fld id="{D7E42042-E043-4F10-B287-274B545E05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4D12-44DE-B956-CABCB15EBC04}"/>
                </c:ext>
              </c:extLst>
            </c:dLbl>
            <c:dLbl>
              <c:idx val="53"/>
              <c:tx>
                <c:rich>
                  <a:bodyPr/>
                  <a:lstStyle/>
                  <a:p>
                    <a:fld id="{69D4A9AE-F02B-45CF-B9EF-4CBD7C99F2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4D12-44DE-B956-CABCB15EBC04}"/>
                </c:ext>
              </c:extLst>
            </c:dLbl>
            <c:dLbl>
              <c:idx val="54"/>
              <c:tx>
                <c:rich>
                  <a:bodyPr/>
                  <a:lstStyle/>
                  <a:p>
                    <a:fld id="{F0E9FCEC-E8C3-4443-9C00-1EB975BF67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4D12-44DE-B956-CABCB15EBC04}"/>
                </c:ext>
              </c:extLst>
            </c:dLbl>
            <c:dLbl>
              <c:idx val="55"/>
              <c:tx>
                <c:rich>
                  <a:bodyPr/>
                  <a:lstStyle/>
                  <a:p>
                    <a:fld id="{C9B17122-6F21-4096-90CB-8E77C2A993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D12-44DE-B956-CABCB15EBC04}"/>
                </c:ext>
              </c:extLst>
            </c:dLbl>
            <c:dLbl>
              <c:idx val="56"/>
              <c:tx>
                <c:rich>
                  <a:bodyPr/>
                  <a:lstStyle/>
                  <a:p>
                    <a:fld id="{93EB9CD8-8EE8-4E7B-B633-AF0A3DD2BD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8E3F-4D1B-A313-C02BEC0FDBD1}"/>
                </c:ext>
              </c:extLst>
            </c:dLbl>
            <c:dLbl>
              <c:idx val="57"/>
              <c:tx>
                <c:rich>
                  <a:bodyPr/>
                  <a:lstStyle/>
                  <a:p>
                    <a:fld id="{FF8E71E0-D6EA-4697-B0DD-494F120F28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8E3F-4D1B-A313-C02BEC0FDBD1}"/>
                </c:ext>
              </c:extLst>
            </c:dLbl>
            <c:dLbl>
              <c:idx val="58"/>
              <c:tx>
                <c:rich>
                  <a:bodyPr/>
                  <a:lstStyle/>
                  <a:p>
                    <a:fld id="{2EDCFC86-EDC8-4078-84D7-BDB5D5CFD5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8E3F-4D1B-A313-C02BEC0FDBD1}"/>
                </c:ext>
              </c:extLst>
            </c:dLbl>
            <c:dLbl>
              <c:idx val="59"/>
              <c:tx>
                <c:rich>
                  <a:bodyPr/>
                  <a:lstStyle/>
                  <a:p>
                    <a:fld id="{686F8055-5BEB-4254-B235-A22ECE5759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8E3F-4D1B-A313-C02BEC0FDBD1}"/>
                </c:ext>
              </c:extLst>
            </c:dLbl>
            <c:dLbl>
              <c:idx val="60"/>
              <c:tx>
                <c:rich>
                  <a:bodyPr/>
                  <a:lstStyle/>
                  <a:p>
                    <a:fld id="{FE1CD97A-81B0-45FE-A7FA-D10BB28030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8E3F-4D1B-A313-C02BEC0FDBD1}"/>
                </c:ext>
              </c:extLst>
            </c:dLbl>
            <c:dLbl>
              <c:idx val="61"/>
              <c:tx>
                <c:rich>
                  <a:bodyPr/>
                  <a:lstStyle/>
                  <a:p>
                    <a:fld id="{5784252A-2145-48E0-BA94-1C5824633F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8E3F-4D1B-A313-C02BEC0FDBD1}"/>
                </c:ext>
              </c:extLst>
            </c:dLbl>
            <c:dLbl>
              <c:idx val="62"/>
              <c:tx>
                <c:rich>
                  <a:bodyPr/>
                  <a:lstStyle/>
                  <a:p>
                    <a:fld id="{E4B78323-2566-4457-AC81-034107E841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8E3F-4D1B-A313-C02BEC0FDBD1}"/>
                </c:ext>
              </c:extLst>
            </c:dLbl>
            <c:dLbl>
              <c:idx val="63"/>
              <c:tx>
                <c:rich>
                  <a:bodyPr/>
                  <a:lstStyle/>
                  <a:p>
                    <a:fld id="{978CD3C1-ACA3-4DE9-A54A-04F1EE1609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8E3F-4D1B-A313-C02BEC0FDBD1}"/>
                </c:ext>
              </c:extLst>
            </c:dLbl>
            <c:dLbl>
              <c:idx val="64"/>
              <c:tx>
                <c:rich>
                  <a:bodyPr/>
                  <a:lstStyle/>
                  <a:p>
                    <a:fld id="{A9CFA234-8072-4D06-8451-858EEE9019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8E3F-4D1B-A313-C02BEC0FDBD1}"/>
                </c:ext>
              </c:extLst>
            </c:dLbl>
            <c:dLbl>
              <c:idx val="65"/>
              <c:tx>
                <c:rich>
                  <a:bodyPr/>
                  <a:lstStyle/>
                  <a:p>
                    <a:fld id="{5DED7497-28BC-402E-A640-B2F79485B5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8E3F-4D1B-A313-C02BEC0FDBD1}"/>
                </c:ext>
              </c:extLst>
            </c:dLbl>
            <c:dLbl>
              <c:idx val="66"/>
              <c:tx>
                <c:rich>
                  <a:bodyPr/>
                  <a:lstStyle/>
                  <a:p>
                    <a:fld id="{CFD767BF-A84A-4CC2-9D02-A71D5ACE0A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8E3F-4D1B-A313-C02BEC0FDBD1}"/>
                </c:ext>
              </c:extLst>
            </c:dLbl>
            <c:dLbl>
              <c:idx val="67"/>
              <c:tx>
                <c:rich>
                  <a:bodyPr/>
                  <a:lstStyle/>
                  <a:p>
                    <a:fld id="{90DB4484-AE38-4659-8440-1642891372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8E3F-4D1B-A313-C02BEC0FDBD1}"/>
                </c:ext>
              </c:extLst>
            </c:dLbl>
            <c:dLbl>
              <c:idx val="68"/>
              <c:tx>
                <c:rich>
                  <a:bodyPr/>
                  <a:lstStyle/>
                  <a:p>
                    <a:fld id="{AF021924-F274-467C-A1A2-938FEDF958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8E3F-4D1B-A313-C02BEC0FDBD1}"/>
                </c:ext>
              </c:extLst>
            </c:dLbl>
            <c:dLbl>
              <c:idx val="69"/>
              <c:tx>
                <c:rich>
                  <a:bodyPr/>
                  <a:lstStyle/>
                  <a:p>
                    <a:fld id="{8F2F9A05-C765-496F-A283-2FB9AF113D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8E3F-4D1B-A313-C02BEC0FDBD1}"/>
                </c:ext>
              </c:extLst>
            </c:dLbl>
            <c:dLbl>
              <c:idx val="70"/>
              <c:tx>
                <c:rich>
                  <a:bodyPr/>
                  <a:lstStyle/>
                  <a:p>
                    <a:fld id="{367C6A99-8860-412B-9FFC-D0CA482F96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8E3F-4D1B-A313-C02BEC0FDBD1}"/>
                </c:ext>
              </c:extLst>
            </c:dLbl>
            <c:dLbl>
              <c:idx val="71"/>
              <c:tx>
                <c:rich>
                  <a:bodyPr/>
                  <a:lstStyle/>
                  <a:p>
                    <a:fld id="{10EF00D1-18E8-401A-BD2A-384E76E65E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8E3F-4D1B-A313-C02BEC0FDBD1}"/>
                </c:ext>
              </c:extLst>
            </c:dLbl>
            <c:dLbl>
              <c:idx val="72"/>
              <c:tx>
                <c:rich>
                  <a:bodyPr/>
                  <a:lstStyle/>
                  <a:p>
                    <a:fld id="{AA4902BA-5BF1-49FA-AD77-D0393361C4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8E3F-4D1B-A313-C02BEC0FDBD1}"/>
                </c:ext>
              </c:extLst>
            </c:dLbl>
            <c:dLbl>
              <c:idx val="73"/>
              <c:tx>
                <c:rich>
                  <a:bodyPr/>
                  <a:lstStyle/>
                  <a:p>
                    <a:fld id="{A8781153-542B-4725-B8CB-DE058C3BFD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8E3F-4D1B-A313-C02BEC0FDBD1}"/>
                </c:ext>
              </c:extLst>
            </c:dLbl>
            <c:dLbl>
              <c:idx val="74"/>
              <c:tx>
                <c:rich>
                  <a:bodyPr/>
                  <a:lstStyle/>
                  <a:p>
                    <a:fld id="{2B1954A2-9BC0-4C92-8E90-C7CD912A63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8E3F-4D1B-A313-C02BEC0FDBD1}"/>
                </c:ext>
              </c:extLst>
            </c:dLbl>
            <c:dLbl>
              <c:idx val="75"/>
              <c:tx>
                <c:rich>
                  <a:bodyPr/>
                  <a:lstStyle/>
                  <a:p>
                    <a:fld id="{4DD901DF-AF5E-4826-9AFD-9A24091CB4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8E3F-4D1B-A313-C02BEC0FDBD1}"/>
                </c:ext>
              </c:extLst>
            </c:dLbl>
            <c:dLbl>
              <c:idx val="76"/>
              <c:tx>
                <c:rich>
                  <a:bodyPr/>
                  <a:lstStyle/>
                  <a:p>
                    <a:fld id="{3CCE0CF8-F729-4C03-99CC-7980E61548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8E3F-4D1B-A313-C02BEC0FDBD1}"/>
                </c:ext>
              </c:extLst>
            </c:dLbl>
            <c:dLbl>
              <c:idx val="77"/>
              <c:tx>
                <c:rich>
                  <a:bodyPr/>
                  <a:lstStyle/>
                  <a:p>
                    <a:fld id="{E8126F18-0792-4173-8A6E-5882FB7EB4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8E3F-4D1B-A313-C02BEC0FDBD1}"/>
                </c:ext>
              </c:extLst>
            </c:dLbl>
            <c:dLbl>
              <c:idx val="78"/>
              <c:tx>
                <c:rich>
                  <a:bodyPr/>
                  <a:lstStyle/>
                  <a:p>
                    <a:fld id="{AE682345-6B3C-49B0-9CF0-F3EF670F34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8E3F-4D1B-A313-C02BEC0FDBD1}"/>
                </c:ext>
              </c:extLst>
            </c:dLbl>
            <c:dLbl>
              <c:idx val="79"/>
              <c:tx>
                <c:rich>
                  <a:bodyPr/>
                  <a:lstStyle/>
                  <a:p>
                    <a:fld id="{2C3DAF30-DCCC-498D-BACC-C8E613FF8B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8E3F-4D1B-A313-C02BEC0FDBD1}"/>
                </c:ext>
              </c:extLst>
            </c:dLbl>
            <c:dLbl>
              <c:idx val="80"/>
              <c:tx>
                <c:rich>
                  <a:bodyPr/>
                  <a:lstStyle/>
                  <a:p>
                    <a:fld id="{7431702F-15EB-47E9-8589-CD5ABA8FA6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8E3F-4D1B-A313-C02BEC0FDBD1}"/>
                </c:ext>
              </c:extLst>
            </c:dLbl>
            <c:dLbl>
              <c:idx val="81"/>
              <c:tx>
                <c:rich>
                  <a:bodyPr/>
                  <a:lstStyle/>
                  <a:p>
                    <a:fld id="{1C1DF256-6243-4350-9209-377FC95168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9-8E3F-4D1B-A313-C02BEC0FDBD1}"/>
                </c:ext>
              </c:extLst>
            </c:dLbl>
            <c:dLbl>
              <c:idx val="82"/>
              <c:tx>
                <c:rich>
                  <a:bodyPr/>
                  <a:lstStyle/>
                  <a:p>
                    <a:fld id="{B0FDA37E-E3A9-4266-A8C2-9E4D018858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A-8E3F-4D1B-A313-C02BEC0FDBD1}"/>
                </c:ext>
              </c:extLst>
            </c:dLbl>
            <c:dLbl>
              <c:idx val="83"/>
              <c:tx>
                <c:rich>
                  <a:bodyPr/>
                  <a:lstStyle/>
                  <a:p>
                    <a:fld id="{7F39391B-5076-45E6-B538-624A9D8CAE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B-8E3F-4D1B-A313-C02BEC0FDBD1}"/>
                </c:ext>
              </c:extLst>
            </c:dLbl>
            <c:dLbl>
              <c:idx val="84"/>
              <c:tx>
                <c:rich>
                  <a:bodyPr/>
                  <a:lstStyle/>
                  <a:p>
                    <a:fld id="{7FD7534F-97B5-4DF0-B293-BD5DB243CE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C-8E3F-4D1B-A313-C02BEC0FDBD1}"/>
                </c:ext>
              </c:extLst>
            </c:dLbl>
            <c:dLbl>
              <c:idx val="85"/>
              <c:tx>
                <c:rich>
                  <a:bodyPr/>
                  <a:lstStyle/>
                  <a:p>
                    <a:fld id="{4AD307EC-7AF1-455F-86CC-5B65A09D17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D-8E3F-4D1B-A313-C02BEC0FDBD1}"/>
                </c:ext>
              </c:extLst>
            </c:dLbl>
            <c:dLbl>
              <c:idx val="86"/>
              <c:tx>
                <c:rich>
                  <a:bodyPr/>
                  <a:lstStyle/>
                  <a:p>
                    <a:fld id="{8600DC8F-DE20-4928-88D4-048CF3CAE4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E-8E3F-4D1B-A313-C02BEC0FDBD1}"/>
                </c:ext>
              </c:extLst>
            </c:dLbl>
            <c:dLbl>
              <c:idx val="87"/>
              <c:tx>
                <c:rich>
                  <a:bodyPr/>
                  <a:lstStyle/>
                  <a:p>
                    <a:fld id="{C721700E-2A1B-4CCB-B223-5693B6D6A2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F-8E3F-4D1B-A313-C02BEC0FDBD1}"/>
                </c:ext>
              </c:extLst>
            </c:dLbl>
            <c:dLbl>
              <c:idx val="88"/>
              <c:tx>
                <c:rich>
                  <a:bodyPr/>
                  <a:lstStyle/>
                  <a:p>
                    <a:fld id="{8C86832B-60B4-4444-935C-2564857C57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0-8E3F-4D1B-A313-C02BEC0FDBD1}"/>
                </c:ext>
              </c:extLst>
            </c:dLbl>
            <c:dLbl>
              <c:idx val="89"/>
              <c:tx>
                <c:rich>
                  <a:bodyPr/>
                  <a:lstStyle/>
                  <a:p>
                    <a:fld id="{4A2188A3-750F-4FB9-9C48-2C3BEE4C02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1-8E3F-4D1B-A313-C02BEC0FDBD1}"/>
                </c:ext>
              </c:extLst>
            </c:dLbl>
            <c:dLbl>
              <c:idx val="90"/>
              <c:tx>
                <c:rich>
                  <a:bodyPr/>
                  <a:lstStyle/>
                  <a:p>
                    <a:fld id="{A3CBB5DB-78F9-46B0-88F3-0AC262DDBB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2-8E3F-4D1B-A313-C02BEC0FDBD1}"/>
                </c:ext>
              </c:extLst>
            </c:dLbl>
            <c:dLbl>
              <c:idx val="91"/>
              <c:tx>
                <c:rich>
                  <a:bodyPr/>
                  <a:lstStyle/>
                  <a:p>
                    <a:fld id="{84C1FA72-1E16-44CE-A14B-B2848AFA2D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3-8E3F-4D1B-A313-C02BEC0FDBD1}"/>
                </c:ext>
              </c:extLst>
            </c:dLbl>
            <c:dLbl>
              <c:idx val="92"/>
              <c:tx>
                <c:rich>
                  <a:bodyPr/>
                  <a:lstStyle/>
                  <a:p>
                    <a:fld id="{D514A408-048F-4B63-8291-95A2E9FFEE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4-8E3F-4D1B-A313-C02BEC0FDBD1}"/>
                </c:ext>
              </c:extLst>
            </c:dLbl>
            <c:dLbl>
              <c:idx val="93"/>
              <c:tx>
                <c:rich>
                  <a:bodyPr/>
                  <a:lstStyle/>
                  <a:p>
                    <a:fld id="{AFD6F8C0-3757-4C7B-82D9-36F7AF26D1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5-8E3F-4D1B-A313-C02BEC0FDBD1}"/>
                </c:ext>
              </c:extLst>
            </c:dLbl>
            <c:dLbl>
              <c:idx val="94"/>
              <c:tx>
                <c:rich>
                  <a:bodyPr/>
                  <a:lstStyle/>
                  <a:p>
                    <a:fld id="{247ACDF2-2BF9-491B-AFEE-BC46D28FAF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6-8E3F-4D1B-A313-C02BEC0FDBD1}"/>
                </c:ext>
              </c:extLst>
            </c:dLbl>
            <c:dLbl>
              <c:idx val="95"/>
              <c:tx>
                <c:rich>
                  <a:bodyPr/>
                  <a:lstStyle/>
                  <a:p>
                    <a:fld id="{DFD70D08-06BF-41A7-AE5A-01C3D88FB8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7-8E3F-4D1B-A313-C02BEC0FDBD1}"/>
                </c:ext>
              </c:extLst>
            </c:dLbl>
            <c:dLbl>
              <c:idx val="96"/>
              <c:tx>
                <c:rich>
                  <a:bodyPr/>
                  <a:lstStyle/>
                  <a:p>
                    <a:fld id="{43D9D599-E7BB-438E-9843-821C17C8AE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8-8E3F-4D1B-A313-C02BEC0FDBD1}"/>
                </c:ext>
              </c:extLst>
            </c:dLbl>
            <c:dLbl>
              <c:idx val="97"/>
              <c:tx>
                <c:rich>
                  <a:bodyPr/>
                  <a:lstStyle/>
                  <a:p>
                    <a:fld id="{4389C02F-1205-4920-B929-66156C6851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9-8E3F-4D1B-A313-C02BEC0FDBD1}"/>
                </c:ext>
              </c:extLst>
            </c:dLbl>
            <c:dLbl>
              <c:idx val="98"/>
              <c:tx>
                <c:rich>
                  <a:bodyPr/>
                  <a:lstStyle/>
                  <a:p>
                    <a:fld id="{7951B84D-ACE4-41CE-A581-F45DC136FA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A-8E3F-4D1B-A313-C02BEC0FDBD1}"/>
                </c:ext>
              </c:extLst>
            </c:dLbl>
            <c:dLbl>
              <c:idx val="99"/>
              <c:tx>
                <c:rich>
                  <a:bodyPr/>
                  <a:lstStyle/>
                  <a:p>
                    <a:fld id="{0AF2DF13-4353-4AA3-9ED4-24168EC235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B-8E3F-4D1B-A313-C02BEC0FDBD1}"/>
                </c:ext>
              </c:extLst>
            </c:dLbl>
            <c:dLbl>
              <c:idx val="100"/>
              <c:tx>
                <c:rich>
                  <a:bodyPr/>
                  <a:lstStyle/>
                  <a:p>
                    <a:fld id="{FB6BCC94-7C36-427B-90EA-83624D7F90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C-8E3F-4D1B-A313-C02BEC0FDBD1}"/>
                </c:ext>
              </c:extLst>
            </c:dLbl>
            <c:dLbl>
              <c:idx val="101"/>
              <c:tx>
                <c:rich>
                  <a:bodyPr/>
                  <a:lstStyle/>
                  <a:p>
                    <a:fld id="{1CD237F0-B292-4FBE-8717-42B283AB3C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D-8E3F-4D1B-A313-C02BEC0FDBD1}"/>
                </c:ext>
              </c:extLst>
            </c:dLbl>
            <c:dLbl>
              <c:idx val="102"/>
              <c:tx>
                <c:rich>
                  <a:bodyPr/>
                  <a:lstStyle/>
                  <a:p>
                    <a:fld id="{5BA6CB94-9661-478F-8ABE-54206AC1F5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E-8E3F-4D1B-A313-C02BEC0FDBD1}"/>
                </c:ext>
              </c:extLst>
            </c:dLbl>
            <c:dLbl>
              <c:idx val="103"/>
              <c:tx>
                <c:rich>
                  <a:bodyPr/>
                  <a:lstStyle/>
                  <a:p>
                    <a:fld id="{EB2FD421-321D-405F-B5F8-0A38BBBBE3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F-8E3F-4D1B-A313-C02BEC0FDBD1}"/>
                </c:ext>
              </c:extLst>
            </c:dLbl>
            <c:dLbl>
              <c:idx val="104"/>
              <c:tx>
                <c:rich>
                  <a:bodyPr/>
                  <a:lstStyle/>
                  <a:p>
                    <a:fld id="{E8E94AFB-A61B-4B1E-B3E2-1897DC4C5E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0-8E3F-4D1B-A313-C02BEC0FDBD1}"/>
                </c:ext>
              </c:extLst>
            </c:dLbl>
            <c:dLbl>
              <c:idx val="105"/>
              <c:tx>
                <c:rich>
                  <a:bodyPr/>
                  <a:lstStyle/>
                  <a:p>
                    <a:fld id="{A1923540-9B68-4DC6-94F6-456A235F1A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1-8E3F-4D1B-A313-C02BEC0FDBD1}"/>
                </c:ext>
              </c:extLst>
            </c:dLbl>
            <c:dLbl>
              <c:idx val="106"/>
              <c:tx>
                <c:rich>
                  <a:bodyPr/>
                  <a:lstStyle/>
                  <a:p>
                    <a:fld id="{4FFAECD4-D7D1-4EE5-99FC-35FB3FDAD8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2-8E3F-4D1B-A313-C02BEC0FDBD1}"/>
                </c:ext>
              </c:extLst>
            </c:dLbl>
            <c:dLbl>
              <c:idx val="107"/>
              <c:tx>
                <c:rich>
                  <a:bodyPr/>
                  <a:lstStyle/>
                  <a:p>
                    <a:fld id="{A2FEFC87-D0CC-4F75-91D8-C51690D089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3-8E3F-4D1B-A313-C02BEC0FDBD1}"/>
                </c:ext>
              </c:extLst>
            </c:dLbl>
            <c:dLbl>
              <c:idx val="108"/>
              <c:tx>
                <c:rich>
                  <a:bodyPr/>
                  <a:lstStyle/>
                  <a:p>
                    <a:fld id="{C098AFFD-DAA5-4175-B145-68410E8535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4-8E3F-4D1B-A313-C02BEC0FDBD1}"/>
                </c:ext>
              </c:extLst>
            </c:dLbl>
            <c:dLbl>
              <c:idx val="109"/>
              <c:tx>
                <c:rich>
                  <a:bodyPr/>
                  <a:lstStyle/>
                  <a:p>
                    <a:fld id="{40F3FFFE-EE39-4102-B8E5-D7A557913A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5-8E3F-4D1B-A313-C02BEC0FDBD1}"/>
                </c:ext>
              </c:extLst>
            </c:dLbl>
            <c:dLbl>
              <c:idx val="110"/>
              <c:tx>
                <c:rich>
                  <a:bodyPr/>
                  <a:lstStyle/>
                  <a:p>
                    <a:fld id="{D1D9DFC6-A6CC-453A-B7E9-536292D13C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6-8E3F-4D1B-A313-C02BEC0FDBD1}"/>
                </c:ext>
              </c:extLst>
            </c:dLbl>
            <c:dLbl>
              <c:idx val="111"/>
              <c:tx>
                <c:rich>
                  <a:bodyPr/>
                  <a:lstStyle/>
                  <a:p>
                    <a:fld id="{AF4D6860-D3C8-46C0-9103-1C5B15581D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7-8E3F-4D1B-A313-C02BEC0FDBD1}"/>
                </c:ext>
              </c:extLst>
            </c:dLbl>
            <c:dLbl>
              <c:idx val="112"/>
              <c:tx>
                <c:rich>
                  <a:bodyPr/>
                  <a:lstStyle/>
                  <a:p>
                    <a:fld id="{06948345-22DC-4D30-B95B-7C73C80CE1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8-8E3F-4D1B-A313-C02BEC0FDBD1}"/>
                </c:ext>
              </c:extLst>
            </c:dLbl>
            <c:dLbl>
              <c:idx val="113"/>
              <c:tx>
                <c:rich>
                  <a:bodyPr/>
                  <a:lstStyle/>
                  <a:p>
                    <a:fld id="{6038B4F3-E115-4337-A9AE-918A3176E5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9-8E3F-4D1B-A313-C02BEC0FDBD1}"/>
                </c:ext>
              </c:extLst>
            </c:dLbl>
            <c:dLbl>
              <c:idx val="114"/>
              <c:tx>
                <c:rich>
                  <a:bodyPr/>
                  <a:lstStyle/>
                  <a:p>
                    <a:fld id="{0F2876FE-F0E0-4E96-BE16-128079122A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A-8E3F-4D1B-A313-C02BEC0FDBD1}"/>
                </c:ext>
              </c:extLst>
            </c:dLbl>
            <c:dLbl>
              <c:idx val="115"/>
              <c:tx>
                <c:rich>
                  <a:bodyPr/>
                  <a:lstStyle/>
                  <a:p>
                    <a:fld id="{3E6F982D-EC4F-4499-A577-FDE0674CFD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B-8E3F-4D1B-A313-C02BEC0FDBD1}"/>
                </c:ext>
              </c:extLst>
            </c:dLbl>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8</c:f>
              <c:numCache>
                <c:formatCode>General</c:formatCode>
                <c:ptCount val="7"/>
                <c:pt idx="0">
                  <c:v>1</c:v>
                </c:pt>
                <c:pt idx="1">
                  <c:v>1</c:v>
                </c:pt>
                <c:pt idx="2">
                  <c:v>1</c:v>
                </c:pt>
                <c:pt idx="3">
                  <c:v>3</c:v>
                </c:pt>
                <c:pt idx="4">
                  <c:v>3</c:v>
                </c:pt>
                <c:pt idx="5">
                  <c:v>3</c:v>
                </c:pt>
                <c:pt idx="6">
                  <c:v>3</c:v>
                </c:pt>
              </c:numCache>
            </c:numRef>
          </c:xVal>
          <c:yVal>
            <c:numRef>
              <c:f>Sheet1!$B$2:$B$8</c:f>
              <c:numCache>
                <c:formatCode>General</c:formatCode>
                <c:ptCount val="7"/>
                <c:pt idx="0">
                  <c:v>0.25736915035471042</c:v>
                </c:pt>
                <c:pt idx="1">
                  <c:v>0.182909399479526</c:v>
                </c:pt>
                <c:pt idx="2">
                  <c:v>0.22309452807604779</c:v>
                </c:pt>
                <c:pt idx="3">
                  <c:v>-0.24608269235740049</c:v>
                </c:pt>
                <c:pt idx="4">
                  <c:v>2.1021046990951139E-2</c:v>
                </c:pt>
                <c:pt idx="5">
                  <c:v>7.0105657692061119E-2</c:v>
                </c:pt>
                <c:pt idx="6">
                  <c:v>0.18383767644502</c:v>
                </c:pt>
              </c:numCache>
            </c:numRef>
          </c:yVal>
          <c:bubbleSize>
            <c:numRef>
              <c:f>Sheet1!$C$2:$C$8</c:f>
              <c:numCache>
                <c:formatCode>General</c:formatCode>
                <c:ptCount val="7"/>
                <c:pt idx="0">
                  <c:v>9868379</c:v>
                </c:pt>
                <c:pt idx="1">
                  <c:v>382455</c:v>
                </c:pt>
                <c:pt idx="2">
                  <c:v>6252872</c:v>
                </c:pt>
                <c:pt idx="3">
                  <c:v>355493</c:v>
                </c:pt>
                <c:pt idx="4">
                  <c:v>1716108</c:v>
                </c:pt>
                <c:pt idx="5">
                  <c:v>1141177</c:v>
                </c:pt>
                <c:pt idx="6">
                  <c:v>2238318</c:v>
                </c:pt>
              </c:numCache>
            </c:numRef>
          </c:bubbleSize>
          <c:bubble3D val="0"/>
          <c:extLst>
            <c:ext xmlns:c15="http://schemas.microsoft.com/office/drawing/2012/chart" uri="{02D57815-91ED-43cb-92C2-25804820EDAC}">
              <c15:datalabelsRange>
                <c15:f>Sheet1!$E$2:$E$150</c15:f>
                <c15:dlblRangeCache>
                  <c:ptCount val="149"/>
                  <c:pt idx="0">
                    <c:v>Gillette</c:v>
                  </c:pt>
                  <c:pt idx="1">
                    <c:v>Bic</c:v>
                  </c:pt>
                  <c:pt idx="2">
                    <c:v>Schick</c:v>
                  </c:pt>
                  <c:pt idx="3">
                    <c:v>Gillette</c:v>
                  </c:pt>
                  <c:pt idx="4">
                    <c:v>Bic</c:v>
                  </c:pt>
                  <c:pt idx="5">
                    <c:v>Equate</c:v>
                  </c:pt>
                  <c:pt idx="6">
                    <c:v>Schick</c:v>
                  </c:pt>
                </c15:dlblRangeCache>
              </c15:datalabelsRange>
            </c:ext>
            <c:ext xmlns:c16="http://schemas.microsoft.com/office/drawing/2014/chart" uri="{C3380CC4-5D6E-409C-BE32-E72D297353CC}">
              <c16:uniqueId val="{00000026-26FB-4B52-8D72-D56D618E8EAF}"/>
            </c:ext>
          </c:extLst>
        </c:ser>
        <c:dLbls>
          <c:dLblPos val="ctr"/>
          <c:showLegendKey val="0"/>
          <c:showVal val="1"/>
          <c:showCatName val="0"/>
          <c:showSerName val="0"/>
          <c:showPercent val="0"/>
          <c:showBubbleSize val="0"/>
        </c:dLbls>
        <c:bubbleScale val="75"/>
        <c:showNegBubbles val="0"/>
        <c:axId val="804121775"/>
        <c:axId val="804116783"/>
      </c:bubbleChart>
      <c:valAx>
        <c:axId val="804121775"/>
        <c:scaling>
          <c:orientation val="minMax"/>
          <c:max val="4"/>
          <c:min val="0"/>
        </c:scaling>
        <c:delete val="0"/>
        <c:axPos val="b"/>
        <c:numFmt formatCode="0%" sourceLinked="0"/>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16783"/>
        <c:crosses val="autoZero"/>
        <c:crossBetween val="midCat"/>
        <c:minorUnit val="0.1"/>
      </c:valAx>
      <c:valAx>
        <c:axId val="804116783"/>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en-US" sz="800" dirty="0">
                    <a:solidFill>
                      <a:schemeClr val="tx1"/>
                    </a:solidFill>
                    <a:latin typeface="Nexa Bold" panose="00000800000000000000" pitchFamily="2" charset="0"/>
                  </a:rPr>
                  <a:t>Averag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Valu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uplift</a:t>
                </a:r>
                <a:endParaRPr lang="en-CH" sz="800" dirty="0">
                  <a:solidFill>
                    <a:schemeClr val="tx1"/>
                  </a:solidFill>
                  <a:latin typeface="Nexa Bold" panose="00000800000000000000" pitchFamily="2" charset="0"/>
                </a:endParaRPr>
              </a:p>
            </c:rich>
          </c:tx>
          <c:layout>
            <c:manualLayout>
              <c:xMode val="edge"/>
              <c:yMode val="edge"/>
              <c:x val="2.0811111111111117E-3"/>
              <c:y val="0.10078557265656676"/>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CH"/>
            </a:p>
          </c:txPr>
        </c:title>
        <c:numFmt formatCode="0%" sourceLinked="0"/>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21775"/>
        <c:crosses val="autoZero"/>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Bic</c:v>
                </c:pt>
                <c:pt idx="2">
                  <c:v>Equate</c:v>
                </c:pt>
                <c:pt idx="3">
                  <c:v>Schick</c:v>
                </c:pt>
              </c:strCache>
            </c:strRef>
          </c:cat>
          <c:val>
            <c:numRef>
              <c:f>Sheet1!$B$2:$B$5</c:f>
              <c:numCache>
                <c:formatCode>General</c:formatCode>
                <c:ptCount val="4"/>
                <c:pt idx="0">
                  <c:v>0.54082386189050302</c:v>
                </c:pt>
                <c:pt idx="1">
                  <c:v>0.18453803758152043</c:v>
                </c:pt>
                <c:pt idx="2">
                  <c:v>0.15328221133792058</c:v>
                </c:pt>
                <c:pt idx="3">
                  <c:v>0.11808405065965208</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Bic</c:v>
                </c:pt>
                <c:pt idx="2">
                  <c:v>Equate</c:v>
                </c:pt>
                <c:pt idx="3">
                  <c:v>Schick</c:v>
                </c:pt>
              </c:strCache>
            </c:strRef>
          </c:cat>
          <c:val>
            <c:numRef>
              <c:f>Sheet1!$C$2:$C$5</c:f>
              <c:numCache>
                <c:formatCode>General</c:formatCode>
                <c:ptCount val="4"/>
                <c:pt idx="0">
                  <c:v>6.5207948666118093E-2</c:v>
                </c:pt>
                <c:pt idx="1">
                  <c:v>0.31478505165928605</c:v>
                </c:pt>
                <c:pt idx="2">
                  <c:v>0.20932567233378616</c:v>
                </c:pt>
                <c:pt idx="3">
                  <c:v>0.41057383757893434</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illette</c:v>
                </c:pt>
                <c:pt idx="1">
                  <c:v>Bic</c:v>
                </c:pt>
                <c:pt idx="2">
                  <c:v>Equate</c:v>
                </c:pt>
                <c:pt idx="3">
                  <c:v>Schick</c:v>
                </c:pt>
              </c:strCache>
            </c:strRef>
          </c:cat>
          <c:val>
            <c:numRef>
              <c:f>Sheet1!$D$2:$D$5</c:f>
              <c:numCache>
                <c:formatCode>General</c:formatCode>
                <c:ptCount val="4"/>
                <c:pt idx="0">
                  <c:v>0</c:v>
                </c:pt>
                <c:pt idx="1">
                  <c:v>0.03</c:v>
                </c:pt>
                <c:pt idx="2">
                  <c:v>0.06</c:v>
                </c:pt>
                <c:pt idx="3">
                  <c:v>0.11</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illette</c:v>
                </c:pt>
                <c:pt idx="1">
                  <c:v>Harry's</c:v>
                </c:pt>
              </c:strCache>
            </c:strRef>
          </c:cat>
          <c:val>
            <c:numRef>
              <c:f>Sheet1!$B$2:$B$3</c:f>
              <c:numCache>
                <c:formatCode>General</c:formatCode>
                <c:ptCount val="2"/>
                <c:pt idx="0">
                  <c:v>0.88643053255285409</c:v>
                </c:pt>
                <c:pt idx="1">
                  <c:v>0.11177345894376205</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illette</c:v>
                </c:pt>
                <c:pt idx="1">
                  <c:v>Harry's</c:v>
                </c:pt>
              </c:strCache>
            </c:strRef>
          </c:cat>
          <c:val>
            <c:numRef>
              <c:f>Sheet1!$C$2:$C$3</c:f>
              <c:numCache>
                <c:formatCode>General</c:formatCode>
                <c:ptCount val="2"/>
                <c:pt idx="0">
                  <c:v>0.90400906096224687</c:v>
                </c:pt>
                <c:pt idx="1">
                  <c:v>9.5923340768784685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illette</c:v>
                </c:pt>
                <c:pt idx="1">
                  <c:v>Harry's</c:v>
                </c:pt>
              </c:strCache>
            </c:strRef>
          </c:cat>
          <c:val>
            <c:numRef>
              <c:f>Sheet1!$D$2:$D$3</c:f>
              <c:numCache>
                <c:formatCode>General</c:formatCode>
                <c:ptCount val="2"/>
                <c:pt idx="0">
                  <c:v>0.55000000000000004</c:v>
                </c:pt>
                <c:pt idx="1">
                  <c:v>0.48</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Gillette</c:v>
                </c:pt>
              </c:strCache>
            </c:strRef>
          </c:cat>
          <c:val>
            <c:numRef>
              <c:f>Sheet1!$B$2:$B$2</c:f>
              <c:numCache>
                <c:formatCode>General</c:formatCode>
                <c:ptCount val="1"/>
                <c:pt idx="0">
                  <c:v>0.9999998458925705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Gillette</c:v>
                </c:pt>
              </c:strCache>
            </c:strRef>
          </c:cat>
          <c:val>
            <c:numRef>
              <c:f>Sheet1!$C$2:$C$2</c:f>
              <c:numCache>
                <c:formatCode>General</c:formatCode>
                <c:ptCount val="1"/>
                <c:pt idx="0">
                  <c:v>1</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Gillette</c:v>
                </c:pt>
              </c:strCache>
            </c:strRef>
          </c:cat>
          <c:val>
            <c:numRef>
              <c:f>Sheet1!$D$2:$D$2</c:f>
              <c:numCache>
                <c:formatCode>General</c:formatCode>
                <c:ptCount val="1"/>
                <c:pt idx="0">
                  <c:v>0.56000000000000005</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Schick</c:v>
                </c:pt>
                <c:pt idx="3">
                  <c:v>Dollar Shave Club</c:v>
                </c:pt>
                <c:pt idx="4">
                  <c:v>Van Der Hagen</c:v>
                </c:pt>
                <c:pt idx="5">
                  <c:v>Equate</c:v>
                </c:pt>
              </c:strCache>
            </c:strRef>
          </c:cat>
          <c:val>
            <c:numRef>
              <c:f>Sheet1!$B$2:$B$7</c:f>
              <c:numCache>
                <c:formatCode>General</c:formatCode>
                <c:ptCount val="6"/>
                <c:pt idx="0">
                  <c:v>0.64845903530310278</c:v>
                </c:pt>
                <c:pt idx="1">
                  <c:v>0.20224109939179227</c:v>
                </c:pt>
                <c:pt idx="2">
                  <c:v>5.1430100632834493E-2</c:v>
                </c:pt>
                <c:pt idx="3">
                  <c:v>4.5583978383688155E-2</c:v>
                </c:pt>
                <c:pt idx="4">
                  <c:v>2.9879671567027418E-2</c:v>
                </c:pt>
                <c:pt idx="5">
                  <c:v>2.1574179939746557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Schick</c:v>
                </c:pt>
                <c:pt idx="3">
                  <c:v>Dollar Shave Club</c:v>
                </c:pt>
                <c:pt idx="4">
                  <c:v>Van Der Hagen</c:v>
                </c:pt>
                <c:pt idx="5">
                  <c:v>Equate</c:v>
                </c:pt>
              </c:strCache>
            </c:strRef>
          </c:cat>
          <c:val>
            <c:numRef>
              <c:f>Sheet1!$C$2:$C$7</c:f>
              <c:numCache>
                <c:formatCode>General</c:formatCode>
                <c:ptCount val="6"/>
                <c:pt idx="0">
                  <c:v>0.69091853690544414</c:v>
                </c:pt>
                <c:pt idx="1">
                  <c:v>1.6877553702241331E-2</c:v>
                </c:pt>
                <c:pt idx="2">
                  <c:v>0.18552967879239812</c:v>
                </c:pt>
                <c:pt idx="3">
                  <c:v>9.9918899143347908E-2</c:v>
                </c:pt>
                <c:pt idx="4">
                  <c:v>9.3008830673608101E-4</c:v>
                </c:pt>
                <c:pt idx="5">
                  <c:v>5.6691731544945218E-3</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Schick</c:v>
                </c:pt>
                <c:pt idx="3">
                  <c:v>Dollar Shave Club</c:v>
                </c:pt>
                <c:pt idx="4">
                  <c:v>Van Der Hagen</c:v>
                </c:pt>
                <c:pt idx="5">
                  <c:v>Equate</c:v>
                </c:pt>
              </c:strCache>
            </c:strRef>
          </c:cat>
          <c:val>
            <c:numRef>
              <c:f>Sheet1!$D$2:$D$7</c:f>
              <c:numCache>
                <c:formatCode>General</c:formatCode>
                <c:ptCount val="6"/>
                <c:pt idx="0">
                  <c:v>0.1</c:v>
                </c:pt>
                <c:pt idx="1">
                  <c:v>0.01</c:v>
                </c:pt>
                <c:pt idx="2">
                  <c:v>0.33</c:v>
                </c:pt>
                <c:pt idx="3">
                  <c:v>0.18</c:v>
                </c:pt>
                <c:pt idx="4">
                  <c:v>0</c:v>
                </c:pt>
                <c:pt idx="5">
                  <c:v>0.02</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Schick</c:v>
                </c:pt>
                <c:pt idx="3">
                  <c:v>Dollar Shave Club</c:v>
                </c:pt>
                <c:pt idx="4">
                  <c:v>Equate</c:v>
                </c:pt>
                <c:pt idx="5">
                  <c:v>Van Der Hagen</c:v>
                </c:pt>
              </c:strCache>
            </c:strRef>
          </c:cat>
          <c:val>
            <c:numRef>
              <c:f>Sheet1!$B$2:$B$7</c:f>
              <c:numCache>
                <c:formatCode>General</c:formatCode>
                <c:ptCount val="6"/>
                <c:pt idx="0">
                  <c:v>0.61709939318599438</c:v>
                </c:pt>
                <c:pt idx="1">
                  <c:v>0.24341488493153948</c:v>
                </c:pt>
                <c:pt idx="2">
                  <c:v>4.6230713935869937E-2</c:v>
                </c:pt>
                <c:pt idx="3">
                  <c:v>4.0291297693214836E-2</c:v>
                </c:pt>
                <c:pt idx="4">
                  <c:v>3.9220718455250554E-2</c:v>
                </c:pt>
                <c:pt idx="5">
                  <c:v>1.3513482367956495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Schick</c:v>
                </c:pt>
                <c:pt idx="3">
                  <c:v>Dollar Shave Club</c:v>
                </c:pt>
                <c:pt idx="4">
                  <c:v>Equate</c:v>
                </c:pt>
                <c:pt idx="5">
                  <c:v>Van Der Hagen</c:v>
                </c:pt>
              </c:strCache>
            </c:strRef>
          </c:cat>
          <c:val>
            <c:numRef>
              <c:f>Sheet1!$C$2:$C$7</c:f>
              <c:numCache>
                <c:formatCode>General</c:formatCode>
                <c:ptCount val="6"/>
                <c:pt idx="0">
                  <c:v>0.50851565835797896</c:v>
                </c:pt>
                <c:pt idx="1">
                  <c:v>3.378304548275457E-2</c:v>
                </c:pt>
                <c:pt idx="2">
                  <c:v>0.29434132181557238</c:v>
                </c:pt>
                <c:pt idx="3">
                  <c:v>0.1282822771765654</c:v>
                </c:pt>
                <c:pt idx="4">
                  <c:v>3.4808450483466619E-2</c:v>
                </c:pt>
                <c:pt idx="5">
                  <c:v>1.4589905903205505E-4</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illette</c:v>
                </c:pt>
                <c:pt idx="1">
                  <c:v>Harry's</c:v>
                </c:pt>
                <c:pt idx="2">
                  <c:v>Schick</c:v>
                </c:pt>
                <c:pt idx="3">
                  <c:v>Dollar Shave Club</c:v>
                </c:pt>
                <c:pt idx="4">
                  <c:v>Equate</c:v>
                </c:pt>
                <c:pt idx="5">
                  <c:v>Van Der Hagen</c:v>
                </c:pt>
              </c:strCache>
            </c:strRef>
          </c:cat>
          <c:val>
            <c:numRef>
              <c:f>Sheet1!$D$2:$D$7</c:f>
              <c:numCache>
                <c:formatCode>General</c:formatCode>
                <c:ptCount val="6"/>
                <c:pt idx="0">
                  <c:v>0.04</c:v>
                </c:pt>
                <c:pt idx="1">
                  <c:v>0.01</c:v>
                </c:pt>
                <c:pt idx="2">
                  <c:v>0.28999999999999998</c:v>
                </c:pt>
                <c:pt idx="3">
                  <c:v>0.13</c:v>
                </c:pt>
                <c:pt idx="4">
                  <c:v>0.06</c:v>
                </c:pt>
                <c:pt idx="5">
                  <c:v>0</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64864197530864"/>
          <c:y val="0.12152940918360107"/>
          <c:w val="0.83974691358024689"/>
          <c:h val="0.72254306602702423"/>
        </c:manualLayout>
      </c:layout>
      <c:bubbleChart>
        <c:varyColors val="0"/>
        <c:ser>
          <c:idx val="0"/>
          <c:order val="0"/>
          <c:tx>
            <c:strRef>
              <c:f>Sheet1!$B$1</c:f>
              <c:strCache>
                <c:ptCount val="1"/>
                <c:pt idx="0">
                  <c:v>Average Value Uplift</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26FB-4B52-8D72-D56D618E8EAF}"/>
              </c:ext>
            </c:extLst>
          </c:dPt>
          <c:dPt>
            <c:idx val="1"/>
            <c:invertIfNegative val="0"/>
            <c:bubble3D val="0"/>
            <c:spPr>
              <a:solidFill>
                <a:srgbClr val="E6E5E5"/>
              </a:solidFill>
              <a:ln>
                <a:noFill/>
              </a:ln>
              <a:effectLst/>
            </c:spPr>
            <c:extLst>
              <c:ext xmlns:c16="http://schemas.microsoft.com/office/drawing/2014/chart" uri="{C3380CC4-5D6E-409C-BE32-E72D297353CC}">
                <c16:uniqueId val="{00000003-26FB-4B52-8D72-D56D618E8EAF}"/>
              </c:ext>
            </c:extLst>
          </c:dPt>
          <c:dPt>
            <c:idx val="2"/>
            <c:invertIfNegative val="0"/>
            <c:bubble3D val="0"/>
            <c:spPr>
              <a:solidFill>
                <a:srgbClr val="E6E5E5"/>
              </a:solidFill>
              <a:ln>
                <a:noFill/>
              </a:ln>
              <a:effectLst/>
            </c:spPr>
            <c:extLst>
              <c:ext xmlns:c16="http://schemas.microsoft.com/office/drawing/2014/chart" uri="{C3380CC4-5D6E-409C-BE32-E72D297353CC}">
                <c16:uniqueId val="{00000005-26FB-4B52-8D72-D56D618E8EAF}"/>
              </c:ext>
            </c:extLst>
          </c:dPt>
          <c:dPt>
            <c:idx val="3"/>
            <c:invertIfNegative val="0"/>
            <c:bubble3D val="0"/>
            <c:spPr>
              <a:solidFill>
                <a:srgbClr val="E6E5E5"/>
              </a:solidFill>
              <a:ln>
                <a:noFill/>
              </a:ln>
              <a:effectLst/>
            </c:spPr>
            <c:extLst>
              <c:ext xmlns:c16="http://schemas.microsoft.com/office/drawing/2014/chart" uri="{C3380CC4-5D6E-409C-BE32-E72D297353CC}">
                <c16:uniqueId val="{00000007-26FB-4B52-8D72-D56D618E8EAF}"/>
              </c:ext>
            </c:extLst>
          </c:dPt>
          <c:dPt>
            <c:idx val="4"/>
            <c:invertIfNegative val="0"/>
            <c:bubble3D val="0"/>
            <c:spPr>
              <a:solidFill>
                <a:srgbClr val="E6E5E5"/>
              </a:solidFill>
              <a:ln>
                <a:noFill/>
              </a:ln>
              <a:effectLst/>
            </c:spPr>
            <c:extLst>
              <c:ext xmlns:c16="http://schemas.microsoft.com/office/drawing/2014/chart" uri="{C3380CC4-5D6E-409C-BE32-E72D297353CC}">
                <c16:uniqueId val="{00000009-26FB-4B52-8D72-D56D618E8EAF}"/>
              </c:ext>
            </c:extLst>
          </c:dPt>
          <c:dPt>
            <c:idx val="5"/>
            <c:invertIfNegative val="0"/>
            <c:bubble3D val="0"/>
            <c:spPr>
              <a:solidFill>
                <a:srgbClr val="E6E5E5"/>
              </a:solidFill>
              <a:ln>
                <a:noFill/>
              </a:ln>
              <a:effectLst/>
            </c:spPr>
            <c:extLst>
              <c:ext xmlns:c16="http://schemas.microsoft.com/office/drawing/2014/chart" uri="{C3380CC4-5D6E-409C-BE32-E72D297353CC}">
                <c16:uniqueId val="{0000000B-26FB-4B52-8D72-D56D618E8EAF}"/>
              </c:ext>
            </c:extLst>
          </c:dPt>
          <c:dPt>
            <c:idx val="6"/>
            <c:invertIfNegative val="0"/>
            <c:bubble3D val="0"/>
            <c:spPr>
              <a:solidFill>
                <a:srgbClr val="7ECAC4"/>
              </a:solidFill>
              <a:ln>
                <a:noFill/>
              </a:ln>
              <a:effectLst/>
            </c:spPr>
            <c:extLst>
              <c:ext xmlns:c16="http://schemas.microsoft.com/office/drawing/2014/chart" uri="{C3380CC4-5D6E-409C-BE32-E72D297353CC}">
                <c16:uniqueId val="{0000000D-26FB-4B52-8D72-D56D618E8EAF}"/>
              </c:ext>
            </c:extLst>
          </c:dPt>
          <c:dPt>
            <c:idx val="7"/>
            <c:invertIfNegative val="0"/>
            <c:bubble3D val="0"/>
            <c:spPr>
              <a:solidFill>
                <a:srgbClr val="7ECAC4"/>
              </a:solidFill>
              <a:ln>
                <a:noFill/>
              </a:ln>
              <a:effectLst/>
            </c:spPr>
            <c:extLst>
              <c:ext xmlns:c16="http://schemas.microsoft.com/office/drawing/2014/chart" uri="{C3380CC4-5D6E-409C-BE32-E72D297353CC}">
                <c16:uniqueId val="{0000000F-26FB-4B52-8D72-D56D618E8EAF}"/>
              </c:ext>
            </c:extLst>
          </c:dPt>
          <c:dPt>
            <c:idx val="8"/>
            <c:invertIfNegative val="0"/>
            <c:bubble3D val="0"/>
            <c:spPr>
              <a:solidFill>
                <a:schemeClr val="bg2"/>
              </a:solidFill>
              <a:ln>
                <a:noFill/>
              </a:ln>
              <a:effectLst/>
            </c:spPr>
            <c:extLst>
              <c:ext xmlns:c16="http://schemas.microsoft.com/office/drawing/2014/chart" uri="{C3380CC4-5D6E-409C-BE32-E72D297353CC}">
                <c16:uniqueId val="{00000011-26FB-4B52-8D72-D56D618E8EAF}"/>
              </c:ext>
            </c:extLst>
          </c:dPt>
          <c:dPt>
            <c:idx val="11"/>
            <c:invertIfNegative val="0"/>
            <c:bubble3D val="0"/>
            <c:spPr>
              <a:solidFill>
                <a:schemeClr val="bg2"/>
              </a:solidFill>
              <a:ln>
                <a:noFill/>
              </a:ln>
              <a:effectLst/>
            </c:spPr>
            <c:extLst>
              <c:ext xmlns:c16="http://schemas.microsoft.com/office/drawing/2014/chart" uri="{C3380CC4-5D6E-409C-BE32-E72D297353CC}">
                <c16:uniqueId val="{00000013-26FB-4B52-8D72-D56D618E8EAF}"/>
              </c:ext>
            </c:extLst>
          </c:dPt>
          <c:dPt>
            <c:idx val="12"/>
            <c:invertIfNegative val="0"/>
            <c:bubble3D val="0"/>
            <c:spPr>
              <a:solidFill>
                <a:schemeClr val="bg2"/>
              </a:solidFill>
              <a:ln>
                <a:noFill/>
              </a:ln>
              <a:effectLst/>
            </c:spPr>
            <c:extLst>
              <c:ext xmlns:c16="http://schemas.microsoft.com/office/drawing/2014/chart" uri="{C3380CC4-5D6E-409C-BE32-E72D297353CC}">
                <c16:uniqueId val="{00000002-7B2D-4A32-96D2-9C641BCDE5CC}"/>
              </c:ext>
            </c:extLst>
          </c:dPt>
          <c:dPt>
            <c:idx val="13"/>
            <c:invertIfNegative val="0"/>
            <c:bubble3D val="0"/>
            <c:extLst>
              <c:ext xmlns:c16="http://schemas.microsoft.com/office/drawing/2014/chart" uri="{C3380CC4-5D6E-409C-BE32-E72D297353CC}">
                <c16:uniqueId val="{00000017-26FB-4B52-8D72-D56D618E8EAF}"/>
              </c:ext>
            </c:extLst>
          </c:dPt>
          <c:dPt>
            <c:idx val="14"/>
            <c:invertIfNegative val="0"/>
            <c:bubble3D val="0"/>
            <c:spPr>
              <a:solidFill>
                <a:schemeClr val="bg2"/>
              </a:solidFill>
              <a:ln>
                <a:noFill/>
              </a:ln>
              <a:effectLst/>
            </c:spPr>
            <c:extLst>
              <c:ext xmlns:c16="http://schemas.microsoft.com/office/drawing/2014/chart" uri="{C3380CC4-5D6E-409C-BE32-E72D297353CC}">
                <c16:uniqueId val="{00000019-26FB-4B52-8D72-D56D618E8EAF}"/>
              </c:ext>
            </c:extLst>
          </c:dPt>
          <c:dPt>
            <c:idx val="15"/>
            <c:invertIfNegative val="0"/>
            <c:bubble3D val="0"/>
            <c:extLst>
              <c:ext xmlns:c16="http://schemas.microsoft.com/office/drawing/2014/chart" uri="{C3380CC4-5D6E-409C-BE32-E72D297353CC}">
                <c16:uniqueId val="{0000001C-26FB-4B52-8D72-D56D618E8EAF}"/>
              </c:ext>
            </c:extLst>
          </c:dPt>
          <c:dPt>
            <c:idx val="19"/>
            <c:invertIfNegative val="0"/>
            <c:bubble3D val="0"/>
            <c:spPr>
              <a:solidFill>
                <a:srgbClr val="7ECAC4"/>
              </a:solidFill>
              <a:ln>
                <a:noFill/>
              </a:ln>
              <a:effectLst/>
            </c:spPr>
            <c:extLst>
              <c:ext xmlns:c16="http://schemas.microsoft.com/office/drawing/2014/chart" uri="{C3380CC4-5D6E-409C-BE32-E72D297353CC}">
                <c16:uniqueId val="{00000002-0A6E-4C83-9A06-9C3309B2855E}"/>
              </c:ext>
            </c:extLst>
          </c:dPt>
          <c:dPt>
            <c:idx val="24"/>
            <c:invertIfNegative val="0"/>
            <c:bubble3D val="0"/>
            <c:spPr>
              <a:solidFill>
                <a:schemeClr val="bg2"/>
              </a:solidFill>
              <a:ln>
                <a:noFill/>
              </a:ln>
              <a:effectLst/>
            </c:spPr>
            <c:extLst>
              <c:ext xmlns:c16="http://schemas.microsoft.com/office/drawing/2014/chart" uri="{C3380CC4-5D6E-409C-BE32-E72D297353CC}">
                <c16:uniqueId val="{00000005-0A6E-4C83-9A06-9C3309B2855E}"/>
              </c:ext>
            </c:extLst>
          </c:dPt>
          <c:dPt>
            <c:idx val="29"/>
            <c:invertIfNegative val="0"/>
            <c:bubble3D val="0"/>
            <c:extLst>
              <c:ext xmlns:c16="http://schemas.microsoft.com/office/drawing/2014/chart" uri="{C3380CC4-5D6E-409C-BE32-E72D297353CC}">
                <c16:uniqueId val="{00000003-8F47-486F-B734-6012CEA493B3}"/>
              </c:ext>
            </c:extLst>
          </c:dPt>
          <c:dPt>
            <c:idx val="31"/>
            <c:invertIfNegative val="0"/>
            <c:bubble3D val="0"/>
            <c:spPr>
              <a:solidFill>
                <a:schemeClr val="accent2"/>
              </a:solidFill>
              <a:ln>
                <a:noFill/>
              </a:ln>
              <a:effectLst/>
            </c:spPr>
            <c:extLst>
              <c:ext xmlns:c16="http://schemas.microsoft.com/office/drawing/2014/chart" uri="{C3380CC4-5D6E-409C-BE32-E72D297353CC}">
                <c16:uniqueId val="{00000000-4D12-44DE-B956-CABCB15EBC04}"/>
              </c:ext>
            </c:extLst>
          </c:dPt>
          <c:dPt>
            <c:idx val="33"/>
            <c:invertIfNegative val="0"/>
            <c:bubble3D val="0"/>
            <c:spPr>
              <a:solidFill>
                <a:schemeClr val="accent2"/>
              </a:solidFill>
              <a:ln>
                <a:noFill/>
              </a:ln>
              <a:effectLst/>
            </c:spPr>
            <c:extLst>
              <c:ext xmlns:c16="http://schemas.microsoft.com/office/drawing/2014/chart" uri="{C3380CC4-5D6E-409C-BE32-E72D297353CC}">
                <c16:uniqueId val="{00000001-4D12-44DE-B956-CABCB15EBC04}"/>
              </c:ext>
            </c:extLst>
          </c:dPt>
          <c:dLbls>
            <c:dLbl>
              <c:idx val="0"/>
              <c:tx>
                <c:rich>
                  <a:bodyPr/>
                  <a:lstStyle/>
                  <a:p>
                    <a:fld id="{6725F65E-13B2-42A7-ADC9-0594E14387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FB-4B52-8D72-D56D618E8EAF}"/>
                </c:ext>
              </c:extLst>
            </c:dLbl>
            <c:dLbl>
              <c:idx val="1"/>
              <c:tx>
                <c:rich>
                  <a:bodyPr/>
                  <a:lstStyle/>
                  <a:p>
                    <a:fld id="{09E7DCA8-8899-401B-AC1C-88A6E5706E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FB-4B52-8D72-D56D618E8EAF}"/>
                </c:ext>
              </c:extLst>
            </c:dLbl>
            <c:dLbl>
              <c:idx val="2"/>
              <c:tx>
                <c:rich>
                  <a:bodyPr/>
                  <a:lstStyle/>
                  <a:p>
                    <a:fld id="{CD1E35DF-6C24-4EE9-8307-0CB4A3721A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26FB-4B52-8D72-D56D618E8EAF}"/>
                </c:ext>
              </c:extLst>
            </c:dLbl>
            <c:dLbl>
              <c:idx val="3"/>
              <c:tx>
                <c:rich>
                  <a:bodyPr/>
                  <a:lstStyle/>
                  <a:p>
                    <a:fld id="{A0237E86-9D81-4FF5-A154-7B0AC1A77F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FB-4B52-8D72-D56D618E8EAF}"/>
                </c:ext>
              </c:extLst>
            </c:dLbl>
            <c:dLbl>
              <c:idx val="4"/>
              <c:tx>
                <c:rich>
                  <a:bodyPr/>
                  <a:lstStyle/>
                  <a:p>
                    <a:fld id="{3B2E596D-90A1-45C1-92EF-BAF367DC84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FB-4B52-8D72-D56D618E8EAF}"/>
                </c:ext>
              </c:extLst>
            </c:dLbl>
            <c:dLbl>
              <c:idx val="5"/>
              <c:tx>
                <c:rich>
                  <a:bodyPr/>
                  <a:lstStyle/>
                  <a:p>
                    <a:fld id="{49F1409C-0C36-41A1-950D-2E82773A7B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26FB-4B52-8D72-D56D618E8EAF}"/>
                </c:ext>
              </c:extLst>
            </c:dLbl>
            <c:dLbl>
              <c:idx val="6"/>
              <c:tx>
                <c:rich>
                  <a:bodyPr/>
                  <a:lstStyle/>
                  <a:p>
                    <a:fld id="{F4E5950C-9FC3-49CD-AC69-9F155F6693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26FB-4B52-8D72-D56D618E8EAF}"/>
                </c:ext>
              </c:extLst>
            </c:dLbl>
            <c:dLbl>
              <c:idx val="7"/>
              <c:tx>
                <c:rich>
                  <a:bodyPr/>
                  <a:lstStyle/>
                  <a:p>
                    <a:fld id="{E517D5B8-C104-482D-94BC-2CEF3C4BFD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26FB-4B52-8D72-D56D618E8EAF}"/>
                </c:ext>
              </c:extLst>
            </c:dLbl>
            <c:dLbl>
              <c:idx val="8"/>
              <c:tx>
                <c:rich>
                  <a:bodyPr/>
                  <a:lstStyle/>
                  <a:p>
                    <a:fld id="{44EA0B32-123C-468F-9F47-220E7DBA80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26FB-4B52-8D72-D56D618E8EAF}"/>
                </c:ext>
              </c:extLst>
            </c:dLbl>
            <c:dLbl>
              <c:idx val="9"/>
              <c:tx>
                <c:rich>
                  <a:bodyPr/>
                  <a:lstStyle/>
                  <a:p>
                    <a:fld id="{7B77EFAD-3329-42E2-9A63-633A5DE905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B2D-4A32-96D2-9C641BCDE5CC}"/>
                </c:ext>
              </c:extLst>
            </c:dLbl>
            <c:dLbl>
              <c:idx val="10"/>
              <c:tx>
                <c:rich>
                  <a:bodyPr/>
                  <a:lstStyle/>
                  <a:p>
                    <a:fld id="{CB52D3BA-C272-4372-9D03-C8A6A17C84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7B2D-4A32-96D2-9C641BCDE5CC}"/>
                </c:ext>
              </c:extLst>
            </c:dLbl>
            <c:dLbl>
              <c:idx val="11"/>
              <c:tx>
                <c:rich>
                  <a:bodyPr/>
                  <a:lstStyle/>
                  <a:p>
                    <a:fld id="{B725DB0F-41AF-40AC-84E1-3880B6FDC0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26FB-4B52-8D72-D56D618E8EAF}"/>
                </c:ext>
              </c:extLst>
            </c:dLbl>
            <c:dLbl>
              <c:idx val="12"/>
              <c:tx>
                <c:rich>
                  <a:bodyPr/>
                  <a:lstStyle/>
                  <a:p>
                    <a:fld id="{E0900EE7-A7E6-40C1-87AF-FDFF65F83A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7B2D-4A32-96D2-9C641BCDE5CC}"/>
                </c:ext>
              </c:extLst>
            </c:dLbl>
            <c:dLbl>
              <c:idx val="13"/>
              <c:tx>
                <c:rich>
                  <a:bodyPr/>
                  <a:lstStyle/>
                  <a:p>
                    <a:fld id="{F582F673-5759-434B-8214-BA858F246F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26FB-4B52-8D72-D56D618E8EAF}"/>
                </c:ext>
              </c:extLst>
            </c:dLbl>
            <c:dLbl>
              <c:idx val="14"/>
              <c:tx>
                <c:rich>
                  <a:bodyPr/>
                  <a:lstStyle/>
                  <a:p>
                    <a:fld id="{4E56FBC8-7EAB-45F8-A1EE-90A91314C9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26FB-4B52-8D72-D56D618E8EAF}"/>
                </c:ext>
              </c:extLst>
            </c:dLbl>
            <c:dLbl>
              <c:idx val="15"/>
              <c:tx>
                <c:rich>
                  <a:bodyPr/>
                  <a:lstStyle/>
                  <a:p>
                    <a:fld id="{8337E561-FF09-4E1B-B27E-6177B2BF88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26FB-4B52-8D72-D56D618E8EAF}"/>
                </c:ext>
              </c:extLst>
            </c:dLbl>
            <c:dLbl>
              <c:idx val="16"/>
              <c:tx>
                <c:rich>
                  <a:bodyPr/>
                  <a:lstStyle/>
                  <a:p>
                    <a:fld id="{92CDCA0F-6729-432E-9053-09DA67A17F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0A6E-4C83-9A06-9C3309B2855E}"/>
                </c:ext>
              </c:extLst>
            </c:dLbl>
            <c:dLbl>
              <c:idx val="17"/>
              <c:tx>
                <c:rich>
                  <a:bodyPr/>
                  <a:lstStyle/>
                  <a:p>
                    <a:fld id="{A0CC9935-A96F-414D-A54C-CDBB44A553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0A6E-4C83-9A06-9C3309B2855E}"/>
                </c:ext>
              </c:extLst>
            </c:dLbl>
            <c:dLbl>
              <c:idx val="18"/>
              <c:tx>
                <c:rich>
                  <a:bodyPr/>
                  <a:lstStyle/>
                  <a:p>
                    <a:fld id="{AF1814CE-8B6C-4400-AB17-08F0F37250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0A6E-4C83-9A06-9C3309B2855E}"/>
                </c:ext>
              </c:extLst>
            </c:dLbl>
            <c:dLbl>
              <c:idx val="19"/>
              <c:tx>
                <c:rich>
                  <a:bodyPr/>
                  <a:lstStyle/>
                  <a:p>
                    <a:fld id="{3C31A0A9-A200-4926-8155-66749361EB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0A6E-4C83-9A06-9C3309B2855E}"/>
                </c:ext>
              </c:extLst>
            </c:dLbl>
            <c:dLbl>
              <c:idx val="20"/>
              <c:tx>
                <c:rich>
                  <a:bodyPr/>
                  <a:lstStyle/>
                  <a:p>
                    <a:fld id="{756289F8-0E40-4449-82CF-931B9B56FF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5AD-4BCF-9CB2-60EDA2D7DB42}"/>
                </c:ext>
              </c:extLst>
            </c:dLbl>
            <c:dLbl>
              <c:idx val="21"/>
              <c:tx>
                <c:rich>
                  <a:bodyPr/>
                  <a:lstStyle/>
                  <a:p>
                    <a:fld id="{03837C4E-3688-4E3A-8DEC-51B8A66753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5AD-4BCF-9CB2-60EDA2D7DB42}"/>
                </c:ext>
              </c:extLst>
            </c:dLbl>
            <c:dLbl>
              <c:idx val="22"/>
              <c:tx>
                <c:rich>
                  <a:bodyPr/>
                  <a:lstStyle/>
                  <a:p>
                    <a:fld id="{FFBF5A22-7765-4384-B170-6C62806681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5AD-4BCF-9CB2-60EDA2D7DB42}"/>
                </c:ext>
              </c:extLst>
            </c:dLbl>
            <c:dLbl>
              <c:idx val="23"/>
              <c:tx>
                <c:rich>
                  <a:bodyPr/>
                  <a:lstStyle/>
                  <a:p>
                    <a:fld id="{C60E92F7-82FE-4BDA-8594-6F30E24C76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5AD-4BCF-9CB2-60EDA2D7DB42}"/>
                </c:ext>
              </c:extLst>
            </c:dLbl>
            <c:dLbl>
              <c:idx val="24"/>
              <c:tx>
                <c:rich>
                  <a:bodyPr/>
                  <a:lstStyle/>
                  <a:p>
                    <a:fld id="{F858705C-959B-4AD5-A1D1-336D43CCAC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0A6E-4C83-9A06-9C3309B2855E}"/>
                </c:ext>
              </c:extLst>
            </c:dLbl>
            <c:dLbl>
              <c:idx val="25"/>
              <c:tx>
                <c:rich>
                  <a:bodyPr/>
                  <a:lstStyle/>
                  <a:p>
                    <a:fld id="{D102018F-52B0-4CD0-A500-3AA8832EC2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4D12-44DE-B956-CABCB15EBC04}"/>
                </c:ext>
              </c:extLst>
            </c:dLbl>
            <c:dLbl>
              <c:idx val="26"/>
              <c:tx>
                <c:rich>
                  <a:bodyPr/>
                  <a:lstStyle/>
                  <a:p>
                    <a:fld id="{55425C7B-1393-435A-8FEE-12D49D7FFA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D12-44DE-B956-CABCB15EBC04}"/>
                </c:ext>
              </c:extLst>
            </c:dLbl>
            <c:dLbl>
              <c:idx val="27"/>
              <c:tx>
                <c:rich>
                  <a:bodyPr/>
                  <a:lstStyle/>
                  <a:p>
                    <a:fld id="{FC893BE9-35BF-4784-A49C-B60DADD271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D12-44DE-B956-CABCB15EBC04}"/>
                </c:ext>
              </c:extLst>
            </c:dLbl>
            <c:dLbl>
              <c:idx val="28"/>
              <c:tx>
                <c:rich>
                  <a:bodyPr/>
                  <a:lstStyle/>
                  <a:p>
                    <a:fld id="{765044D3-A479-44BD-A2C4-298B23FB09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D12-44DE-B956-CABCB15EBC04}"/>
                </c:ext>
              </c:extLst>
            </c:dLbl>
            <c:dLbl>
              <c:idx val="29"/>
              <c:tx>
                <c:rich>
                  <a:bodyPr/>
                  <a:lstStyle/>
                  <a:p>
                    <a:fld id="{5DC47598-8C36-4989-8CA9-97E170933A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8F47-486F-B734-6012CEA493B3}"/>
                </c:ext>
              </c:extLst>
            </c:dLbl>
            <c:dLbl>
              <c:idx val="30"/>
              <c:tx>
                <c:rich>
                  <a:bodyPr/>
                  <a:lstStyle/>
                  <a:p>
                    <a:fld id="{AFC18A3C-FBA6-4A37-B82E-A9A8112B81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D12-44DE-B956-CABCB15EBC04}"/>
                </c:ext>
              </c:extLst>
            </c:dLbl>
            <c:dLbl>
              <c:idx val="31"/>
              <c:tx>
                <c:rich>
                  <a:bodyPr/>
                  <a:lstStyle/>
                  <a:p>
                    <a:fld id="{7AC18BBE-4565-4DB6-AF93-6F57182419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D12-44DE-B956-CABCB15EBC04}"/>
                </c:ext>
              </c:extLst>
            </c:dLbl>
            <c:dLbl>
              <c:idx val="32"/>
              <c:tx>
                <c:rich>
                  <a:bodyPr/>
                  <a:lstStyle/>
                  <a:p>
                    <a:fld id="{7B2DCB26-0B9A-45F1-AA60-A206467EF1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D12-44DE-B956-CABCB15EBC04}"/>
                </c:ext>
              </c:extLst>
            </c:dLbl>
            <c:dLbl>
              <c:idx val="33"/>
              <c:tx>
                <c:rich>
                  <a:bodyPr/>
                  <a:lstStyle/>
                  <a:p>
                    <a:fld id="{7F85C107-FA6A-4022-8741-2D7E6D2A82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D12-44DE-B956-CABCB15EBC04}"/>
                </c:ext>
              </c:extLst>
            </c:dLbl>
            <c:dLbl>
              <c:idx val="34"/>
              <c:tx>
                <c:rich>
                  <a:bodyPr/>
                  <a:lstStyle/>
                  <a:p>
                    <a:fld id="{ECDBCF1C-9ED9-429A-AF03-DC5D4C665A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D12-44DE-B956-CABCB15EBC04}"/>
                </c:ext>
              </c:extLst>
            </c:dLbl>
            <c:dLbl>
              <c:idx val="35"/>
              <c:tx>
                <c:rich>
                  <a:bodyPr/>
                  <a:lstStyle/>
                  <a:p>
                    <a:fld id="{1F0AB5CD-6DBE-4001-BFFF-6E1B040EAB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4D12-44DE-B956-CABCB15EBC04}"/>
                </c:ext>
              </c:extLst>
            </c:dLbl>
            <c:dLbl>
              <c:idx val="36"/>
              <c:tx>
                <c:rich>
                  <a:bodyPr/>
                  <a:lstStyle/>
                  <a:p>
                    <a:fld id="{F98965D2-D344-40AF-86EA-367A85A836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4D12-44DE-B956-CABCB15EBC04}"/>
                </c:ext>
              </c:extLst>
            </c:dLbl>
            <c:dLbl>
              <c:idx val="37"/>
              <c:tx>
                <c:rich>
                  <a:bodyPr/>
                  <a:lstStyle/>
                  <a:p>
                    <a:fld id="{480A378F-0460-4D2A-9CC3-D07FE2856C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4D12-44DE-B956-CABCB15EBC04}"/>
                </c:ext>
              </c:extLst>
            </c:dLbl>
            <c:dLbl>
              <c:idx val="38"/>
              <c:tx>
                <c:rich>
                  <a:bodyPr/>
                  <a:lstStyle/>
                  <a:p>
                    <a:fld id="{828693D4-1FAC-4A77-B783-A0AA550E11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4D12-44DE-B956-CABCB15EBC04}"/>
                </c:ext>
              </c:extLst>
            </c:dLbl>
            <c:dLbl>
              <c:idx val="39"/>
              <c:tx>
                <c:rich>
                  <a:bodyPr/>
                  <a:lstStyle/>
                  <a:p>
                    <a:fld id="{0C5AF11D-48BD-4931-B5DF-C0D8CAC5AE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4D12-44DE-B956-CABCB15EBC04}"/>
                </c:ext>
              </c:extLst>
            </c:dLbl>
            <c:dLbl>
              <c:idx val="40"/>
              <c:tx>
                <c:rich>
                  <a:bodyPr/>
                  <a:lstStyle/>
                  <a:p>
                    <a:fld id="{F3F8B328-F8B2-45EB-B730-5AD5F4B335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4D12-44DE-B956-CABCB15EBC04}"/>
                </c:ext>
              </c:extLst>
            </c:dLbl>
            <c:dLbl>
              <c:idx val="41"/>
              <c:tx>
                <c:rich>
                  <a:bodyPr/>
                  <a:lstStyle/>
                  <a:p>
                    <a:fld id="{39E01090-06F9-4E61-9451-8CDDAAA612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4D12-44DE-B956-CABCB15EBC04}"/>
                </c:ext>
              </c:extLst>
            </c:dLbl>
            <c:dLbl>
              <c:idx val="42"/>
              <c:tx>
                <c:rich>
                  <a:bodyPr/>
                  <a:lstStyle/>
                  <a:p>
                    <a:fld id="{F21B568F-47BA-492E-9469-0172ED85A6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4D12-44DE-B956-CABCB15EBC04}"/>
                </c:ext>
              </c:extLst>
            </c:dLbl>
            <c:dLbl>
              <c:idx val="43"/>
              <c:tx>
                <c:rich>
                  <a:bodyPr/>
                  <a:lstStyle/>
                  <a:p>
                    <a:fld id="{2F1114BC-013E-4A50-9C52-C7E8DDE3CA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4D12-44DE-B956-CABCB15EBC04}"/>
                </c:ext>
              </c:extLst>
            </c:dLbl>
            <c:dLbl>
              <c:idx val="44"/>
              <c:tx>
                <c:rich>
                  <a:bodyPr/>
                  <a:lstStyle/>
                  <a:p>
                    <a:fld id="{120C5256-FAD2-4498-800D-1AF2CC3AA6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4D12-44DE-B956-CABCB15EBC04}"/>
                </c:ext>
              </c:extLst>
            </c:dLbl>
            <c:dLbl>
              <c:idx val="45"/>
              <c:tx>
                <c:rich>
                  <a:bodyPr/>
                  <a:lstStyle/>
                  <a:p>
                    <a:fld id="{034F1B30-1AB6-46D5-AE46-8BD0B92349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4D12-44DE-B956-CABCB15EBC04}"/>
                </c:ext>
              </c:extLst>
            </c:dLbl>
            <c:dLbl>
              <c:idx val="46"/>
              <c:tx>
                <c:rich>
                  <a:bodyPr/>
                  <a:lstStyle/>
                  <a:p>
                    <a:fld id="{71B7C75F-1652-446E-825B-9FC7CDA045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4D12-44DE-B956-CABCB15EBC04}"/>
                </c:ext>
              </c:extLst>
            </c:dLbl>
            <c:dLbl>
              <c:idx val="47"/>
              <c:tx>
                <c:rich>
                  <a:bodyPr/>
                  <a:lstStyle/>
                  <a:p>
                    <a:fld id="{438D0C7E-9788-476F-9155-6C45E276EE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4D12-44DE-B956-CABCB15EBC04}"/>
                </c:ext>
              </c:extLst>
            </c:dLbl>
            <c:dLbl>
              <c:idx val="48"/>
              <c:tx>
                <c:rich>
                  <a:bodyPr/>
                  <a:lstStyle/>
                  <a:p>
                    <a:fld id="{B8F34056-F843-444A-BDAA-EB749ECB7F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4D12-44DE-B956-CABCB15EBC04}"/>
                </c:ext>
              </c:extLst>
            </c:dLbl>
            <c:dLbl>
              <c:idx val="49"/>
              <c:tx>
                <c:rich>
                  <a:bodyPr/>
                  <a:lstStyle/>
                  <a:p>
                    <a:fld id="{BDFA9BAB-DC47-4CD8-A243-F044B7E44E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4D12-44DE-B956-CABCB15EBC04}"/>
                </c:ext>
              </c:extLst>
            </c:dLbl>
            <c:dLbl>
              <c:idx val="50"/>
              <c:tx>
                <c:rich>
                  <a:bodyPr/>
                  <a:lstStyle/>
                  <a:p>
                    <a:fld id="{0AFDBE52-F1CF-4455-9BD2-9C1887C32A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4D12-44DE-B956-CABCB15EBC04}"/>
                </c:ext>
              </c:extLst>
            </c:dLbl>
            <c:dLbl>
              <c:idx val="51"/>
              <c:tx>
                <c:rich>
                  <a:bodyPr/>
                  <a:lstStyle/>
                  <a:p>
                    <a:fld id="{53846792-15DB-4202-8A30-D5210E7BB3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4D12-44DE-B956-CABCB15EBC04}"/>
                </c:ext>
              </c:extLst>
            </c:dLbl>
            <c:dLbl>
              <c:idx val="52"/>
              <c:tx>
                <c:rich>
                  <a:bodyPr/>
                  <a:lstStyle/>
                  <a:p>
                    <a:fld id="{0E6DD296-2F9E-418D-9DFC-6E49FF950A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4D12-44DE-B956-CABCB15EBC04}"/>
                </c:ext>
              </c:extLst>
            </c:dLbl>
            <c:dLbl>
              <c:idx val="53"/>
              <c:tx>
                <c:rich>
                  <a:bodyPr/>
                  <a:lstStyle/>
                  <a:p>
                    <a:fld id="{D6D33777-F0A8-499A-BD07-54AC4A2B6C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4D12-44DE-B956-CABCB15EBC04}"/>
                </c:ext>
              </c:extLst>
            </c:dLbl>
            <c:dLbl>
              <c:idx val="54"/>
              <c:tx>
                <c:rich>
                  <a:bodyPr/>
                  <a:lstStyle/>
                  <a:p>
                    <a:fld id="{46FAE872-566E-4E16-A425-CCA15C946A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4D12-44DE-B956-CABCB15EBC04}"/>
                </c:ext>
              </c:extLst>
            </c:dLbl>
            <c:dLbl>
              <c:idx val="55"/>
              <c:tx>
                <c:rich>
                  <a:bodyPr/>
                  <a:lstStyle/>
                  <a:p>
                    <a:fld id="{87AE69E9-19C3-48CF-80E6-C439F2FA06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D12-44DE-B956-CABCB15EBC04}"/>
                </c:ext>
              </c:extLst>
            </c:dLbl>
            <c:dLbl>
              <c:idx val="56"/>
              <c:tx>
                <c:rich>
                  <a:bodyPr/>
                  <a:lstStyle/>
                  <a:p>
                    <a:fld id="{B50B7BB9-2EED-4E0F-B37B-F5B50BAD18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8E3F-4D1B-A313-C02BEC0FDBD1}"/>
                </c:ext>
              </c:extLst>
            </c:dLbl>
            <c:dLbl>
              <c:idx val="57"/>
              <c:tx>
                <c:rich>
                  <a:bodyPr/>
                  <a:lstStyle/>
                  <a:p>
                    <a:fld id="{52BB9049-A94C-4F2B-AF98-6C2EBE6D9B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8E3F-4D1B-A313-C02BEC0FDBD1}"/>
                </c:ext>
              </c:extLst>
            </c:dLbl>
            <c:dLbl>
              <c:idx val="58"/>
              <c:tx>
                <c:rich>
                  <a:bodyPr/>
                  <a:lstStyle/>
                  <a:p>
                    <a:fld id="{81D17302-BA8B-4030-8E70-2578DCF8A4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8E3F-4D1B-A313-C02BEC0FDBD1}"/>
                </c:ext>
              </c:extLst>
            </c:dLbl>
            <c:dLbl>
              <c:idx val="59"/>
              <c:tx>
                <c:rich>
                  <a:bodyPr/>
                  <a:lstStyle/>
                  <a:p>
                    <a:fld id="{B6327FBE-7AC5-417E-8EF5-B7D9519243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8E3F-4D1B-A313-C02BEC0FDBD1}"/>
                </c:ext>
              </c:extLst>
            </c:dLbl>
            <c:dLbl>
              <c:idx val="60"/>
              <c:tx>
                <c:rich>
                  <a:bodyPr/>
                  <a:lstStyle/>
                  <a:p>
                    <a:fld id="{AC524922-08A3-4494-A318-4EEECF2B44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8E3F-4D1B-A313-C02BEC0FDBD1}"/>
                </c:ext>
              </c:extLst>
            </c:dLbl>
            <c:dLbl>
              <c:idx val="61"/>
              <c:tx>
                <c:rich>
                  <a:bodyPr/>
                  <a:lstStyle/>
                  <a:p>
                    <a:fld id="{237CFE0D-7AF2-4227-8D73-9B91FF0A8F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8E3F-4D1B-A313-C02BEC0FDBD1}"/>
                </c:ext>
              </c:extLst>
            </c:dLbl>
            <c:dLbl>
              <c:idx val="62"/>
              <c:tx>
                <c:rich>
                  <a:bodyPr/>
                  <a:lstStyle/>
                  <a:p>
                    <a:fld id="{9C530ACE-6258-491E-9C35-88AE367A76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8E3F-4D1B-A313-C02BEC0FDBD1}"/>
                </c:ext>
              </c:extLst>
            </c:dLbl>
            <c:dLbl>
              <c:idx val="63"/>
              <c:tx>
                <c:rich>
                  <a:bodyPr/>
                  <a:lstStyle/>
                  <a:p>
                    <a:fld id="{F82075D0-F9C1-48AC-880F-55E69734D4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8E3F-4D1B-A313-C02BEC0FDBD1}"/>
                </c:ext>
              </c:extLst>
            </c:dLbl>
            <c:dLbl>
              <c:idx val="64"/>
              <c:tx>
                <c:rich>
                  <a:bodyPr/>
                  <a:lstStyle/>
                  <a:p>
                    <a:fld id="{2D21A539-7612-416A-817B-635683E8C9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8E3F-4D1B-A313-C02BEC0FDBD1}"/>
                </c:ext>
              </c:extLst>
            </c:dLbl>
            <c:dLbl>
              <c:idx val="65"/>
              <c:tx>
                <c:rich>
                  <a:bodyPr/>
                  <a:lstStyle/>
                  <a:p>
                    <a:fld id="{29A2ABBD-07F3-440A-BBF4-5535123D13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8E3F-4D1B-A313-C02BEC0FDBD1}"/>
                </c:ext>
              </c:extLst>
            </c:dLbl>
            <c:dLbl>
              <c:idx val="66"/>
              <c:tx>
                <c:rich>
                  <a:bodyPr/>
                  <a:lstStyle/>
                  <a:p>
                    <a:fld id="{354C32DE-8809-4628-93F6-FED47A261B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8E3F-4D1B-A313-C02BEC0FDBD1}"/>
                </c:ext>
              </c:extLst>
            </c:dLbl>
            <c:dLbl>
              <c:idx val="67"/>
              <c:tx>
                <c:rich>
                  <a:bodyPr/>
                  <a:lstStyle/>
                  <a:p>
                    <a:fld id="{A2A0C9E0-1F1B-40D1-A10A-B956A7C1B0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8E3F-4D1B-A313-C02BEC0FDBD1}"/>
                </c:ext>
              </c:extLst>
            </c:dLbl>
            <c:dLbl>
              <c:idx val="68"/>
              <c:tx>
                <c:rich>
                  <a:bodyPr/>
                  <a:lstStyle/>
                  <a:p>
                    <a:fld id="{839E8307-9F0D-4D9B-B15A-7936560AD0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8E3F-4D1B-A313-C02BEC0FDBD1}"/>
                </c:ext>
              </c:extLst>
            </c:dLbl>
            <c:dLbl>
              <c:idx val="69"/>
              <c:tx>
                <c:rich>
                  <a:bodyPr/>
                  <a:lstStyle/>
                  <a:p>
                    <a:fld id="{DDF56C45-0B11-4A85-9D84-2BD9A2B077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8E3F-4D1B-A313-C02BEC0FDBD1}"/>
                </c:ext>
              </c:extLst>
            </c:dLbl>
            <c:dLbl>
              <c:idx val="70"/>
              <c:tx>
                <c:rich>
                  <a:bodyPr/>
                  <a:lstStyle/>
                  <a:p>
                    <a:fld id="{6E59773D-6EB7-4FEC-A9A1-A3C1BA0927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8E3F-4D1B-A313-C02BEC0FDBD1}"/>
                </c:ext>
              </c:extLst>
            </c:dLbl>
            <c:dLbl>
              <c:idx val="71"/>
              <c:tx>
                <c:rich>
                  <a:bodyPr/>
                  <a:lstStyle/>
                  <a:p>
                    <a:fld id="{217A131B-EE66-438B-B3C3-58A45E5B50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8E3F-4D1B-A313-C02BEC0FDBD1}"/>
                </c:ext>
              </c:extLst>
            </c:dLbl>
            <c:dLbl>
              <c:idx val="72"/>
              <c:tx>
                <c:rich>
                  <a:bodyPr/>
                  <a:lstStyle/>
                  <a:p>
                    <a:fld id="{13796A35-CFDD-4667-98E7-3E0182D0F2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8E3F-4D1B-A313-C02BEC0FDBD1}"/>
                </c:ext>
              </c:extLst>
            </c:dLbl>
            <c:dLbl>
              <c:idx val="73"/>
              <c:tx>
                <c:rich>
                  <a:bodyPr/>
                  <a:lstStyle/>
                  <a:p>
                    <a:fld id="{9041A536-042A-43CA-B8E6-69076E0D57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8E3F-4D1B-A313-C02BEC0FDBD1}"/>
                </c:ext>
              </c:extLst>
            </c:dLbl>
            <c:dLbl>
              <c:idx val="74"/>
              <c:tx>
                <c:rich>
                  <a:bodyPr/>
                  <a:lstStyle/>
                  <a:p>
                    <a:fld id="{5ADF95C4-D0D6-4736-92D8-9BA2FA8542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8E3F-4D1B-A313-C02BEC0FDBD1}"/>
                </c:ext>
              </c:extLst>
            </c:dLbl>
            <c:dLbl>
              <c:idx val="75"/>
              <c:tx>
                <c:rich>
                  <a:bodyPr/>
                  <a:lstStyle/>
                  <a:p>
                    <a:fld id="{73787384-D4CD-46F0-8DEC-27892E288A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8E3F-4D1B-A313-C02BEC0FDBD1}"/>
                </c:ext>
              </c:extLst>
            </c:dLbl>
            <c:dLbl>
              <c:idx val="76"/>
              <c:tx>
                <c:rich>
                  <a:bodyPr/>
                  <a:lstStyle/>
                  <a:p>
                    <a:fld id="{C839AB20-17DC-44EF-8466-7806FABFFC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8E3F-4D1B-A313-C02BEC0FDBD1}"/>
                </c:ext>
              </c:extLst>
            </c:dLbl>
            <c:dLbl>
              <c:idx val="77"/>
              <c:tx>
                <c:rich>
                  <a:bodyPr/>
                  <a:lstStyle/>
                  <a:p>
                    <a:fld id="{AC5FEF8C-7B0C-4346-9D20-14A9D5C7F3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8E3F-4D1B-A313-C02BEC0FDBD1}"/>
                </c:ext>
              </c:extLst>
            </c:dLbl>
            <c:dLbl>
              <c:idx val="78"/>
              <c:tx>
                <c:rich>
                  <a:bodyPr/>
                  <a:lstStyle/>
                  <a:p>
                    <a:fld id="{117E7F72-6E9A-412F-9AFE-D0C72545A6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8E3F-4D1B-A313-C02BEC0FDBD1}"/>
                </c:ext>
              </c:extLst>
            </c:dLbl>
            <c:dLbl>
              <c:idx val="79"/>
              <c:tx>
                <c:rich>
                  <a:bodyPr/>
                  <a:lstStyle/>
                  <a:p>
                    <a:fld id="{258525C8-9677-4714-B885-824874B50E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8E3F-4D1B-A313-C02BEC0FDBD1}"/>
                </c:ext>
              </c:extLst>
            </c:dLbl>
            <c:dLbl>
              <c:idx val="80"/>
              <c:tx>
                <c:rich>
                  <a:bodyPr/>
                  <a:lstStyle/>
                  <a:p>
                    <a:fld id="{B237DBE0-212D-40E1-80E0-487FD6D01A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8E3F-4D1B-A313-C02BEC0FDBD1}"/>
                </c:ext>
              </c:extLst>
            </c:dLbl>
            <c:dLbl>
              <c:idx val="81"/>
              <c:tx>
                <c:rich>
                  <a:bodyPr/>
                  <a:lstStyle/>
                  <a:p>
                    <a:fld id="{C1ACA1C7-D18B-4209-8466-56F68C149C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9-8E3F-4D1B-A313-C02BEC0FDBD1}"/>
                </c:ext>
              </c:extLst>
            </c:dLbl>
            <c:dLbl>
              <c:idx val="82"/>
              <c:tx>
                <c:rich>
                  <a:bodyPr/>
                  <a:lstStyle/>
                  <a:p>
                    <a:fld id="{B8313D42-DC65-43AB-AD02-34CCDAD4A3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A-8E3F-4D1B-A313-C02BEC0FDBD1}"/>
                </c:ext>
              </c:extLst>
            </c:dLbl>
            <c:dLbl>
              <c:idx val="83"/>
              <c:tx>
                <c:rich>
                  <a:bodyPr/>
                  <a:lstStyle/>
                  <a:p>
                    <a:fld id="{8063DAB8-60B9-4466-8067-12049D045C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B-8E3F-4D1B-A313-C02BEC0FDBD1}"/>
                </c:ext>
              </c:extLst>
            </c:dLbl>
            <c:dLbl>
              <c:idx val="84"/>
              <c:tx>
                <c:rich>
                  <a:bodyPr/>
                  <a:lstStyle/>
                  <a:p>
                    <a:fld id="{691199E0-F08D-45B4-B56B-82E3D93336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C-8E3F-4D1B-A313-C02BEC0FDBD1}"/>
                </c:ext>
              </c:extLst>
            </c:dLbl>
            <c:dLbl>
              <c:idx val="85"/>
              <c:tx>
                <c:rich>
                  <a:bodyPr/>
                  <a:lstStyle/>
                  <a:p>
                    <a:fld id="{4F39A8ED-5518-4AB9-ACB8-5DEAE89580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D-8E3F-4D1B-A313-C02BEC0FDBD1}"/>
                </c:ext>
              </c:extLst>
            </c:dLbl>
            <c:dLbl>
              <c:idx val="86"/>
              <c:tx>
                <c:rich>
                  <a:bodyPr/>
                  <a:lstStyle/>
                  <a:p>
                    <a:fld id="{C6067CAE-B775-4469-B8DC-E1CAA329DB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E-8E3F-4D1B-A313-C02BEC0FDBD1}"/>
                </c:ext>
              </c:extLst>
            </c:dLbl>
            <c:dLbl>
              <c:idx val="87"/>
              <c:tx>
                <c:rich>
                  <a:bodyPr/>
                  <a:lstStyle/>
                  <a:p>
                    <a:fld id="{BA19396B-55F1-48DD-B892-1C22C14925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F-8E3F-4D1B-A313-C02BEC0FDBD1}"/>
                </c:ext>
              </c:extLst>
            </c:dLbl>
            <c:dLbl>
              <c:idx val="88"/>
              <c:tx>
                <c:rich>
                  <a:bodyPr/>
                  <a:lstStyle/>
                  <a:p>
                    <a:fld id="{4A57796E-667C-48E4-8F32-88EB593491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0-8E3F-4D1B-A313-C02BEC0FDBD1}"/>
                </c:ext>
              </c:extLst>
            </c:dLbl>
            <c:dLbl>
              <c:idx val="89"/>
              <c:tx>
                <c:rich>
                  <a:bodyPr/>
                  <a:lstStyle/>
                  <a:p>
                    <a:fld id="{EE193B45-89A0-40C5-93FB-FC718B2DEB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1-8E3F-4D1B-A313-C02BEC0FDBD1}"/>
                </c:ext>
              </c:extLst>
            </c:dLbl>
            <c:dLbl>
              <c:idx val="90"/>
              <c:tx>
                <c:rich>
                  <a:bodyPr/>
                  <a:lstStyle/>
                  <a:p>
                    <a:fld id="{A274BFA6-C27F-4CA8-9492-B5E8D681C8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2-8E3F-4D1B-A313-C02BEC0FDBD1}"/>
                </c:ext>
              </c:extLst>
            </c:dLbl>
            <c:dLbl>
              <c:idx val="91"/>
              <c:tx>
                <c:rich>
                  <a:bodyPr/>
                  <a:lstStyle/>
                  <a:p>
                    <a:fld id="{66689314-62B7-4099-9AFA-BE1F15058B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3-8E3F-4D1B-A313-C02BEC0FDBD1}"/>
                </c:ext>
              </c:extLst>
            </c:dLbl>
            <c:dLbl>
              <c:idx val="92"/>
              <c:tx>
                <c:rich>
                  <a:bodyPr/>
                  <a:lstStyle/>
                  <a:p>
                    <a:fld id="{08525C2A-6116-4CC9-A089-80E92BB0A8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4-8E3F-4D1B-A313-C02BEC0FDBD1}"/>
                </c:ext>
              </c:extLst>
            </c:dLbl>
            <c:dLbl>
              <c:idx val="93"/>
              <c:tx>
                <c:rich>
                  <a:bodyPr/>
                  <a:lstStyle/>
                  <a:p>
                    <a:fld id="{16670AF9-ADBE-41D2-85F3-1775799C16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5-8E3F-4D1B-A313-C02BEC0FDBD1}"/>
                </c:ext>
              </c:extLst>
            </c:dLbl>
            <c:dLbl>
              <c:idx val="94"/>
              <c:tx>
                <c:rich>
                  <a:bodyPr/>
                  <a:lstStyle/>
                  <a:p>
                    <a:fld id="{FECD98C8-EA44-48F0-8507-6682CC583F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6-8E3F-4D1B-A313-C02BEC0FDBD1}"/>
                </c:ext>
              </c:extLst>
            </c:dLbl>
            <c:dLbl>
              <c:idx val="95"/>
              <c:tx>
                <c:rich>
                  <a:bodyPr/>
                  <a:lstStyle/>
                  <a:p>
                    <a:fld id="{C220FDF1-F44E-4E9C-A1AA-3782D9DD8E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7-8E3F-4D1B-A313-C02BEC0FDBD1}"/>
                </c:ext>
              </c:extLst>
            </c:dLbl>
            <c:dLbl>
              <c:idx val="96"/>
              <c:tx>
                <c:rich>
                  <a:bodyPr/>
                  <a:lstStyle/>
                  <a:p>
                    <a:fld id="{3A3BF8E7-AEA4-4177-94DE-9B71EBB54D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8-8E3F-4D1B-A313-C02BEC0FDBD1}"/>
                </c:ext>
              </c:extLst>
            </c:dLbl>
            <c:dLbl>
              <c:idx val="97"/>
              <c:tx>
                <c:rich>
                  <a:bodyPr/>
                  <a:lstStyle/>
                  <a:p>
                    <a:fld id="{FBAA1C38-FA61-4B3C-B643-90C883729F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9-8E3F-4D1B-A313-C02BEC0FDBD1}"/>
                </c:ext>
              </c:extLst>
            </c:dLbl>
            <c:dLbl>
              <c:idx val="98"/>
              <c:tx>
                <c:rich>
                  <a:bodyPr/>
                  <a:lstStyle/>
                  <a:p>
                    <a:fld id="{4355893C-4A2A-4381-ADD4-3F7FD68E2E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A-8E3F-4D1B-A313-C02BEC0FDBD1}"/>
                </c:ext>
              </c:extLst>
            </c:dLbl>
            <c:dLbl>
              <c:idx val="99"/>
              <c:tx>
                <c:rich>
                  <a:bodyPr/>
                  <a:lstStyle/>
                  <a:p>
                    <a:fld id="{F0479257-8654-4629-BA26-4BBD878206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B-8E3F-4D1B-A313-C02BEC0FDBD1}"/>
                </c:ext>
              </c:extLst>
            </c:dLbl>
            <c:dLbl>
              <c:idx val="100"/>
              <c:tx>
                <c:rich>
                  <a:bodyPr/>
                  <a:lstStyle/>
                  <a:p>
                    <a:fld id="{F99FF44A-2177-4962-992A-AD9F891703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C-8E3F-4D1B-A313-C02BEC0FDBD1}"/>
                </c:ext>
              </c:extLst>
            </c:dLbl>
            <c:dLbl>
              <c:idx val="101"/>
              <c:tx>
                <c:rich>
                  <a:bodyPr/>
                  <a:lstStyle/>
                  <a:p>
                    <a:fld id="{9DDB9216-BA9B-41F6-AE8F-48E83F99ED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D-8E3F-4D1B-A313-C02BEC0FDBD1}"/>
                </c:ext>
              </c:extLst>
            </c:dLbl>
            <c:dLbl>
              <c:idx val="102"/>
              <c:tx>
                <c:rich>
                  <a:bodyPr/>
                  <a:lstStyle/>
                  <a:p>
                    <a:fld id="{9E9FD5AE-47A8-4A5B-B369-D84AE56C2F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E-8E3F-4D1B-A313-C02BEC0FDBD1}"/>
                </c:ext>
              </c:extLst>
            </c:dLbl>
            <c:dLbl>
              <c:idx val="103"/>
              <c:tx>
                <c:rich>
                  <a:bodyPr/>
                  <a:lstStyle/>
                  <a:p>
                    <a:fld id="{7C604C2B-BF79-488B-B9CD-705B96A747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F-8E3F-4D1B-A313-C02BEC0FDBD1}"/>
                </c:ext>
              </c:extLst>
            </c:dLbl>
            <c:dLbl>
              <c:idx val="104"/>
              <c:tx>
                <c:rich>
                  <a:bodyPr/>
                  <a:lstStyle/>
                  <a:p>
                    <a:fld id="{D4EB6917-B072-496B-B681-BDE0A727F4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0-8E3F-4D1B-A313-C02BEC0FDBD1}"/>
                </c:ext>
              </c:extLst>
            </c:dLbl>
            <c:dLbl>
              <c:idx val="105"/>
              <c:tx>
                <c:rich>
                  <a:bodyPr/>
                  <a:lstStyle/>
                  <a:p>
                    <a:fld id="{2CC1BB89-ABAF-46FD-AFCE-95AB35E816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1-8E3F-4D1B-A313-C02BEC0FDBD1}"/>
                </c:ext>
              </c:extLst>
            </c:dLbl>
            <c:dLbl>
              <c:idx val="106"/>
              <c:tx>
                <c:rich>
                  <a:bodyPr/>
                  <a:lstStyle/>
                  <a:p>
                    <a:fld id="{22BD716B-4D03-40F8-812D-5F94AE247B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2-8E3F-4D1B-A313-C02BEC0FDBD1}"/>
                </c:ext>
              </c:extLst>
            </c:dLbl>
            <c:dLbl>
              <c:idx val="107"/>
              <c:tx>
                <c:rich>
                  <a:bodyPr/>
                  <a:lstStyle/>
                  <a:p>
                    <a:fld id="{62045FA3-C4AF-4E8E-BF92-984E9AA6A4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3-8E3F-4D1B-A313-C02BEC0FDBD1}"/>
                </c:ext>
              </c:extLst>
            </c:dLbl>
            <c:dLbl>
              <c:idx val="108"/>
              <c:tx>
                <c:rich>
                  <a:bodyPr/>
                  <a:lstStyle/>
                  <a:p>
                    <a:fld id="{574E75AC-3F34-4CA8-9D4A-1EF8279485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4-8E3F-4D1B-A313-C02BEC0FDBD1}"/>
                </c:ext>
              </c:extLst>
            </c:dLbl>
            <c:dLbl>
              <c:idx val="109"/>
              <c:tx>
                <c:rich>
                  <a:bodyPr/>
                  <a:lstStyle/>
                  <a:p>
                    <a:fld id="{3A64A9EF-F47C-45BA-BFFB-744367B322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5-8E3F-4D1B-A313-C02BEC0FDBD1}"/>
                </c:ext>
              </c:extLst>
            </c:dLbl>
            <c:dLbl>
              <c:idx val="110"/>
              <c:tx>
                <c:rich>
                  <a:bodyPr/>
                  <a:lstStyle/>
                  <a:p>
                    <a:fld id="{4C8ABCC5-7CAC-4E63-8A92-75FF14DC3A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6-8E3F-4D1B-A313-C02BEC0FDBD1}"/>
                </c:ext>
              </c:extLst>
            </c:dLbl>
            <c:dLbl>
              <c:idx val="111"/>
              <c:tx>
                <c:rich>
                  <a:bodyPr/>
                  <a:lstStyle/>
                  <a:p>
                    <a:fld id="{FE3950FC-B7D2-4A8A-9751-C3EDB46377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7-8E3F-4D1B-A313-C02BEC0FDBD1}"/>
                </c:ext>
              </c:extLst>
            </c:dLbl>
            <c:dLbl>
              <c:idx val="112"/>
              <c:tx>
                <c:rich>
                  <a:bodyPr/>
                  <a:lstStyle/>
                  <a:p>
                    <a:fld id="{A1CA5845-E178-4B23-AEF2-B337F1F87B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8-8E3F-4D1B-A313-C02BEC0FDBD1}"/>
                </c:ext>
              </c:extLst>
            </c:dLbl>
            <c:dLbl>
              <c:idx val="113"/>
              <c:tx>
                <c:rich>
                  <a:bodyPr/>
                  <a:lstStyle/>
                  <a:p>
                    <a:fld id="{2A8D571A-7F06-4506-AC21-397F254D3A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9-8E3F-4D1B-A313-C02BEC0FDBD1}"/>
                </c:ext>
              </c:extLst>
            </c:dLbl>
            <c:dLbl>
              <c:idx val="114"/>
              <c:tx>
                <c:rich>
                  <a:bodyPr/>
                  <a:lstStyle/>
                  <a:p>
                    <a:fld id="{6614621F-37D4-45AC-B99D-3D9C0F1022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A-8E3F-4D1B-A313-C02BEC0FDBD1}"/>
                </c:ext>
              </c:extLst>
            </c:dLbl>
            <c:dLbl>
              <c:idx val="115"/>
              <c:tx>
                <c:rich>
                  <a:bodyPr/>
                  <a:lstStyle/>
                  <a:p>
                    <a:fld id="{8326C905-20DD-4020-BB63-76035EED7C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B-8E3F-4D1B-A313-C02BEC0FDBD1}"/>
                </c:ext>
              </c:extLst>
            </c:dLbl>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9</c:f>
              <c:numCache>
                <c:formatCode>General</c:formatCode>
                <c:ptCount val="8"/>
                <c:pt idx="0">
                  <c:v>1</c:v>
                </c:pt>
                <c:pt idx="1">
                  <c:v>1</c:v>
                </c:pt>
                <c:pt idx="2">
                  <c:v>3</c:v>
                </c:pt>
                <c:pt idx="3">
                  <c:v>3</c:v>
                </c:pt>
                <c:pt idx="4">
                  <c:v>3</c:v>
                </c:pt>
                <c:pt idx="5">
                  <c:v>3</c:v>
                </c:pt>
                <c:pt idx="6">
                  <c:v>3</c:v>
                </c:pt>
                <c:pt idx="7">
                  <c:v>3</c:v>
                </c:pt>
              </c:numCache>
            </c:numRef>
          </c:xVal>
          <c:yVal>
            <c:numRef>
              <c:f>Sheet1!$B$2:$B$9</c:f>
              <c:numCache>
                <c:formatCode>General</c:formatCode>
                <c:ptCount val="8"/>
                <c:pt idx="0">
                  <c:v>0.1139647057603243</c:v>
                </c:pt>
                <c:pt idx="1">
                  <c:v>0.53170732834111545</c:v>
                </c:pt>
                <c:pt idx="2">
                  <c:v>0.26442389371198899</c:v>
                </c:pt>
                <c:pt idx="3">
                  <c:v>0</c:v>
                </c:pt>
                <c:pt idx="4">
                  <c:v>-1.269199893030784E-3</c:v>
                </c:pt>
                <c:pt idx="5">
                  <c:v>0</c:v>
                </c:pt>
                <c:pt idx="6">
                  <c:v>0.52050228670122045</c:v>
                </c:pt>
                <c:pt idx="7">
                  <c:v>0</c:v>
                </c:pt>
              </c:numCache>
            </c:numRef>
          </c:yVal>
          <c:bubbleSize>
            <c:numRef>
              <c:f>Sheet1!$C$2:$C$9</c:f>
              <c:numCache>
                <c:formatCode>General</c:formatCode>
                <c:ptCount val="8"/>
                <c:pt idx="0">
                  <c:v>8411779</c:v>
                </c:pt>
                <c:pt idx="1">
                  <c:v>892564</c:v>
                </c:pt>
                <c:pt idx="2">
                  <c:v>6219905</c:v>
                </c:pt>
                <c:pt idx="3">
                  <c:v>151938</c:v>
                </c:pt>
                <c:pt idx="4">
                  <c:v>899507</c:v>
                </c:pt>
                <c:pt idx="5">
                  <c:v>8373</c:v>
                </c:pt>
                <c:pt idx="6">
                  <c:v>1670207</c:v>
                </c:pt>
                <c:pt idx="7">
                  <c:v>51036</c:v>
                </c:pt>
              </c:numCache>
            </c:numRef>
          </c:bubbleSize>
          <c:bubble3D val="0"/>
          <c:extLst>
            <c:ext xmlns:c15="http://schemas.microsoft.com/office/drawing/2012/chart" uri="{02D57815-91ED-43cb-92C2-25804820EDAC}">
              <c15:datalabelsRange>
                <c15:f>Sheet1!$E$2:$E$150</c15:f>
                <c15:dlblRangeCache>
                  <c:ptCount val="149"/>
                  <c:pt idx="0">
                    <c:v>Gillette</c:v>
                  </c:pt>
                  <c:pt idx="1">
                    <c:v>Harry's</c:v>
                  </c:pt>
                  <c:pt idx="2">
                    <c:v>Gillette</c:v>
                  </c:pt>
                  <c:pt idx="3">
                    <c:v>Harry's</c:v>
                  </c:pt>
                  <c:pt idx="4">
                    <c:v>Dollar Shave Club</c:v>
                  </c:pt>
                  <c:pt idx="5">
                    <c:v>Van Der Hagen</c:v>
                  </c:pt>
                  <c:pt idx="6">
                    <c:v>Schick</c:v>
                  </c:pt>
                  <c:pt idx="7">
                    <c:v>Equate</c:v>
                  </c:pt>
                </c15:dlblRangeCache>
              </c15:datalabelsRange>
            </c:ext>
            <c:ext xmlns:c16="http://schemas.microsoft.com/office/drawing/2014/chart" uri="{C3380CC4-5D6E-409C-BE32-E72D297353CC}">
              <c16:uniqueId val="{00000026-26FB-4B52-8D72-D56D618E8EAF}"/>
            </c:ext>
          </c:extLst>
        </c:ser>
        <c:dLbls>
          <c:dLblPos val="ctr"/>
          <c:showLegendKey val="0"/>
          <c:showVal val="1"/>
          <c:showCatName val="0"/>
          <c:showSerName val="0"/>
          <c:showPercent val="0"/>
          <c:showBubbleSize val="0"/>
        </c:dLbls>
        <c:bubbleScale val="75"/>
        <c:showNegBubbles val="0"/>
        <c:axId val="804121775"/>
        <c:axId val="804116783"/>
      </c:bubbleChart>
      <c:valAx>
        <c:axId val="804121775"/>
        <c:scaling>
          <c:orientation val="minMax"/>
          <c:max val="4"/>
          <c:min val="0"/>
        </c:scaling>
        <c:delete val="0"/>
        <c:axPos val="b"/>
        <c:numFmt formatCode="0%" sourceLinked="0"/>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16783"/>
        <c:crosses val="autoZero"/>
        <c:crossBetween val="midCat"/>
        <c:minorUnit val="0.1"/>
      </c:valAx>
      <c:valAx>
        <c:axId val="804116783"/>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en-US" sz="800" dirty="0">
                    <a:solidFill>
                      <a:schemeClr val="tx1"/>
                    </a:solidFill>
                    <a:latin typeface="Nexa Bold" panose="00000800000000000000" pitchFamily="2" charset="0"/>
                  </a:rPr>
                  <a:t>Averag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Valu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uplift</a:t>
                </a:r>
                <a:endParaRPr lang="en-CH" sz="800" dirty="0">
                  <a:solidFill>
                    <a:schemeClr val="tx1"/>
                  </a:solidFill>
                  <a:latin typeface="Nexa Bold" panose="00000800000000000000" pitchFamily="2" charset="0"/>
                </a:endParaRPr>
              </a:p>
            </c:rich>
          </c:tx>
          <c:layout>
            <c:manualLayout>
              <c:xMode val="edge"/>
              <c:yMode val="edge"/>
              <c:x val="2.0811111111111117E-3"/>
              <c:y val="0.10078557265656676"/>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CH"/>
            </a:p>
          </c:txPr>
        </c:title>
        <c:numFmt formatCode="0%" sourceLinked="0"/>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21775"/>
        <c:crosses val="autoZero"/>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3-3C16-4125-B97A-D0EBA9D0B1CF}"/>
              </c:ext>
            </c:extLst>
          </c:dPt>
          <c:dPt>
            <c:idx val="1"/>
            <c:invertIfNegative val="0"/>
            <c:bubble3D val="0"/>
            <c:spPr>
              <a:solidFill>
                <a:srgbClr val="FFBFBF"/>
              </a:solidFill>
            </c:spPr>
            <c:extLst>
              <c:ext xmlns:c16="http://schemas.microsoft.com/office/drawing/2014/chart" uri="{C3380CC4-5D6E-409C-BE32-E72D297353CC}">
                <c16:uniqueId val="{00000001-615A-458F-B49B-C3992C8CBC6B}"/>
              </c:ext>
            </c:extLst>
          </c:dPt>
          <c:dPt>
            <c:idx val="2"/>
            <c:invertIfNegative val="0"/>
            <c:bubble3D val="0"/>
            <c:extLst>
              <c:ext xmlns:c16="http://schemas.microsoft.com/office/drawing/2014/chart" uri="{C3380CC4-5D6E-409C-BE32-E72D297353CC}">
                <c16:uniqueId val="{00000004-3C16-4125-B97A-D0EBA9D0B1CF}"/>
              </c:ext>
            </c:extLst>
          </c:dPt>
          <c:dPt>
            <c:idx val="3"/>
            <c:invertIfNegative val="0"/>
            <c:bubble3D val="0"/>
            <c:extLst>
              <c:ext xmlns:c16="http://schemas.microsoft.com/office/drawing/2014/chart" uri="{C3380CC4-5D6E-409C-BE32-E72D297353CC}">
                <c16:uniqueId val="{00000002-615A-458F-B49B-C3992C8CBC6B}"/>
              </c:ext>
            </c:extLst>
          </c:dPt>
          <c:dPt>
            <c:idx val="4"/>
            <c:invertIfNegative val="0"/>
            <c:bubble3D val="0"/>
            <c:extLst>
              <c:ext xmlns:c16="http://schemas.microsoft.com/office/drawing/2014/chart" uri="{C3380CC4-5D6E-409C-BE32-E72D297353CC}">
                <c16:uniqueId val="{00000002-3C16-4125-B97A-D0EBA9D0B1CF}"/>
              </c:ext>
            </c:extLst>
          </c:dPt>
          <c:dPt>
            <c:idx val="5"/>
            <c:invertIfNegative val="0"/>
            <c:bubble3D val="0"/>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dLbl>
              <c:idx val="0"/>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C16-4125-B97A-D0EBA9D0B1CF}"/>
                </c:ext>
              </c:extLst>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c:v>
                </c:pt>
                <c:pt idx="1">
                  <c:v>Schick</c:v>
                </c:pt>
                <c:pt idx="2">
                  <c:v>Bic</c:v>
                </c:pt>
                <c:pt idx="3">
                  <c:v>Dollar Shave Club</c:v>
                </c:pt>
                <c:pt idx="4">
                  <c:v>Equate</c:v>
                </c:pt>
                <c:pt idx="5">
                  <c:v>Comfort 3</c:v>
                </c:pt>
              </c:strCache>
            </c:strRef>
          </c:cat>
          <c:val>
            <c:numRef>
              <c:f>Sheet1!$B$2:$B$7</c:f>
              <c:numCache>
                <c:formatCode>General</c:formatCode>
                <c:ptCount val="6"/>
                <c:pt idx="0">
                  <c:v>0</c:v>
                </c:pt>
                <c:pt idx="1">
                  <c:v>-0.42900000000000005</c:v>
                </c:pt>
                <c:pt idx="2">
                  <c:v>0.125</c:v>
                </c:pt>
                <c:pt idx="3">
                  <c:v>0.55600000000000005</c:v>
                </c:pt>
                <c:pt idx="4">
                  <c:v>5</c:v>
                </c:pt>
                <c:pt idx="5">
                  <c:v>6.5</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64864197530864"/>
          <c:y val="0.12152940918360107"/>
          <c:w val="0.83974691358024689"/>
          <c:h val="0.72254306602702423"/>
        </c:manualLayout>
      </c:layout>
      <c:bubbleChart>
        <c:varyColors val="0"/>
        <c:ser>
          <c:idx val="0"/>
          <c:order val="0"/>
          <c:tx>
            <c:strRef>
              <c:f>Sheet1!$B$1</c:f>
              <c:strCache>
                <c:ptCount val="1"/>
                <c:pt idx="0">
                  <c:v>Average Value Uplift</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26FB-4B52-8D72-D56D618E8EAF}"/>
              </c:ext>
            </c:extLst>
          </c:dPt>
          <c:dPt>
            <c:idx val="1"/>
            <c:invertIfNegative val="0"/>
            <c:bubble3D val="0"/>
            <c:spPr>
              <a:solidFill>
                <a:srgbClr val="E6E5E5"/>
              </a:solidFill>
              <a:ln>
                <a:noFill/>
              </a:ln>
              <a:effectLst/>
            </c:spPr>
            <c:extLst>
              <c:ext xmlns:c16="http://schemas.microsoft.com/office/drawing/2014/chart" uri="{C3380CC4-5D6E-409C-BE32-E72D297353CC}">
                <c16:uniqueId val="{00000003-26FB-4B52-8D72-D56D618E8EAF}"/>
              </c:ext>
            </c:extLst>
          </c:dPt>
          <c:dPt>
            <c:idx val="2"/>
            <c:invertIfNegative val="0"/>
            <c:bubble3D val="0"/>
            <c:spPr>
              <a:solidFill>
                <a:srgbClr val="E6E5E5"/>
              </a:solidFill>
              <a:ln>
                <a:noFill/>
              </a:ln>
              <a:effectLst/>
            </c:spPr>
            <c:extLst>
              <c:ext xmlns:c16="http://schemas.microsoft.com/office/drawing/2014/chart" uri="{C3380CC4-5D6E-409C-BE32-E72D297353CC}">
                <c16:uniqueId val="{00000005-26FB-4B52-8D72-D56D618E8EAF}"/>
              </c:ext>
            </c:extLst>
          </c:dPt>
          <c:dPt>
            <c:idx val="3"/>
            <c:invertIfNegative val="0"/>
            <c:bubble3D val="0"/>
            <c:spPr>
              <a:solidFill>
                <a:srgbClr val="E6E5E5"/>
              </a:solidFill>
              <a:ln>
                <a:noFill/>
              </a:ln>
              <a:effectLst/>
            </c:spPr>
            <c:extLst>
              <c:ext xmlns:c16="http://schemas.microsoft.com/office/drawing/2014/chart" uri="{C3380CC4-5D6E-409C-BE32-E72D297353CC}">
                <c16:uniqueId val="{00000007-26FB-4B52-8D72-D56D618E8EAF}"/>
              </c:ext>
            </c:extLst>
          </c:dPt>
          <c:dPt>
            <c:idx val="4"/>
            <c:invertIfNegative val="0"/>
            <c:bubble3D val="0"/>
            <c:spPr>
              <a:solidFill>
                <a:srgbClr val="E6E5E5"/>
              </a:solidFill>
              <a:ln>
                <a:noFill/>
              </a:ln>
              <a:effectLst/>
            </c:spPr>
            <c:extLst>
              <c:ext xmlns:c16="http://schemas.microsoft.com/office/drawing/2014/chart" uri="{C3380CC4-5D6E-409C-BE32-E72D297353CC}">
                <c16:uniqueId val="{00000009-26FB-4B52-8D72-D56D618E8EAF}"/>
              </c:ext>
            </c:extLst>
          </c:dPt>
          <c:dPt>
            <c:idx val="5"/>
            <c:invertIfNegative val="0"/>
            <c:bubble3D val="0"/>
            <c:spPr>
              <a:solidFill>
                <a:srgbClr val="7ECAC4"/>
              </a:solidFill>
              <a:ln>
                <a:noFill/>
              </a:ln>
              <a:effectLst/>
            </c:spPr>
            <c:extLst>
              <c:ext xmlns:c16="http://schemas.microsoft.com/office/drawing/2014/chart" uri="{C3380CC4-5D6E-409C-BE32-E72D297353CC}">
                <c16:uniqueId val="{0000000B-26FB-4B52-8D72-D56D618E8EAF}"/>
              </c:ext>
            </c:extLst>
          </c:dPt>
          <c:dPt>
            <c:idx val="6"/>
            <c:invertIfNegative val="0"/>
            <c:bubble3D val="0"/>
            <c:spPr>
              <a:solidFill>
                <a:srgbClr val="7ECAC4"/>
              </a:solidFill>
              <a:ln>
                <a:noFill/>
              </a:ln>
              <a:effectLst/>
            </c:spPr>
            <c:extLst>
              <c:ext xmlns:c16="http://schemas.microsoft.com/office/drawing/2014/chart" uri="{C3380CC4-5D6E-409C-BE32-E72D297353CC}">
                <c16:uniqueId val="{0000000D-26FB-4B52-8D72-D56D618E8EAF}"/>
              </c:ext>
            </c:extLst>
          </c:dPt>
          <c:dPt>
            <c:idx val="7"/>
            <c:invertIfNegative val="0"/>
            <c:bubble3D val="0"/>
            <c:spPr>
              <a:solidFill>
                <a:schemeClr val="bg2"/>
              </a:solidFill>
              <a:ln>
                <a:noFill/>
              </a:ln>
              <a:effectLst/>
            </c:spPr>
            <c:extLst>
              <c:ext xmlns:c16="http://schemas.microsoft.com/office/drawing/2014/chart" uri="{C3380CC4-5D6E-409C-BE32-E72D297353CC}">
                <c16:uniqueId val="{0000000F-26FB-4B52-8D72-D56D618E8EAF}"/>
              </c:ext>
            </c:extLst>
          </c:dPt>
          <c:dPt>
            <c:idx val="8"/>
            <c:invertIfNegative val="0"/>
            <c:bubble3D val="0"/>
            <c:spPr>
              <a:solidFill>
                <a:schemeClr val="bg2"/>
              </a:solidFill>
              <a:ln>
                <a:noFill/>
              </a:ln>
              <a:effectLst/>
            </c:spPr>
            <c:extLst>
              <c:ext xmlns:c16="http://schemas.microsoft.com/office/drawing/2014/chart" uri="{C3380CC4-5D6E-409C-BE32-E72D297353CC}">
                <c16:uniqueId val="{00000011-26FB-4B52-8D72-D56D618E8EAF}"/>
              </c:ext>
            </c:extLst>
          </c:dPt>
          <c:dPt>
            <c:idx val="11"/>
            <c:invertIfNegative val="0"/>
            <c:bubble3D val="0"/>
            <c:spPr>
              <a:solidFill>
                <a:schemeClr val="bg2"/>
              </a:solidFill>
              <a:ln>
                <a:noFill/>
              </a:ln>
              <a:effectLst/>
            </c:spPr>
            <c:extLst>
              <c:ext xmlns:c16="http://schemas.microsoft.com/office/drawing/2014/chart" uri="{C3380CC4-5D6E-409C-BE32-E72D297353CC}">
                <c16:uniqueId val="{00000013-26FB-4B52-8D72-D56D618E8EAF}"/>
              </c:ext>
            </c:extLst>
          </c:dPt>
          <c:dPt>
            <c:idx val="12"/>
            <c:invertIfNegative val="0"/>
            <c:bubble3D val="0"/>
            <c:spPr>
              <a:solidFill>
                <a:schemeClr val="bg2"/>
              </a:solidFill>
              <a:ln>
                <a:noFill/>
              </a:ln>
              <a:effectLst/>
            </c:spPr>
            <c:extLst>
              <c:ext xmlns:c16="http://schemas.microsoft.com/office/drawing/2014/chart" uri="{C3380CC4-5D6E-409C-BE32-E72D297353CC}">
                <c16:uniqueId val="{00000002-7B2D-4A32-96D2-9C641BCDE5CC}"/>
              </c:ext>
            </c:extLst>
          </c:dPt>
          <c:dPt>
            <c:idx val="13"/>
            <c:invertIfNegative val="0"/>
            <c:bubble3D val="0"/>
            <c:extLst>
              <c:ext xmlns:c16="http://schemas.microsoft.com/office/drawing/2014/chart" uri="{C3380CC4-5D6E-409C-BE32-E72D297353CC}">
                <c16:uniqueId val="{00000017-26FB-4B52-8D72-D56D618E8EAF}"/>
              </c:ext>
            </c:extLst>
          </c:dPt>
          <c:dPt>
            <c:idx val="14"/>
            <c:invertIfNegative val="0"/>
            <c:bubble3D val="0"/>
            <c:spPr>
              <a:solidFill>
                <a:schemeClr val="bg2"/>
              </a:solidFill>
              <a:ln>
                <a:noFill/>
              </a:ln>
              <a:effectLst/>
            </c:spPr>
            <c:extLst>
              <c:ext xmlns:c16="http://schemas.microsoft.com/office/drawing/2014/chart" uri="{C3380CC4-5D6E-409C-BE32-E72D297353CC}">
                <c16:uniqueId val="{00000019-26FB-4B52-8D72-D56D618E8EAF}"/>
              </c:ext>
            </c:extLst>
          </c:dPt>
          <c:dPt>
            <c:idx val="15"/>
            <c:invertIfNegative val="0"/>
            <c:bubble3D val="0"/>
            <c:extLst>
              <c:ext xmlns:c16="http://schemas.microsoft.com/office/drawing/2014/chart" uri="{C3380CC4-5D6E-409C-BE32-E72D297353CC}">
                <c16:uniqueId val="{0000001C-26FB-4B52-8D72-D56D618E8EAF}"/>
              </c:ext>
            </c:extLst>
          </c:dPt>
          <c:dPt>
            <c:idx val="19"/>
            <c:invertIfNegative val="0"/>
            <c:bubble3D val="0"/>
            <c:spPr>
              <a:solidFill>
                <a:srgbClr val="7ECAC4"/>
              </a:solidFill>
              <a:ln>
                <a:noFill/>
              </a:ln>
              <a:effectLst/>
            </c:spPr>
            <c:extLst>
              <c:ext xmlns:c16="http://schemas.microsoft.com/office/drawing/2014/chart" uri="{C3380CC4-5D6E-409C-BE32-E72D297353CC}">
                <c16:uniqueId val="{00000002-0A6E-4C83-9A06-9C3309B2855E}"/>
              </c:ext>
            </c:extLst>
          </c:dPt>
          <c:dPt>
            <c:idx val="24"/>
            <c:invertIfNegative val="0"/>
            <c:bubble3D val="0"/>
            <c:spPr>
              <a:solidFill>
                <a:schemeClr val="bg2"/>
              </a:solidFill>
              <a:ln>
                <a:noFill/>
              </a:ln>
              <a:effectLst/>
            </c:spPr>
            <c:extLst>
              <c:ext xmlns:c16="http://schemas.microsoft.com/office/drawing/2014/chart" uri="{C3380CC4-5D6E-409C-BE32-E72D297353CC}">
                <c16:uniqueId val="{00000005-0A6E-4C83-9A06-9C3309B2855E}"/>
              </c:ext>
            </c:extLst>
          </c:dPt>
          <c:dPt>
            <c:idx val="29"/>
            <c:invertIfNegative val="0"/>
            <c:bubble3D val="0"/>
            <c:extLst>
              <c:ext xmlns:c16="http://schemas.microsoft.com/office/drawing/2014/chart" uri="{C3380CC4-5D6E-409C-BE32-E72D297353CC}">
                <c16:uniqueId val="{00000003-8F47-486F-B734-6012CEA493B3}"/>
              </c:ext>
            </c:extLst>
          </c:dPt>
          <c:dPt>
            <c:idx val="31"/>
            <c:invertIfNegative val="0"/>
            <c:bubble3D val="0"/>
            <c:spPr>
              <a:solidFill>
                <a:schemeClr val="accent2"/>
              </a:solidFill>
              <a:ln>
                <a:noFill/>
              </a:ln>
              <a:effectLst/>
            </c:spPr>
            <c:extLst>
              <c:ext xmlns:c16="http://schemas.microsoft.com/office/drawing/2014/chart" uri="{C3380CC4-5D6E-409C-BE32-E72D297353CC}">
                <c16:uniqueId val="{00000000-4D12-44DE-B956-CABCB15EBC04}"/>
              </c:ext>
            </c:extLst>
          </c:dPt>
          <c:dPt>
            <c:idx val="33"/>
            <c:invertIfNegative val="0"/>
            <c:bubble3D val="0"/>
            <c:spPr>
              <a:solidFill>
                <a:schemeClr val="accent2"/>
              </a:solidFill>
              <a:ln>
                <a:noFill/>
              </a:ln>
              <a:effectLst/>
            </c:spPr>
            <c:extLst>
              <c:ext xmlns:c16="http://schemas.microsoft.com/office/drawing/2014/chart" uri="{C3380CC4-5D6E-409C-BE32-E72D297353CC}">
                <c16:uniqueId val="{00000001-4D12-44DE-B956-CABCB15EBC04}"/>
              </c:ext>
            </c:extLst>
          </c:dPt>
          <c:dLbls>
            <c:dLbl>
              <c:idx val="0"/>
              <c:tx>
                <c:rich>
                  <a:bodyPr/>
                  <a:lstStyle/>
                  <a:p>
                    <a:fld id="{B8CD168D-84DC-4B7D-A209-2D5C9BA4D3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FB-4B52-8D72-D56D618E8EAF}"/>
                </c:ext>
              </c:extLst>
            </c:dLbl>
            <c:dLbl>
              <c:idx val="1"/>
              <c:tx>
                <c:rich>
                  <a:bodyPr/>
                  <a:lstStyle/>
                  <a:p>
                    <a:fld id="{D3D75FF2-E960-4DE3-8D36-E4164738F9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FB-4B52-8D72-D56D618E8EAF}"/>
                </c:ext>
              </c:extLst>
            </c:dLbl>
            <c:dLbl>
              <c:idx val="2"/>
              <c:tx>
                <c:rich>
                  <a:bodyPr/>
                  <a:lstStyle/>
                  <a:p>
                    <a:fld id="{1E03714F-F05E-48B1-B9FD-B24A2FEB9B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26FB-4B52-8D72-D56D618E8EAF}"/>
                </c:ext>
              </c:extLst>
            </c:dLbl>
            <c:dLbl>
              <c:idx val="3"/>
              <c:tx>
                <c:rich>
                  <a:bodyPr/>
                  <a:lstStyle/>
                  <a:p>
                    <a:fld id="{1B5453C7-C763-41B6-807A-AEDD6CE5AA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FB-4B52-8D72-D56D618E8EAF}"/>
                </c:ext>
              </c:extLst>
            </c:dLbl>
            <c:dLbl>
              <c:idx val="4"/>
              <c:tx>
                <c:rich>
                  <a:bodyPr/>
                  <a:lstStyle/>
                  <a:p>
                    <a:fld id="{064A81E1-CD09-41FC-A14D-22A6B2912B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FB-4B52-8D72-D56D618E8EAF}"/>
                </c:ext>
              </c:extLst>
            </c:dLbl>
            <c:dLbl>
              <c:idx val="5"/>
              <c:tx>
                <c:rich>
                  <a:bodyPr/>
                  <a:lstStyle/>
                  <a:p>
                    <a:fld id="{157E6BBF-920C-4368-9CCD-E5B744DE06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26FB-4B52-8D72-D56D618E8EAF}"/>
                </c:ext>
              </c:extLst>
            </c:dLbl>
            <c:dLbl>
              <c:idx val="6"/>
              <c:tx>
                <c:rich>
                  <a:bodyPr/>
                  <a:lstStyle/>
                  <a:p>
                    <a:fld id="{6329678F-582B-45BE-9F40-926C59252B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26FB-4B52-8D72-D56D618E8EAF}"/>
                </c:ext>
              </c:extLst>
            </c:dLbl>
            <c:dLbl>
              <c:idx val="7"/>
              <c:tx>
                <c:rich>
                  <a:bodyPr/>
                  <a:lstStyle/>
                  <a:p>
                    <a:fld id="{47BBD259-274C-42FD-8558-C089225F39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26FB-4B52-8D72-D56D618E8EAF}"/>
                </c:ext>
              </c:extLst>
            </c:dLbl>
            <c:dLbl>
              <c:idx val="8"/>
              <c:tx>
                <c:rich>
                  <a:bodyPr/>
                  <a:lstStyle/>
                  <a:p>
                    <a:fld id="{03DCC3B8-97A6-4BF7-8BCA-6E82F7F163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26FB-4B52-8D72-D56D618E8EAF}"/>
                </c:ext>
              </c:extLst>
            </c:dLbl>
            <c:dLbl>
              <c:idx val="9"/>
              <c:tx>
                <c:rich>
                  <a:bodyPr/>
                  <a:lstStyle/>
                  <a:p>
                    <a:fld id="{2B642CE9-F960-40E0-B526-F22C2984AC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B2D-4A32-96D2-9C641BCDE5CC}"/>
                </c:ext>
              </c:extLst>
            </c:dLbl>
            <c:dLbl>
              <c:idx val="10"/>
              <c:tx>
                <c:rich>
                  <a:bodyPr/>
                  <a:lstStyle/>
                  <a:p>
                    <a:fld id="{3D19313A-1BF8-4AD8-A323-7B811BF231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7B2D-4A32-96D2-9C641BCDE5CC}"/>
                </c:ext>
              </c:extLst>
            </c:dLbl>
            <c:dLbl>
              <c:idx val="11"/>
              <c:tx>
                <c:rich>
                  <a:bodyPr/>
                  <a:lstStyle/>
                  <a:p>
                    <a:fld id="{E824C571-3D35-44D3-A8A1-69B4F9E90A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26FB-4B52-8D72-D56D618E8EAF}"/>
                </c:ext>
              </c:extLst>
            </c:dLbl>
            <c:dLbl>
              <c:idx val="12"/>
              <c:tx>
                <c:rich>
                  <a:bodyPr/>
                  <a:lstStyle/>
                  <a:p>
                    <a:fld id="{1D1D8B85-5EB9-499A-A823-46C42CCED8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7B2D-4A32-96D2-9C641BCDE5CC}"/>
                </c:ext>
              </c:extLst>
            </c:dLbl>
            <c:dLbl>
              <c:idx val="13"/>
              <c:tx>
                <c:rich>
                  <a:bodyPr/>
                  <a:lstStyle/>
                  <a:p>
                    <a:fld id="{875FAD13-236F-405B-8AED-57F31044E0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26FB-4B52-8D72-D56D618E8EAF}"/>
                </c:ext>
              </c:extLst>
            </c:dLbl>
            <c:dLbl>
              <c:idx val="14"/>
              <c:tx>
                <c:rich>
                  <a:bodyPr/>
                  <a:lstStyle/>
                  <a:p>
                    <a:fld id="{9BADBBC6-EBBB-4CED-B780-C56AFA2A85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26FB-4B52-8D72-D56D618E8EAF}"/>
                </c:ext>
              </c:extLst>
            </c:dLbl>
            <c:dLbl>
              <c:idx val="15"/>
              <c:tx>
                <c:rich>
                  <a:bodyPr/>
                  <a:lstStyle/>
                  <a:p>
                    <a:fld id="{6221DA8A-83F6-4C48-B486-CD9446AD8B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26FB-4B52-8D72-D56D618E8EAF}"/>
                </c:ext>
              </c:extLst>
            </c:dLbl>
            <c:dLbl>
              <c:idx val="16"/>
              <c:tx>
                <c:rich>
                  <a:bodyPr/>
                  <a:lstStyle/>
                  <a:p>
                    <a:fld id="{FBEA8CAA-D41E-4676-A8EF-6402EEBE0B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0A6E-4C83-9A06-9C3309B2855E}"/>
                </c:ext>
              </c:extLst>
            </c:dLbl>
            <c:dLbl>
              <c:idx val="17"/>
              <c:tx>
                <c:rich>
                  <a:bodyPr/>
                  <a:lstStyle/>
                  <a:p>
                    <a:fld id="{86A96489-812F-4F2D-BC85-365A9D45E3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0A6E-4C83-9A06-9C3309B2855E}"/>
                </c:ext>
              </c:extLst>
            </c:dLbl>
            <c:dLbl>
              <c:idx val="18"/>
              <c:tx>
                <c:rich>
                  <a:bodyPr/>
                  <a:lstStyle/>
                  <a:p>
                    <a:fld id="{CA548354-201D-4CCE-AA22-9151F883D7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0A6E-4C83-9A06-9C3309B2855E}"/>
                </c:ext>
              </c:extLst>
            </c:dLbl>
            <c:dLbl>
              <c:idx val="19"/>
              <c:tx>
                <c:rich>
                  <a:bodyPr/>
                  <a:lstStyle/>
                  <a:p>
                    <a:fld id="{C509B1F3-4057-4307-817C-3BC37EDECF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0A6E-4C83-9A06-9C3309B2855E}"/>
                </c:ext>
              </c:extLst>
            </c:dLbl>
            <c:dLbl>
              <c:idx val="20"/>
              <c:tx>
                <c:rich>
                  <a:bodyPr/>
                  <a:lstStyle/>
                  <a:p>
                    <a:fld id="{5093B5A8-CF56-41CF-A534-39F6EE49F8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5AD-4BCF-9CB2-60EDA2D7DB42}"/>
                </c:ext>
              </c:extLst>
            </c:dLbl>
            <c:dLbl>
              <c:idx val="21"/>
              <c:tx>
                <c:rich>
                  <a:bodyPr/>
                  <a:lstStyle/>
                  <a:p>
                    <a:fld id="{6F3CE8A3-84A3-46D5-BC5A-31DA01CAE2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5AD-4BCF-9CB2-60EDA2D7DB42}"/>
                </c:ext>
              </c:extLst>
            </c:dLbl>
            <c:dLbl>
              <c:idx val="22"/>
              <c:tx>
                <c:rich>
                  <a:bodyPr/>
                  <a:lstStyle/>
                  <a:p>
                    <a:fld id="{CC4FCF18-45AA-4F5B-AAE7-6A2AD939FB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5AD-4BCF-9CB2-60EDA2D7DB42}"/>
                </c:ext>
              </c:extLst>
            </c:dLbl>
            <c:dLbl>
              <c:idx val="23"/>
              <c:tx>
                <c:rich>
                  <a:bodyPr/>
                  <a:lstStyle/>
                  <a:p>
                    <a:fld id="{548661B3-6414-47C3-B011-D96F85FEB8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5AD-4BCF-9CB2-60EDA2D7DB42}"/>
                </c:ext>
              </c:extLst>
            </c:dLbl>
            <c:dLbl>
              <c:idx val="24"/>
              <c:tx>
                <c:rich>
                  <a:bodyPr/>
                  <a:lstStyle/>
                  <a:p>
                    <a:fld id="{8F2F7350-68B1-4942-9862-672022D6A9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0A6E-4C83-9A06-9C3309B2855E}"/>
                </c:ext>
              </c:extLst>
            </c:dLbl>
            <c:dLbl>
              <c:idx val="25"/>
              <c:tx>
                <c:rich>
                  <a:bodyPr/>
                  <a:lstStyle/>
                  <a:p>
                    <a:fld id="{0E04F85B-287C-480A-BA34-1EF72655E4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4D12-44DE-B956-CABCB15EBC04}"/>
                </c:ext>
              </c:extLst>
            </c:dLbl>
            <c:dLbl>
              <c:idx val="26"/>
              <c:tx>
                <c:rich>
                  <a:bodyPr/>
                  <a:lstStyle/>
                  <a:p>
                    <a:fld id="{8FF534ED-48C0-4CBA-AE1B-807B0D7A9F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D12-44DE-B956-CABCB15EBC04}"/>
                </c:ext>
              </c:extLst>
            </c:dLbl>
            <c:dLbl>
              <c:idx val="27"/>
              <c:tx>
                <c:rich>
                  <a:bodyPr/>
                  <a:lstStyle/>
                  <a:p>
                    <a:fld id="{07696449-4E78-4CDA-803C-78F0D31A68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D12-44DE-B956-CABCB15EBC04}"/>
                </c:ext>
              </c:extLst>
            </c:dLbl>
            <c:dLbl>
              <c:idx val="28"/>
              <c:tx>
                <c:rich>
                  <a:bodyPr/>
                  <a:lstStyle/>
                  <a:p>
                    <a:fld id="{60D9C364-6E95-4F67-9F6D-BC1FA12D2B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D12-44DE-B956-CABCB15EBC04}"/>
                </c:ext>
              </c:extLst>
            </c:dLbl>
            <c:dLbl>
              <c:idx val="29"/>
              <c:tx>
                <c:rich>
                  <a:bodyPr/>
                  <a:lstStyle/>
                  <a:p>
                    <a:fld id="{F75F3708-A5CB-418A-B67F-B7E19C5E7D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8F47-486F-B734-6012CEA493B3}"/>
                </c:ext>
              </c:extLst>
            </c:dLbl>
            <c:dLbl>
              <c:idx val="30"/>
              <c:tx>
                <c:rich>
                  <a:bodyPr/>
                  <a:lstStyle/>
                  <a:p>
                    <a:fld id="{14DCD6E3-F02E-4BFE-B73C-A706CD9F3D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D12-44DE-B956-CABCB15EBC04}"/>
                </c:ext>
              </c:extLst>
            </c:dLbl>
            <c:dLbl>
              <c:idx val="31"/>
              <c:tx>
                <c:rich>
                  <a:bodyPr/>
                  <a:lstStyle/>
                  <a:p>
                    <a:fld id="{5BED3D1F-5DEF-4160-862F-1894BBEB8C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D12-44DE-B956-CABCB15EBC04}"/>
                </c:ext>
              </c:extLst>
            </c:dLbl>
            <c:dLbl>
              <c:idx val="32"/>
              <c:tx>
                <c:rich>
                  <a:bodyPr/>
                  <a:lstStyle/>
                  <a:p>
                    <a:fld id="{8D8485BA-0524-4DE3-B1CA-D6A9A884A2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D12-44DE-B956-CABCB15EBC04}"/>
                </c:ext>
              </c:extLst>
            </c:dLbl>
            <c:dLbl>
              <c:idx val="33"/>
              <c:tx>
                <c:rich>
                  <a:bodyPr/>
                  <a:lstStyle/>
                  <a:p>
                    <a:fld id="{2DDEDC4C-77FD-4441-86C1-E6FD739BB1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D12-44DE-B956-CABCB15EBC04}"/>
                </c:ext>
              </c:extLst>
            </c:dLbl>
            <c:dLbl>
              <c:idx val="34"/>
              <c:tx>
                <c:rich>
                  <a:bodyPr/>
                  <a:lstStyle/>
                  <a:p>
                    <a:fld id="{5B8F1C97-D352-494C-A69C-5E3F8EC396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D12-44DE-B956-CABCB15EBC04}"/>
                </c:ext>
              </c:extLst>
            </c:dLbl>
            <c:dLbl>
              <c:idx val="35"/>
              <c:tx>
                <c:rich>
                  <a:bodyPr/>
                  <a:lstStyle/>
                  <a:p>
                    <a:fld id="{70F8DF22-B8F9-46E8-A232-BEA775BDF9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4D12-44DE-B956-CABCB15EBC04}"/>
                </c:ext>
              </c:extLst>
            </c:dLbl>
            <c:dLbl>
              <c:idx val="36"/>
              <c:tx>
                <c:rich>
                  <a:bodyPr/>
                  <a:lstStyle/>
                  <a:p>
                    <a:fld id="{9F6E51F8-3DBA-41EE-A471-B571C89915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4D12-44DE-B956-CABCB15EBC04}"/>
                </c:ext>
              </c:extLst>
            </c:dLbl>
            <c:dLbl>
              <c:idx val="37"/>
              <c:tx>
                <c:rich>
                  <a:bodyPr/>
                  <a:lstStyle/>
                  <a:p>
                    <a:fld id="{A4C1B90E-FF67-426E-95E4-C1CEDA380C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4D12-44DE-B956-CABCB15EBC04}"/>
                </c:ext>
              </c:extLst>
            </c:dLbl>
            <c:dLbl>
              <c:idx val="38"/>
              <c:tx>
                <c:rich>
                  <a:bodyPr/>
                  <a:lstStyle/>
                  <a:p>
                    <a:fld id="{72F94A76-1789-413D-8F56-D47D2CE51D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4D12-44DE-B956-CABCB15EBC04}"/>
                </c:ext>
              </c:extLst>
            </c:dLbl>
            <c:dLbl>
              <c:idx val="39"/>
              <c:tx>
                <c:rich>
                  <a:bodyPr/>
                  <a:lstStyle/>
                  <a:p>
                    <a:fld id="{52118E0E-6414-4126-A658-DED1730812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4D12-44DE-B956-CABCB15EBC04}"/>
                </c:ext>
              </c:extLst>
            </c:dLbl>
            <c:dLbl>
              <c:idx val="40"/>
              <c:tx>
                <c:rich>
                  <a:bodyPr/>
                  <a:lstStyle/>
                  <a:p>
                    <a:fld id="{71D7FE3C-5D72-4062-ACD7-37CD622DB7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4D12-44DE-B956-CABCB15EBC04}"/>
                </c:ext>
              </c:extLst>
            </c:dLbl>
            <c:dLbl>
              <c:idx val="41"/>
              <c:tx>
                <c:rich>
                  <a:bodyPr/>
                  <a:lstStyle/>
                  <a:p>
                    <a:fld id="{E5700B4F-3815-47E3-A4BF-D5D2208380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4D12-44DE-B956-CABCB15EBC04}"/>
                </c:ext>
              </c:extLst>
            </c:dLbl>
            <c:dLbl>
              <c:idx val="42"/>
              <c:tx>
                <c:rich>
                  <a:bodyPr/>
                  <a:lstStyle/>
                  <a:p>
                    <a:fld id="{81642B4E-6516-47E3-809C-9B7D910B18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4D12-44DE-B956-CABCB15EBC04}"/>
                </c:ext>
              </c:extLst>
            </c:dLbl>
            <c:dLbl>
              <c:idx val="43"/>
              <c:tx>
                <c:rich>
                  <a:bodyPr/>
                  <a:lstStyle/>
                  <a:p>
                    <a:fld id="{B595F530-3728-4D7B-91A5-1C1E189813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4D12-44DE-B956-CABCB15EBC04}"/>
                </c:ext>
              </c:extLst>
            </c:dLbl>
            <c:dLbl>
              <c:idx val="44"/>
              <c:tx>
                <c:rich>
                  <a:bodyPr/>
                  <a:lstStyle/>
                  <a:p>
                    <a:fld id="{7F64F464-2EFF-43F2-8334-B505DB64B9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4D12-44DE-B956-CABCB15EBC04}"/>
                </c:ext>
              </c:extLst>
            </c:dLbl>
            <c:dLbl>
              <c:idx val="45"/>
              <c:tx>
                <c:rich>
                  <a:bodyPr/>
                  <a:lstStyle/>
                  <a:p>
                    <a:fld id="{0169F8AF-24D6-46CA-8089-C4174025EB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4D12-44DE-B956-CABCB15EBC04}"/>
                </c:ext>
              </c:extLst>
            </c:dLbl>
            <c:dLbl>
              <c:idx val="46"/>
              <c:tx>
                <c:rich>
                  <a:bodyPr/>
                  <a:lstStyle/>
                  <a:p>
                    <a:fld id="{402973B3-F9F1-45A9-8427-B53C657244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4D12-44DE-B956-CABCB15EBC04}"/>
                </c:ext>
              </c:extLst>
            </c:dLbl>
            <c:dLbl>
              <c:idx val="47"/>
              <c:tx>
                <c:rich>
                  <a:bodyPr/>
                  <a:lstStyle/>
                  <a:p>
                    <a:fld id="{B58BDE8B-35DE-4AAE-98BB-ED19BA8B9A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4D12-44DE-B956-CABCB15EBC04}"/>
                </c:ext>
              </c:extLst>
            </c:dLbl>
            <c:dLbl>
              <c:idx val="48"/>
              <c:tx>
                <c:rich>
                  <a:bodyPr/>
                  <a:lstStyle/>
                  <a:p>
                    <a:fld id="{7242A555-80CA-444C-AD0E-5D103C7D3D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4D12-44DE-B956-CABCB15EBC04}"/>
                </c:ext>
              </c:extLst>
            </c:dLbl>
            <c:dLbl>
              <c:idx val="49"/>
              <c:tx>
                <c:rich>
                  <a:bodyPr/>
                  <a:lstStyle/>
                  <a:p>
                    <a:fld id="{4080E87C-A515-4C51-B135-D87BFE4D74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4D12-44DE-B956-CABCB15EBC04}"/>
                </c:ext>
              </c:extLst>
            </c:dLbl>
            <c:dLbl>
              <c:idx val="50"/>
              <c:tx>
                <c:rich>
                  <a:bodyPr/>
                  <a:lstStyle/>
                  <a:p>
                    <a:fld id="{384D1915-7592-4C6A-B55A-8BA23DEF1D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4D12-44DE-B956-CABCB15EBC04}"/>
                </c:ext>
              </c:extLst>
            </c:dLbl>
            <c:dLbl>
              <c:idx val="51"/>
              <c:tx>
                <c:rich>
                  <a:bodyPr/>
                  <a:lstStyle/>
                  <a:p>
                    <a:fld id="{B05F824A-E313-4195-9F76-133B88F9CD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4D12-44DE-B956-CABCB15EBC04}"/>
                </c:ext>
              </c:extLst>
            </c:dLbl>
            <c:dLbl>
              <c:idx val="52"/>
              <c:tx>
                <c:rich>
                  <a:bodyPr/>
                  <a:lstStyle/>
                  <a:p>
                    <a:fld id="{954E6D53-BC03-44ED-A3E5-83EF6A3356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4D12-44DE-B956-CABCB15EBC04}"/>
                </c:ext>
              </c:extLst>
            </c:dLbl>
            <c:dLbl>
              <c:idx val="53"/>
              <c:tx>
                <c:rich>
                  <a:bodyPr/>
                  <a:lstStyle/>
                  <a:p>
                    <a:fld id="{0103FD69-9771-43B7-ACB9-75686FA4E1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4D12-44DE-B956-CABCB15EBC04}"/>
                </c:ext>
              </c:extLst>
            </c:dLbl>
            <c:dLbl>
              <c:idx val="54"/>
              <c:tx>
                <c:rich>
                  <a:bodyPr/>
                  <a:lstStyle/>
                  <a:p>
                    <a:fld id="{B12D5F8E-7BF5-4BBB-8FC3-BB5F5F0367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4D12-44DE-B956-CABCB15EBC04}"/>
                </c:ext>
              </c:extLst>
            </c:dLbl>
            <c:dLbl>
              <c:idx val="55"/>
              <c:tx>
                <c:rich>
                  <a:bodyPr/>
                  <a:lstStyle/>
                  <a:p>
                    <a:fld id="{469E0364-C62E-43C7-803F-231B996F22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D12-44DE-B956-CABCB15EBC04}"/>
                </c:ext>
              </c:extLst>
            </c:dLbl>
            <c:dLbl>
              <c:idx val="56"/>
              <c:tx>
                <c:rich>
                  <a:bodyPr/>
                  <a:lstStyle/>
                  <a:p>
                    <a:fld id="{3D700191-C018-42E0-B5D6-2E51750F14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8E3F-4D1B-A313-C02BEC0FDBD1}"/>
                </c:ext>
              </c:extLst>
            </c:dLbl>
            <c:dLbl>
              <c:idx val="57"/>
              <c:tx>
                <c:rich>
                  <a:bodyPr/>
                  <a:lstStyle/>
                  <a:p>
                    <a:fld id="{D2233992-16AA-4CA9-BD12-97443C9BEC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8E3F-4D1B-A313-C02BEC0FDBD1}"/>
                </c:ext>
              </c:extLst>
            </c:dLbl>
            <c:dLbl>
              <c:idx val="58"/>
              <c:tx>
                <c:rich>
                  <a:bodyPr/>
                  <a:lstStyle/>
                  <a:p>
                    <a:fld id="{B98BFDAC-7BEA-44E4-93F8-983B42F214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8E3F-4D1B-A313-C02BEC0FDBD1}"/>
                </c:ext>
              </c:extLst>
            </c:dLbl>
            <c:dLbl>
              <c:idx val="59"/>
              <c:tx>
                <c:rich>
                  <a:bodyPr/>
                  <a:lstStyle/>
                  <a:p>
                    <a:fld id="{F4134BCF-C671-4E14-9B49-91D9E08249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8E3F-4D1B-A313-C02BEC0FDBD1}"/>
                </c:ext>
              </c:extLst>
            </c:dLbl>
            <c:dLbl>
              <c:idx val="60"/>
              <c:tx>
                <c:rich>
                  <a:bodyPr/>
                  <a:lstStyle/>
                  <a:p>
                    <a:fld id="{7389AF9A-F82C-4C10-ACD6-58D8BBC726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8E3F-4D1B-A313-C02BEC0FDBD1}"/>
                </c:ext>
              </c:extLst>
            </c:dLbl>
            <c:dLbl>
              <c:idx val="61"/>
              <c:tx>
                <c:rich>
                  <a:bodyPr/>
                  <a:lstStyle/>
                  <a:p>
                    <a:fld id="{01998ABA-2171-4C05-8739-F2A97E968D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8E3F-4D1B-A313-C02BEC0FDBD1}"/>
                </c:ext>
              </c:extLst>
            </c:dLbl>
            <c:dLbl>
              <c:idx val="62"/>
              <c:tx>
                <c:rich>
                  <a:bodyPr/>
                  <a:lstStyle/>
                  <a:p>
                    <a:fld id="{3E20E855-8B95-4525-BC2D-516B5B6486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8E3F-4D1B-A313-C02BEC0FDBD1}"/>
                </c:ext>
              </c:extLst>
            </c:dLbl>
            <c:dLbl>
              <c:idx val="63"/>
              <c:tx>
                <c:rich>
                  <a:bodyPr/>
                  <a:lstStyle/>
                  <a:p>
                    <a:fld id="{A3FC3FEB-41FB-4B92-8BB8-8C4FA1FBF0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8E3F-4D1B-A313-C02BEC0FDBD1}"/>
                </c:ext>
              </c:extLst>
            </c:dLbl>
            <c:dLbl>
              <c:idx val="64"/>
              <c:tx>
                <c:rich>
                  <a:bodyPr/>
                  <a:lstStyle/>
                  <a:p>
                    <a:fld id="{DC424EFD-319A-47D3-AC47-2AE0044C6F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8E3F-4D1B-A313-C02BEC0FDBD1}"/>
                </c:ext>
              </c:extLst>
            </c:dLbl>
            <c:dLbl>
              <c:idx val="65"/>
              <c:tx>
                <c:rich>
                  <a:bodyPr/>
                  <a:lstStyle/>
                  <a:p>
                    <a:fld id="{F50482AC-748C-422B-96CC-6C5C6140A5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8E3F-4D1B-A313-C02BEC0FDBD1}"/>
                </c:ext>
              </c:extLst>
            </c:dLbl>
            <c:dLbl>
              <c:idx val="66"/>
              <c:tx>
                <c:rich>
                  <a:bodyPr/>
                  <a:lstStyle/>
                  <a:p>
                    <a:fld id="{271DFCBB-3205-43CB-9257-34CEA6B760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8E3F-4D1B-A313-C02BEC0FDBD1}"/>
                </c:ext>
              </c:extLst>
            </c:dLbl>
            <c:dLbl>
              <c:idx val="67"/>
              <c:tx>
                <c:rich>
                  <a:bodyPr/>
                  <a:lstStyle/>
                  <a:p>
                    <a:fld id="{3299C89F-E702-4503-B9BC-8ADBEAADC0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8E3F-4D1B-A313-C02BEC0FDBD1}"/>
                </c:ext>
              </c:extLst>
            </c:dLbl>
            <c:dLbl>
              <c:idx val="68"/>
              <c:tx>
                <c:rich>
                  <a:bodyPr/>
                  <a:lstStyle/>
                  <a:p>
                    <a:fld id="{69A0AA4D-081B-4AA6-A6C8-45B6652065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8E3F-4D1B-A313-C02BEC0FDBD1}"/>
                </c:ext>
              </c:extLst>
            </c:dLbl>
            <c:dLbl>
              <c:idx val="69"/>
              <c:tx>
                <c:rich>
                  <a:bodyPr/>
                  <a:lstStyle/>
                  <a:p>
                    <a:fld id="{4F2B353B-259F-481F-9381-EBA7F69822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8E3F-4D1B-A313-C02BEC0FDBD1}"/>
                </c:ext>
              </c:extLst>
            </c:dLbl>
            <c:dLbl>
              <c:idx val="70"/>
              <c:tx>
                <c:rich>
                  <a:bodyPr/>
                  <a:lstStyle/>
                  <a:p>
                    <a:fld id="{6CB038C1-B605-4D3E-B387-4DF2E5B7F1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8E3F-4D1B-A313-C02BEC0FDBD1}"/>
                </c:ext>
              </c:extLst>
            </c:dLbl>
            <c:dLbl>
              <c:idx val="71"/>
              <c:tx>
                <c:rich>
                  <a:bodyPr/>
                  <a:lstStyle/>
                  <a:p>
                    <a:fld id="{5AE65BC9-B5F5-4225-940A-8F6A02FD40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8E3F-4D1B-A313-C02BEC0FDBD1}"/>
                </c:ext>
              </c:extLst>
            </c:dLbl>
            <c:dLbl>
              <c:idx val="72"/>
              <c:tx>
                <c:rich>
                  <a:bodyPr/>
                  <a:lstStyle/>
                  <a:p>
                    <a:fld id="{7A7B8DF3-ADA0-4AB6-BE9D-33A2383A6D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8E3F-4D1B-A313-C02BEC0FDBD1}"/>
                </c:ext>
              </c:extLst>
            </c:dLbl>
            <c:dLbl>
              <c:idx val="73"/>
              <c:tx>
                <c:rich>
                  <a:bodyPr/>
                  <a:lstStyle/>
                  <a:p>
                    <a:fld id="{731F52DA-D1C8-4687-9B2F-796EE79A44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8E3F-4D1B-A313-C02BEC0FDBD1}"/>
                </c:ext>
              </c:extLst>
            </c:dLbl>
            <c:dLbl>
              <c:idx val="74"/>
              <c:tx>
                <c:rich>
                  <a:bodyPr/>
                  <a:lstStyle/>
                  <a:p>
                    <a:fld id="{6D57B3EB-320A-422C-9991-70DE0C5F88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8E3F-4D1B-A313-C02BEC0FDBD1}"/>
                </c:ext>
              </c:extLst>
            </c:dLbl>
            <c:dLbl>
              <c:idx val="75"/>
              <c:tx>
                <c:rich>
                  <a:bodyPr/>
                  <a:lstStyle/>
                  <a:p>
                    <a:fld id="{462DB500-C718-42D2-B184-AE207B935A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8E3F-4D1B-A313-C02BEC0FDBD1}"/>
                </c:ext>
              </c:extLst>
            </c:dLbl>
            <c:dLbl>
              <c:idx val="76"/>
              <c:tx>
                <c:rich>
                  <a:bodyPr/>
                  <a:lstStyle/>
                  <a:p>
                    <a:fld id="{E2A88F7E-C0A3-4F5A-AE4F-FD21A133E1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8E3F-4D1B-A313-C02BEC0FDBD1}"/>
                </c:ext>
              </c:extLst>
            </c:dLbl>
            <c:dLbl>
              <c:idx val="77"/>
              <c:tx>
                <c:rich>
                  <a:bodyPr/>
                  <a:lstStyle/>
                  <a:p>
                    <a:fld id="{4A24C228-0975-4568-A7A5-5518EF13CD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8E3F-4D1B-A313-C02BEC0FDBD1}"/>
                </c:ext>
              </c:extLst>
            </c:dLbl>
            <c:dLbl>
              <c:idx val="78"/>
              <c:tx>
                <c:rich>
                  <a:bodyPr/>
                  <a:lstStyle/>
                  <a:p>
                    <a:fld id="{A6C66E7C-D560-4B07-876D-3607137EAF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8E3F-4D1B-A313-C02BEC0FDBD1}"/>
                </c:ext>
              </c:extLst>
            </c:dLbl>
            <c:dLbl>
              <c:idx val="79"/>
              <c:tx>
                <c:rich>
                  <a:bodyPr/>
                  <a:lstStyle/>
                  <a:p>
                    <a:fld id="{D5C0B32C-C611-4808-8125-CFE4555920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8E3F-4D1B-A313-C02BEC0FDBD1}"/>
                </c:ext>
              </c:extLst>
            </c:dLbl>
            <c:dLbl>
              <c:idx val="80"/>
              <c:tx>
                <c:rich>
                  <a:bodyPr/>
                  <a:lstStyle/>
                  <a:p>
                    <a:fld id="{AA542224-A83E-4EEA-8458-A3F3D302EA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8E3F-4D1B-A313-C02BEC0FDBD1}"/>
                </c:ext>
              </c:extLst>
            </c:dLbl>
            <c:dLbl>
              <c:idx val="81"/>
              <c:tx>
                <c:rich>
                  <a:bodyPr/>
                  <a:lstStyle/>
                  <a:p>
                    <a:fld id="{4177A7E5-872E-4A50-BC17-CF7A5DC5BA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9-8E3F-4D1B-A313-C02BEC0FDBD1}"/>
                </c:ext>
              </c:extLst>
            </c:dLbl>
            <c:dLbl>
              <c:idx val="82"/>
              <c:tx>
                <c:rich>
                  <a:bodyPr/>
                  <a:lstStyle/>
                  <a:p>
                    <a:fld id="{575253AA-5F24-4FA1-8D01-7962203815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A-8E3F-4D1B-A313-C02BEC0FDBD1}"/>
                </c:ext>
              </c:extLst>
            </c:dLbl>
            <c:dLbl>
              <c:idx val="83"/>
              <c:tx>
                <c:rich>
                  <a:bodyPr/>
                  <a:lstStyle/>
                  <a:p>
                    <a:fld id="{59A3B5D9-DA8B-4E2F-8945-ABACED49C2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B-8E3F-4D1B-A313-C02BEC0FDBD1}"/>
                </c:ext>
              </c:extLst>
            </c:dLbl>
            <c:dLbl>
              <c:idx val="84"/>
              <c:tx>
                <c:rich>
                  <a:bodyPr/>
                  <a:lstStyle/>
                  <a:p>
                    <a:fld id="{F6861F69-D0DF-4678-BE9C-9E596D078C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C-8E3F-4D1B-A313-C02BEC0FDBD1}"/>
                </c:ext>
              </c:extLst>
            </c:dLbl>
            <c:dLbl>
              <c:idx val="85"/>
              <c:tx>
                <c:rich>
                  <a:bodyPr/>
                  <a:lstStyle/>
                  <a:p>
                    <a:fld id="{8BA0E0C7-C7CF-4497-AD41-D6DDE0D1E4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D-8E3F-4D1B-A313-C02BEC0FDBD1}"/>
                </c:ext>
              </c:extLst>
            </c:dLbl>
            <c:dLbl>
              <c:idx val="86"/>
              <c:tx>
                <c:rich>
                  <a:bodyPr/>
                  <a:lstStyle/>
                  <a:p>
                    <a:fld id="{C2B22B54-08EA-4242-9F02-C2074431AF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E-8E3F-4D1B-A313-C02BEC0FDBD1}"/>
                </c:ext>
              </c:extLst>
            </c:dLbl>
            <c:dLbl>
              <c:idx val="87"/>
              <c:tx>
                <c:rich>
                  <a:bodyPr/>
                  <a:lstStyle/>
                  <a:p>
                    <a:fld id="{53D27DA7-AD32-4E6F-B4F3-7CC46DD638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F-8E3F-4D1B-A313-C02BEC0FDBD1}"/>
                </c:ext>
              </c:extLst>
            </c:dLbl>
            <c:dLbl>
              <c:idx val="88"/>
              <c:tx>
                <c:rich>
                  <a:bodyPr/>
                  <a:lstStyle/>
                  <a:p>
                    <a:fld id="{630043C6-435A-4188-9EAB-13F071824C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0-8E3F-4D1B-A313-C02BEC0FDBD1}"/>
                </c:ext>
              </c:extLst>
            </c:dLbl>
            <c:dLbl>
              <c:idx val="89"/>
              <c:tx>
                <c:rich>
                  <a:bodyPr/>
                  <a:lstStyle/>
                  <a:p>
                    <a:fld id="{2641DD29-917F-4EEE-8CB7-68B9C7E0CC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1-8E3F-4D1B-A313-C02BEC0FDBD1}"/>
                </c:ext>
              </c:extLst>
            </c:dLbl>
            <c:dLbl>
              <c:idx val="90"/>
              <c:tx>
                <c:rich>
                  <a:bodyPr/>
                  <a:lstStyle/>
                  <a:p>
                    <a:fld id="{1353E01F-0CC4-4B22-8E42-959C102D0F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2-8E3F-4D1B-A313-C02BEC0FDBD1}"/>
                </c:ext>
              </c:extLst>
            </c:dLbl>
            <c:dLbl>
              <c:idx val="91"/>
              <c:tx>
                <c:rich>
                  <a:bodyPr/>
                  <a:lstStyle/>
                  <a:p>
                    <a:fld id="{BD82C7AD-1A53-4258-9370-447D94AB05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3-8E3F-4D1B-A313-C02BEC0FDBD1}"/>
                </c:ext>
              </c:extLst>
            </c:dLbl>
            <c:dLbl>
              <c:idx val="92"/>
              <c:tx>
                <c:rich>
                  <a:bodyPr/>
                  <a:lstStyle/>
                  <a:p>
                    <a:fld id="{4E2C149E-4C7D-4994-98C4-4DE0EF6CC6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4-8E3F-4D1B-A313-C02BEC0FDBD1}"/>
                </c:ext>
              </c:extLst>
            </c:dLbl>
            <c:dLbl>
              <c:idx val="93"/>
              <c:tx>
                <c:rich>
                  <a:bodyPr/>
                  <a:lstStyle/>
                  <a:p>
                    <a:fld id="{9709FA23-0E89-4ABB-B5C2-B4D717E3D0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5-8E3F-4D1B-A313-C02BEC0FDBD1}"/>
                </c:ext>
              </c:extLst>
            </c:dLbl>
            <c:dLbl>
              <c:idx val="94"/>
              <c:tx>
                <c:rich>
                  <a:bodyPr/>
                  <a:lstStyle/>
                  <a:p>
                    <a:fld id="{6BE599D9-D7BF-42CC-9BDB-845412565E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6-8E3F-4D1B-A313-C02BEC0FDBD1}"/>
                </c:ext>
              </c:extLst>
            </c:dLbl>
            <c:dLbl>
              <c:idx val="95"/>
              <c:tx>
                <c:rich>
                  <a:bodyPr/>
                  <a:lstStyle/>
                  <a:p>
                    <a:fld id="{6DACB7D9-D06C-4969-B5BE-5325A5B8BD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7-8E3F-4D1B-A313-C02BEC0FDBD1}"/>
                </c:ext>
              </c:extLst>
            </c:dLbl>
            <c:dLbl>
              <c:idx val="96"/>
              <c:tx>
                <c:rich>
                  <a:bodyPr/>
                  <a:lstStyle/>
                  <a:p>
                    <a:fld id="{724D367D-D955-462F-B343-92D0E80B67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8-8E3F-4D1B-A313-C02BEC0FDBD1}"/>
                </c:ext>
              </c:extLst>
            </c:dLbl>
            <c:dLbl>
              <c:idx val="97"/>
              <c:tx>
                <c:rich>
                  <a:bodyPr/>
                  <a:lstStyle/>
                  <a:p>
                    <a:fld id="{E6D46CF9-9AC0-44BC-A1CE-9907ECB56E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9-8E3F-4D1B-A313-C02BEC0FDBD1}"/>
                </c:ext>
              </c:extLst>
            </c:dLbl>
            <c:dLbl>
              <c:idx val="98"/>
              <c:tx>
                <c:rich>
                  <a:bodyPr/>
                  <a:lstStyle/>
                  <a:p>
                    <a:fld id="{A515B305-2EF1-4CFC-A24A-904FF8414C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A-8E3F-4D1B-A313-C02BEC0FDBD1}"/>
                </c:ext>
              </c:extLst>
            </c:dLbl>
            <c:dLbl>
              <c:idx val="99"/>
              <c:tx>
                <c:rich>
                  <a:bodyPr/>
                  <a:lstStyle/>
                  <a:p>
                    <a:fld id="{8BA67A90-A47B-4B20-B0D8-C60B177CFA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B-8E3F-4D1B-A313-C02BEC0FDBD1}"/>
                </c:ext>
              </c:extLst>
            </c:dLbl>
            <c:dLbl>
              <c:idx val="100"/>
              <c:tx>
                <c:rich>
                  <a:bodyPr/>
                  <a:lstStyle/>
                  <a:p>
                    <a:fld id="{35C31DAF-F58F-4B2D-9CEF-8C2CB7E6DD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C-8E3F-4D1B-A313-C02BEC0FDBD1}"/>
                </c:ext>
              </c:extLst>
            </c:dLbl>
            <c:dLbl>
              <c:idx val="101"/>
              <c:tx>
                <c:rich>
                  <a:bodyPr/>
                  <a:lstStyle/>
                  <a:p>
                    <a:fld id="{B6FFEE9A-7232-43F3-A98D-CD52D0DD1E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D-8E3F-4D1B-A313-C02BEC0FDBD1}"/>
                </c:ext>
              </c:extLst>
            </c:dLbl>
            <c:dLbl>
              <c:idx val="102"/>
              <c:tx>
                <c:rich>
                  <a:bodyPr/>
                  <a:lstStyle/>
                  <a:p>
                    <a:fld id="{F9AA46A5-8968-461F-800F-4448EA3742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E-8E3F-4D1B-A313-C02BEC0FDBD1}"/>
                </c:ext>
              </c:extLst>
            </c:dLbl>
            <c:dLbl>
              <c:idx val="103"/>
              <c:tx>
                <c:rich>
                  <a:bodyPr/>
                  <a:lstStyle/>
                  <a:p>
                    <a:fld id="{22B23729-270F-4ECE-BC7E-4FFECA7222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F-8E3F-4D1B-A313-C02BEC0FDBD1}"/>
                </c:ext>
              </c:extLst>
            </c:dLbl>
            <c:dLbl>
              <c:idx val="104"/>
              <c:tx>
                <c:rich>
                  <a:bodyPr/>
                  <a:lstStyle/>
                  <a:p>
                    <a:fld id="{484EC422-3403-42A5-876B-BA4679764C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0-8E3F-4D1B-A313-C02BEC0FDBD1}"/>
                </c:ext>
              </c:extLst>
            </c:dLbl>
            <c:dLbl>
              <c:idx val="105"/>
              <c:tx>
                <c:rich>
                  <a:bodyPr/>
                  <a:lstStyle/>
                  <a:p>
                    <a:fld id="{0C536C9C-ED6B-44C4-B3C6-0305F68B57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1-8E3F-4D1B-A313-C02BEC0FDBD1}"/>
                </c:ext>
              </c:extLst>
            </c:dLbl>
            <c:dLbl>
              <c:idx val="106"/>
              <c:tx>
                <c:rich>
                  <a:bodyPr/>
                  <a:lstStyle/>
                  <a:p>
                    <a:fld id="{94CE67DE-8CC7-4EFF-B09F-A23EB38988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2-8E3F-4D1B-A313-C02BEC0FDBD1}"/>
                </c:ext>
              </c:extLst>
            </c:dLbl>
            <c:dLbl>
              <c:idx val="107"/>
              <c:tx>
                <c:rich>
                  <a:bodyPr/>
                  <a:lstStyle/>
                  <a:p>
                    <a:fld id="{A5424DD1-B05F-4717-858D-9D801195AD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3-8E3F-4D1B-A313-C02BEC0FDBD1}"/>
                </c:ext>
              </c:extLst>
            </c:dLbl>
            <c:dLbl>
              <c:idx val="108"/>
              <c:tx>
                <c:rich>
                  <a:bodyPr/>
                  <a:lstStyle/>
                  <a:p>
                    <a:fld id="{62AD07F2-D136-412D-9E0E-C564704460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4-8E3F-4D1B-A313-C02BEC0FDBD1}"/>
                </c:ext>
              </c:extLst>
            </c:dLbl>
            <c:dLbl>
              <c:idx val="109"/>
              <c:tx>
                <c:rich>
                  <a:bodyPr/>
                  <a:lstStyle/>
                  <a:p>
                    <a:fld id="{433F9607-433C-42E6-A22A-E1FDA21B65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5-8E3F-4D1B-A313-C02BEC0FDBD1}"/>
                </c:ext>
              </c:extLst>
            </c:dLbl>
            <c:dLbl>
              <c:idx val="110"/>
              <c:tx>
                <c:rich>
                  <a:bodyPr/>
                  <a:lstStyle/>
                  <a:p>
                    <a:fld id="{0F4CE4D1-9D24-426F-B840-352FBABF8A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6-8E3F-4D1B-A313-C02BEC0FDBD1}"/>
                </c:ext>
              </c:extLst>
            </c:dLbl>
            <c:dLbl>
              <c:idx val="111"/>
              <c:tx>
                <c:rich>
                  <a:bodyPr/>
                  <a:lstStyle/>
                  <a:p>
                    <a:fld id="{4D7C20EC-5FC7-4710-9282-E921473E16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7-8E3F-4D1B-A313-C02BEC0FDBD1}"/>
                </c:ext>
              </c:extLst>
            </c:dLbl>
            <c:dLbl>
              <c:idx val="112"/>
              <c:tx>
                <c:rich>
                  <a:bodyPr/>
                  <a:lstStyle/>
                  <a:p>
                    <a:fld id="{DC724864-78F3-4691-B87C-6AD39CD4A3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8-8E3F-4D1B-A313-C02BEC0FDBD1}"/>
                </c:ext>
              </c:extLst>
            </c:dLbl>
            <c:dLbl>
              <c:idx val="113"/>
              <c:tx>
                <c:rich>
                  <a:bodyPr/>
                  <a:lstStyle/>
                  <a:p>
                    <a:fld id="{38093EA8-22AA-4BFA-9961-262354009D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9-8E3F-4D1B-A313-C02BEC0FDBD1}"/>
                </c:ext>
              </c:extLst>
            </c:dLbl>
            <c:dLbl>
              <c:idx val="114"/>
              <c:tx>
                <c:rich>
                  <a:bodyPr/>
                  <a:lstStyle/>
                  <a:p>
                    <a:fld id="{7B914199-ADAB-41D9-A52D-A4311B0A6D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A-8E3F-4D1B-A313-C02BEC0FDBD1}"/>
                </c:ext>
              </c:extLst>
            </c:dLbl>
            <c:dLbl>
              <c:idx val="115"/>
              <c:tx>
                <c:rich>
                  <a:bodyPr/>
                  <a:lstStyle/>
                  <a:p>
                    <a:fld id="{C7C52714-F5F8-41B2-A4DF-726E1F8332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5B-8E3F-4D1B-A313-C02BEC0FDBD1}"/>
                </c:ext>
              </c:extLst>
            </c:dLbl>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8</c:f>
              <c:numCache>
                <c:formatCode>General</c:formatCode>
                <c:ptCount val="7"/>
                <c:pt idx="0">
                  <c:v>1</c:v>
                </c:pt>
                <c:pt idx="1">
                  <c:v>3</c:v>
                </c:pt>
                <c:pt idx="2">
                  <c:v>3</c:v>
                </c:pt>
                <c:pt idx="3">
                  <c:v>3</c:v>
                </c:pt>
                <c:pt idx="4">
                  <c:v>3</c:v>
                </c:pt>
                <c:pt idx="5">
                  <c:v>3</c:v>
                </c:pt>
                <c:pt idx="6">
                  <c:v>3</c:v>
                </c:pt>
              </c:numCache>
            </c:numRef>
          </c:xVal>
          <c:yVal>
            <c:numRef>
              <c:f>Sheet1!$B$2:$B$8</c:f>
              <c:numCache>
                <c:formatCode>General</c:formatCode>
                <c:ptCount val="7"/>
                <c:pt idx="0">
                  <c:v>0.24923026170236279</c:v>
                </c:pt>
                <c:pt idx="1">
                  <c:v>-0.1614699718356595</c:v>
                </c:pt>
                <c:pt idx="2">
                  <c:v>0</c:v>
                </c:pt>
                <c:pt idx="3">
                  <c:v>-6.4600584123253466E-2</c:v>
                </c:pt>
                <c:pt idx="4">
                  <c:v>0</c:v>
                </c:pt>
                <c:pt idx="5">
                  <c:v>-4.1622861695754007E-2</c:v>
                </c:pt>
                <c:pt idx="6">
                  <c:v>-9.5689587114431665E-2</c:v>
                </c:pt>
              </c:numCache>
            </c:numRef>
          </c:yVal>
          <c:bubbleSize>
            <c:numRef>
              <c:f>Sheet1!$C$2:$C$8</c:f>
              <c:numCache>
                <c:formatCode>General</c:formatCode>
                <c:ptCount val="7"/>
                <c:pt idx="0">
                  <c:v>38005340</c:v>
                </c:pt>
                <c:pt idx="1">
                  <c:v>4081396</c:v>
                </c:pt>
                <c:pt idx="2">
                  <c:v>271146</c:v>
                </c:pt>
                <c:pt idx="3">
                  <c:v>1029606</c:v>
                </c:pt>
                <c:pt idx="4">
                  <c:v>1171</c:v>
                </c:pt>
                <c:pt idx="5">
                  <c:v>2362412</c:v>
                </c:pt>
                <c:pt idx="6">
                  <c:v>279376</c:v>
                </c:pt>
              </c:numCache>
            </c:numRef>
          </c:bubbleSize>
          <c:bubble3D val="0"/>
          <c:extLst>
            <c:ext xmlns:c15="http://schemas.microsoft.com/office/drawing/2012/chart" uri="{02D57815-91ED-43cb-92C2-25804820EDAC}">
              <c15:datalabelsRange>
                <c15:f>Sheet1!$E$2:$E$150</c15:f>
                <c15:dlblRangeCache>
                  <c:ptCount val="149"/>
                  <c:pt idx="0">
                    <c:v>Gillette</c:v>
                  </c:pt>
                  <c:pt idx="1">
                    <c:v>Gillette</c:v>
                  </c:pt>
                  <c:pt idx="2">
                    <c:v>Harry's</c:v>
                  </c:pt>
                  <c:pt idx="3">
                    <c:v>Dollar Shave Club</c:v>
                  </c:pt>
                  <c:pt idx="4">
                    <c:v>Van Der Hagen</c:v>
                  </c:pt>
                  <c:pt idx="5">
                    <c:v>Schick</c:v>
                  </c:pt>
                  <c:pt idx="6">
                    <c:v>Equate</c:v>
                  </c:pt>
                </c15:dlblRangeCache>
              </c15:datalabelsRange>
            </c:ext>
            <c:ext xmlns:c16="http://schemas.microsoft.com/office/drawing/2014/chart" uri="{C3380CC4-5D6E-409C-BE32-E72D297353CC}">
              <c16:uniqueId val="{00000026-26FB-4B52-8D72-D56D618E8EAF}"/>
            </c:ext>
          </c:extLst>
        </c:ser>
        <c:dLbls>
          <c:dLblPos val="ctr"/>
          <c:showLegendKey val="0"/>
          <c:showVal val="1"/>
          <c:showCatName val="0"/>
          <c:showSerName val="0"/>
          <c:showPercent val="0"/>
          <c:showBubbleSize val="0"/>
        </c:dLbls>
        <c:bubbleScale val="75"/>
        <c:showNegBubbles val="0"/>
        <c:axId val="804121775"/>
        <c:axId val="804116783"/>
      </c:bubbleChart>
      <c:valAx>
        <c:axId val="804121775"/>
        <c:scaling>
          <c:orientation val="minMax"/>
          <c:max val="4"/>
          <c:min val="0"/>
        </c:scaling>
        <c:delete val="0"/>
        <c:axPos val="b"/>
        <c:numFmt formatCode="0%" sourceLinked="0"/>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16783"/>
        <c:crosses val="autoZero"/>
        <c:crossBetween val="midCat"/>
        <c:minorUnit val="0.1"/>
      </c:valAx>
      <c:valAx>
        <c:axId val="804116783"/>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en-US" sz="800" dirty="0">
                    <a:solidFill>
                      <a:schemeClr val="tx1"/>
                    </a:solidFill>
                    <a:latin typeface="Nexa Bold" panose="00000800000000000000" pitchFamily="2" charset="0"/>
                  </a:rPr>
                  <a:t>Averag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Valu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uplift</a:t>
                </a:r>
                <a:endParaRPr lang="en-CH" sz="800" dirty="0">
                  <a:solidFill>
                    <a:schemeClr val="tx1"/>
                  </a:solidFill>
                  <a:latin typeface="Nexa Bold" panose="00000800000000000000" pitchFamily="2" charset="0"/>
                </a:endParaRPr>
              </a:p>
            </c:rich>
          </c:tx>
          <c:layout>
            <c:manualLayout>
              <c:xMode val="edge"/>
              <c:yMode val="edge"/>
              <c:x val="2.0811111111111117E-3"/>
              <c:y val="0.10078557265656676"/>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CH"/>
            </a:p>
          </c:txPr>
        </c:title>
        <c:numFmt formatCode="0%" sourceLinked="0"/>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21775"/>
        <c:crosses val="autoZero"/>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r>
                      <a:t>GILLETTE FUSION 5 5 BLADE REFILL NORMAL 16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99F-4374-933C-119751F7B1D3}"/>
                </c:ext>
              </c:extLst>
            </c:dLbl>
            <c:dLbl>
              <c:idx val="1"/>
              <c:tx>
                <c:rich>
                  <a:bodyPr/>
                  <a:lstStyle/>
                  <a:p>
                    <a:r>
                      <a:t>GILLETTE MACH 3 3 BLADE REFILL NORMAL 20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99F-4374-933C-119751F7B1D3}"/>
                </c:ext>
              </c:extLst>
            </c:dLbl>
            <c:dLbl>
              <c:idx val="2"/>
              <c:tx>
                <c:rich>
                  <a:bodyPr/>
                  <a:lstStyle/>
                  <a:p>
                    <a:r>
                      <a:t>GILLETTE SENSOR 2 PLUS PIVOT 2 BLADE DISPOSABLE NORMAL 5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99F-4374-933C-119751F7B1D3}"/>
                </c:ext>
              </c:extLst>
            </c:dLbl>
            <c:dLbl>
              <c:idx val="3"/>
              <c:tx>
                <c:rich>
                  <a:bodyPr/>
                  <a:lstStyle/>
                  <a:p>
                    <a:r>
                      <a:t>SCHICK XTREME 3 SENSITIVE BLACK GREEN 3 BLADE DISPOSABLE SENSITIVE 20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99F-4374-933C-119751F7B1D3}"/>
                </c:ext>
              </c:extLst>
            </c:dLbl>
            <c:dLbl>
              <c:idx val="4"/>
              <c:tx>
                <c:rich>
                  <a:bodyPr/>
                  <a:lstStyle/>
                  <a:p>
                    <a:r>
                      <a:t>GILLETTE FUSION 5 PROGLIDE 5 BLADE RAZOR NORMAL 1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99F-4374-933C-119751F7B1D3}"/>
                </c:ext>
              </c:extLst>
            </c:dLbl>
            <c:dLbl>
              <c:idx val="5"/>
              <c:tx>
                <c:rich>
                  <a:bodyPr/>
                  <a:lstStyle/>
                  <a:p>
                    <a:r>
                      <a:t>GILLETTE SKINGUARD POWER 2 BLADE REFILL SENSITIVE 1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499F-4374-933C-119751F7B1D3}"/>
                </c:ext>
              </c:extLst>
            </c:dLbl>
            <c:dLbl>
              <c:idx val="6"/>
              <c:tx>
                <c:rich>
                  <a:bodyPr/>
                  <a:lstStyle/>
                  <a:p>
                    <a:r>
                      <a:t>GILLETTE FUSION 5 5 BLADE RAZOR NORMAL 9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499F-4374-933C-119751F7B1D3}"/>
                </c:ext>
              </c:extLst>
            </c:dLbl>
            <c:dLbl>
              <c:idx val="7"/>
              <c:tx>
                <c:rich>
                  <a:bodyPr/>
                  <a:lstStyle/>
                  <a:p>
                    <a:r>
                      <a:t>GILLETTE SENSOR 3 SENSITIVE BLUE GREEN 3 BLADE DISPOSABLE SENSITIVE 2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499F-4374-933C-119751F7B1D3}"/>
                </c:ext>
              </c:extLst>
            </c:dLbl>
            <c:dLbl>
              <c:idx val="8"/>
              <c:tx>
                <c:rich>
                  <a:bodyPr/>
                  <a:lstStyle/>
                  <a:p>
                    <a:r>
                      <a:t>HARRY'S ORANGE 5 BLADE RAZOR NORMAL 11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8-499F-4374-933C-119751F7B1D3}"/>
                </c:ext>
              </c:extLst>
            </c:dLbl>
            <c:dLbl>
              <c:idx val="9"/>
              <c:tx>
                <c:rich>
                  <a:bodyPr/>
                  <a:lstStyle/>
                  <a:p>
                    <a:r>
                      <a:t>SCHICK XTREME 3 SENSITIVE BLACK 3 BLADE DISPOSABLE SENSITIVE 20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499F-4374-933C-119751F7B1D3}"/>
                </c:ext>
              </c:extLst>
            </c:dLbl>
            <c:dLbl>
              <c:idx val="10"/>
              <c:tx>
                <c:rich>
                  <a:bodyPr/>
                  <a:lstStyle/>
                  <a:p>
                    <a:r>
                      <a:t>BIC FLEX 5 BLACK WHITE 5 BLADE DISPOSABLE NORMAL 9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499F-4374-933C-119751F7B1D3}"/>
                </c:ext>
              </c:extLst>
            </c:dLbl>
            <c:dLbl>
              <c:idx val="11"/>
              <c:tx>
                <c:rich>
                  <a:bodyPr/>
                  <a:lstStyle/>
                  <a:p>
                    <a:r>
                      <a:t>GILLETTE INTIMATE BLACK 5 BLADE RAZOR 9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499F-4374-933C-119751F7B1D3}"/>
                </c:ext>
              </c:extLst>
            </c:dLbl>
            <c:dLbl>
              <c:idx val="12"/>
              <c:tx>
                <c:rich>
                  <a:bodyPr/>
                  <a:lstStyle/>
                  <a:p>
                    <a:r>
                      <a:t>GILLETTE FUSION 5 PROGLIDE 5 BLADE REFILL NORMAL 15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499F-4374-933C-119751F7B1D3}"/>
                </c:ext>
              </c:extLst>
            </c:dLbl>
            <c:dLbl>
              <c:idx val="13"/>
              <c:tx>
                <c:rich>
                  <a:bodyPr/>
                  <a:lstStyle/>
                  <a:p>
                    <a:r>
                      <a:t>GILLETTE LABS 5 BLADE RAZOR NORMAL 6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D-499F-4374-933C-119751F7B1D3}"/>
                </c:ext>
              </c:extLst>
            </c:dLbl>
            <c:dLbl>
              <c:idx val="14"/>
              <c:tx>
                <c:rich>
                  <a:bodyPr/>
                  <a:lstStyle/>
                  <a:p>
                    <a:r>
                      <a:t>BIC 3 SENSITIVE BLUE GRAY 3 BLADE DISPOSABLE SENSITIVE 21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E-499F-4374-933C-119751F7B1D3}"/>
                </c:ext>
              </c:extLst>
            </c:dLbl>
            <c:dLbl>
              <c:idx val="15"/>
              <c:tx>
                <c:rich>
                  <a:bodyPr/>
                  <a:lstStyle/>
                  <a:p>
                    <a:r>
                      <a:t>GILLETTE FUSION 5 PROGLIDE 5 BLADE REFILL NORMAL 1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F-499F-4374-933C-119751F7B1D3}"/>
                </c:ext>
              </c:extLst>
            </c:dLbl>
            <c:dLbl>
              <c:idx val="16"/>
              <c:tx>
                <c:rich>
                  <a:bodyPr/>
                  <a:lstStyle/>
                  <a:p>
                    <a:r>
                      <a:t>SCHICK XTREME 3 SENSITIVE 3 BLADE DISPOSABLE SENSITIVE 25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17EC-4EE8-A064-668E05F5E5BB}"/>
                </c:ext>
              </c:extLst>
            </c:dLbl>
            <c:dLbl>
              <c:idx val="17"/>
              <c:tx>
                <c:rich>
                  <a:bodyPr/>
                  <a:lstStyle/>
                  <a:p>
                    <a:fld id="{52B0A280-56B9-4A0E-A5D9-ACDED3C9B0B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499F-4374-933C-119751F7B1D3}"/>
                </c:ext>
              </c:extLst>
            </c:dLbl>
            <c:dLbl>
              <c:idx val="18"/>
              <c:tx>
                <c:rich>
                  <a:bodyPr/>
                  <a:lstStyle/>
                  <a:p>
                    <a:fld id="{A9D9B03C-5D9C-4E59-BA90-F65C099472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05C-4186-8239-DC3766495C90}"/>
                </c:ext>
              </c:extLst>
            </c:dLbl>
            <c:dLbl>
              <c:idx val="19"/>
              <c:tx>
                <c:rich>
                  <a:bodyPr/>
                  <a:lstStyle/>
                  <a:p>
                    <a:fld id="{936856CB-08A8-4CC6-825B-9CEB619BDB1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499F-4374-933C-119751F7B1D3}"/>
                </c:ext>
              </c:extLst>
            </c:dLbl>
            <c:dLbl>
              <c:idx val="20"/>
              <c:tx>
                <c:rich>
                  <a:bodyPr/>
                  <a:lstStyle/>
                  <a:p>
                    <a:fld id="{E3DD39CE-802D-4593-965C-A76CC11861B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499F-4374-933C-119751F7B1D3}"/>
                </c:ext>
              </c:extLst>
            </c:dLbl>
            <c:dLbl>
              <c:idx val="21"/>
              <c:tx>
                <c:rich>
                  <a:bodyPr/>
                  <a:lstStyle/>
                  <a:p>
                    <a:fld id="{3E4FA0FD-A906-4FE2-862F-3202AEE7826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499F-4374-933C-119751F7B1D3}"/>
                </c:ext>
              </c:extLst>
            </c:dLbl>
            <c:dLbl>
              <c:idx val="22"/>
              <c:tx>
                <c:rich>
                  <a:bodyPr/>
                  <a:lstStyle/>
                  <a:p>
                    <a:fld id="{1465AE0D-E47E-417E-9019-49D6C660AD2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499F-4374-933C-119751F7B1D3}"/>
                </c:ext>
              </c:extLst>
            </c:dLbl>
            <c:dLbl>
              <c:idx val="23"/>
              <c:tx>
                <c:rich>
                  <a:bodyPr/>
                  <a:lstStyle/>
                  <a:p>
                    <a:fld id="{08FDA558-A41B-45E6-8236-FCE89766B10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499F-4374-933C-119751F7B1D3}"/>
                </c:ext>
              </c:extLst>
            </c:dLbl>
            <c:dLbl>
              <c:idx val="24"/>
              <c:tx>
                <c:rich>
                  <a:bodyPr/>
                  <a:lstStyle/>
                  <a:p>
                    <a:fld id="{5DF9096C-8CF5-4EC8-80F1-D174376B3B9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499F-4374-933C-119751F7B1D3}"/>
                </c:ext>
              </c:extLst>
            </c:dLbl>
            <c:dLbl>
              <c:idx val="25"/>
              <c:tx>
                <c:rich>
                  <a:bodyPr/>
                  <a:lstStyle/>
                  <a:p>
                    <a:fld id="{ECCB20C7-623E-4ADD-8982-5425D5500F2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499F-4374-933C-119751F7B1D3}"/>
                </c:ext>
              </c:extLst>
            </c:dLbl>
            <c:dLbl>
              <c:idx val="26"/>
              <c:tx>
                <c:rich>
                  <a:bodyPr/>
                  <a:lstStyle/>
                  <a:p>
                    <a:fld id="{97E42D30-49B7-4F09-9EDA-85BDDEDF4BC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499F-4374-933C-119751F7B1D3}"/>
                </c:ext>
              </c:extLst>
            </c:dLbl>
            <c:dLbl>
              <c:idx val="27"/>
              <c:tx>
                <c:rich>
                  <a:bodyPr/>
                  <a:lstStyle/>
                  <a:p>
                    <a:fld id="{14216E9A-6BB3-4B6B-9875-26F5A371E73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499F-4374-933C-119751F7B1D3}"/>
                </c:ext>
              </c:extLst>
            </c:dLbl>
            <c:dLbl>
              <c:idx val="28"/>
              <c:tx>
                <c:rich>
                  <a:bodyPr/>
                  <a:lstStyle/>
                  <a:p>
                    <a:fld id="{DBA925C0-C64B-4F15-9585-CF195FEAA64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499F-4374-933C-119751F7B1D3}"/>
                </c:ext>
              </c:extLst>
            </c:dLbl>
            <c:dLbl>
              <c:idx val="29"/>
              <c:tx>
                <c:rich>
                  <a:bodyPr/>
                  <a:lstStyle/>
                  <a:p>
                    <a:fld id="{1AB73F0A-A7C0-441E-A9AD-01349B9591D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499F-4374-933C-119751F7B1D3}"/>
                </c:ext>
              </c:extLst>
            </c:dLbl>
            <c:dLbl>
              <c:idx val="30"/>
              <c:tx>
                <c:rich>
                  <a:bodyPr/>
                  <a:lstStyle/>
                  <a:p>
                    <a:fld id="{443C74BA-DB65-405D-BBEA-6A38E408787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499F-4374-933C-119751F7B1D3}"/>
                </c:ext>
              </c:extLst>
            </c:dLbl>
            <c:dLbl>
              <c:idx val="31"/>
              <c:tx>
                <c:rich>
                  <a:bodyPr/>
                  <a:lstStyle/>
                  <a:p>
                    <a:fld id="{FBA1BCEF-14E0-4BAF-A96A-31DD96BE819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99F-4374-933C-119751F7B1D3}"/>
                </c:ext>
              </c:extLst>
            </c:dLbl>
            <c:dLbl>
              <c:idx val="32"/>
              <c:tx>
                <c:rich>
                  <a:bodyPr/>
                  <a:lstStyle/>
                  <a:p>
                    <a:fld id="{C8C3F56C-2886-48F9-9A30-482C1E5F604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499F-4374-933C-119751F7B1D3}"/>
                </c:ext>
              </c:extLst>
            </c:dLbl>
            <c:dLbl>
              <c:idx val="33"/>
              <c:tx>
                <c:rich>
                  <a:bodyPr/>
                  <a:lstStyle/>
                  <a:p>
                    <a:fld id="{C4206A44-42DE-40AD-9F80-F7BCB03A1B8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499F-4374-933C-119751F7B1D3}"/>
                </c:ext>
              </c:extLst>
            </c:dLbl>
            <c:dLbl>
              <c:idx val="34"/>
              <c:tx>
                <c:rich>
                  <a:bodyPr/>
                  <a:lstStyle/>
                  <a:p>
                    <a:fld id="{25B1ED44-814C-46F7-8BE0-9C54C54E28F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499F-4374-933C-119751F7B1D3}"/>
                </c:ext>
              </c:extLst>
            </c:dLbl>
            <c:dLbl>
              <c:idx val="35"/>
              <c:tx>
                <c:rich>
                  <a:bodyPr/>
                  <a:lstStyle/>
                  <a:p>
                    <a:fld id="{39CFEE08-18BA-430E-A1EB-C4DEABF0E78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499F-4374-933C-119751F7B1D3}"/>
                </c:ext>
              </c:extLst>
            </c:dLbl>
            <c:dLbl>
              <c:idx val="36"/>
              <c:tx>
                <c:rich>
                  <a:bodyPr/>
                  <a:lstStyle/>
                  <a:p>
                    <a:fld id="{5F6F1FCD-4C12-4E1C-9944-BCA89386BF7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499F-4374-933C-119751F7B1D3}"/>
                </c:ext>
              </c:extLst>
            </c:dLbl>
            <c:dLbl>
              <c:idx val="37"/>
              <c:tx>
                <c:rich>
                  <a:bodyPr/>
                  <a:lstStyle/>
                  <a:p>
                    <a:fld id="{92F3D144-7DCF-43D1-BAB3-1C916C5CCF9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499F-4374-933C-119751F7B1D3}"/>
                </c:ext>
              </c:extLst>
            </c:dLbl>
            <c:dLbl>
              <c:idx val="38"/>
              <c:tx>
                <c:rich>
                  <a:bodyPr/>
                  <a:lstStyle/>
                  <a:p>
                    <a:fld id="{B32B5A36-BE35-47BC-A86A-3F0A7F9ACC5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499F-4374-933C-119751F7B1D3}"/>
                </c:ext>
              </c:extLst>
            </c:dLbl>
            <c:dLbl>
              <c:idx val="39"/>
              <c:tx>
                <c:rich>
                  <a:bodyPr/>
                  <a:lstStyle/>
                  <a:p>
                    <a:fld id="{E7651BD1-2441-4927-9DCF-87B4CF1EE68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499F-4374-933C-119751F7B1D3}"/>
                </c:ext>
              </c:extLst>
            </c:dLbl>
            <c:dLbl>
              <c:idx val="40"/>
              <c:tx>
                <c:rich>
                  <a:bodyPr/>
                  <a:lstStyle/>
                  <a:p>
                    <a:fld id="{4DA7021D-ABF8-450C-BDA1-AEC4BBDA006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499F-4374-933C-119751F7B1D3}"/>
                </c:ext>
              </c:extLst>
            </c:dLbl>
            <c:dLbl>
              <c:idx val="41"/>
              <c:tx>
                <c:rich>
                  <a:bodyPr/>
                  <a:lstStyle/>
                  <a:p>
                    <a:fld id="{BBC44CFC-CDD0-4246-9AD4-820C877F057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499F-4374-933C-119751F7B1D3}"/>
                </c:ext>
              </c:extLst>
            </c:dLbl>
            <c:dLbl>
              <c:idx val="42"/>
              <c:tx>
                <c:rich>
                  <a:bodyPr/>
                  <a:lstStyle/>
                  <a:p>
                    <a:fld id="{132A5DB5-FE7D-448D-8A43-ED621BD3CA4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499F-4374-933C-119751F7B1D3}"/>
                </c:ext>
              </c:extLst>
            </c:dLbl>
            <c:dLbl>
              <c:idx val="43"/>
              <c:tx>
                <c:rich>
                  <a:bodyPr/>
                  <a:lstStyle/>
                  <a:p>
                    <a:fld id="{8B2A63E6-C1D0-43E8-9ED8-C7DFF46C64B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499F-4374-933C-119751F7B1D3}"/>
                </c:ext>
              </c:extLst>
            </c:dLbl>
            <c:dLbl>
              <c:idx val="44"/>
              <c:tx>
                <c:rich>
                  <a:bodyPr/>
                  <a:lstStyle/>
                  <a:p>
                    <a:fld id="{83232841-2B54-4480-88EE-483E497C83D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499F-4374-933C-119751F7B1D3}"/>
                </c:ext>
              </c:extLst>
            </c:dLbl>
            <c:dLbl>
              <c:idx val="45"/>
              <c:tx>
                <c:rich>
                  <a:bodyPr/>
                  <a:lstStyle/>
                  <a:p>
                    <a:fld id="{15AFD088-46BC-421D-BB66-FE33BDA3A0D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499F-4374-933C-119751F7B1D3}"/>
                </c:ext>
              </c:extLst>
            </c:dLbl>
            <c:dLbl>
              <c:idx val="46"/>
              <c:tx>
                <c:rich>
                  <a:bodyPr/>
                  <a:lstStyle/>
                  <a:p>
                    <a:fld id="{E5DF0A95-C12A-42BC-94BE-C9BC59A84DD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499F-4374-933C-119751F7B1D3}"/>
                </c:ext>
              </c:extLst>
            </c:dLbl>
            <c:dLbl>
              <c:idx val="47"/>
              <c:tx>
                <c:rich>
                  <a:bodyPr/>
                  <a:lstStyle/>
                  <a:p>
                    <a:fld id="{22C280B0-1470-4D07-8D4B-B713D84CF50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8</c:f>
              <c:numCache>
                <c:formatCode>General</c:formatCode>
                <c:ptCount val="17"/>
                <c:pt idx="0">
                  <c:v>0.1</c:v>
                </c:pt>
                <c:pt idx="1">
                  <c:v>0.1</c:v>
                </c:pt>
                <c:pt idx="2">
                  <c:v>0.09</c:v>
                </c:pt>
                <c:pt idx="3">
                  <c:v>0.19</c:v>
                </c:pt>
                <c:pt idx="4">
                  <c:v>0.09</c:v>
                </c:pt>
                <c:pt idx="5">
                  <c:v>0.15</c:v>
                </c:pt>
                <c:pt idx="6">
                  <c:v>0.16</c:v>
                </c:pt>
                <c:pt idx="7">
                  <c:v>0.11</c:v>
                </c:pt>
                <c:pt idx="8">
                  <c:v>0.15</c:v>
                </c:pt>
                <c:pt idx="9">
                  <c:v>0.13</c:v>
                </c:pt>
                <c:pt idx="10">
                  <c:v>0.14000000000000001</c:v>
                </c:pt>
                <c:pt idx="11">
                  <c:v>0.63</c:v>
                </c:pt>
                <c:pt idx="12">
                  <c:v>0.32</c:v>
                </c:pt>
                <c:pt idx="13">
                  <c:v>0.18</c:v>
                </c:pt>
                <c:pt idx="14">
                  <c:v>0.19</c:v>
                </c:pt>
                <c:pt idx="15">
                  <c:v>0.09</c:v>
                </c:pt>
                <c:pt idx="16">
                  <c:v>0.17</c:v>
                </c:pt>
              </c:numCache>
            </c:numRef>
          </c:xVal>
          <c:yVal>
            <c:numRef>
              <c:f>Sheet1!$B$2:$B$18</c:f>
              <c:numCache>
                <c:formatCode>General</c:formatCode>
                <c:ptCount val="17"/>
                <c:pt idx="0">
                  <c:v>0.4197143642953225</c:v>
                </c:pt>
                <c:pt idx="1">
                  <c:v>0.32320337539724059</c:v>
                </c:pt>
                <c:pt idx="2">
                  <c:v>0.36277329371209649</c:v>
                </c:pt>
                <c:pt idx="3">
                  <c:v>0.52921708306887005</c:v>
                </c:pt>
                <c:pt idx="4">
                  <c:v>0.23922403546093141</c:v>
                </c:pt>
                <c:pt idx="5">
                  <c:v>0.49381739022692223</c:v>
                </c:pt>
                <c:pt idx="6">
                  <c:v>0.57079318111289845</c:v>
                </c:pt>
                <c:pt idx="7">
                  <c:v>0.64009917186930121</c:v>
                </c:pt>
                <c:pt idx="8">
                  <c:v>0.81178606152356747</c:v>
                </c:pt>
                <c:pt idx="9">
                  <c:v>0.25939355305945577</c:v>
                </c:pt>
                <c:pt idx="10">
                  <c:v>0.44598121117037659</c:v>
                </c:pt>
                <c:pt idx="11">
                  <c:v>0.83815836216272344</c:v>
                </c:pt>
                <c:pt idx="12">
                  <c:v>0.88365894747429019</c:v>
                </c:pt>
                <c:pt idx="13">
                  <c:v>1.579525116803479</c:v>
                </c:pt>
                <c:pt idx="14">
                  <c:v>0.68008821676118458</c:v>
                </c:pt>
                <c:pt idx="15">
                  <c:v>7.4240719910011244E-2</c:v>
                </c:pt>
                <c:pt idx="16">
                  <c:v>0.27878787878787881</c:v>
                </c:pt>
              </c:numCache>
            </c:numRef>
          </c:yVal>
          <c:smooth val="0"/>
          <c:extLst>
            <c:ext xmlns:c15="http://schemas.microsoft.com/office/drawing/2012/chart" uri="{02D57815-91ED-43cb-92C2-25804820EDAC}">
              <c15:datalabelsRange>
                <c15:f>Sheet1!$E$2:$E$51</c15:f>
                <c15:dlblRangeCache>
                  <c:ptCount val="50"/>
                  <c:pt idx="0">
                    <c:v>GILLETTE FUSION 5 5 BLADE REFILL NORMAL 16CT</c:v>
                  </c:pt>
                  <c:pt idx="1">
                    <c:v>GILLETTE MACH 3 3 BLADE REFILL NORMAL 20CT</c:v>
                  </c:pt>
                  <c:pt idx="2">
                    <c:v>GILLETTE SENSOR 2 PLUS PIVOT 2 BLADE DISPOSABLE NORMAL 52CT</c:v>
                  </c:pt>
                  <c:pt idx="3">
                    <c:v>SCHICK XTREME 3 SENSITIVE BLACK GREEN 3 BLADE DISPOSABLE SENSITIVE 20CT</c:v>
                  </c:pt>
                  <c:pt idx="4">
                    <c:v>GILLETTE FUSION 5 PROGLIDE 5 BLADE RAZOR NORMAL 13CT</c:v>
                  </c:pt>
                  <c:pt idx="5">
                    <c:v>GILLETTE SKINGUARD POWER 2 BLADE REFILL SENSITIVE 13CT</c:v>
                  </c:pt>
                  <c:pt idx="6">
                    <c:v>GILLETTE FUSION 5 5 BLADE RAZOR NORMAL 9CT</c:v>
                  </c:pt>
                  <c:pt idx="7">
                    <c:v>GILLETTE SENSOR 3 SENSITIVE BLUE GREEN 3 BLADE DISPOSABLE SENSITIVE 24CT</c:v>
                  </c:pt>
                  <c:pt idx="8">
                    <c:v>HARRY'S ORANGE 5 BLADE RAZOR NORMAL 11CT</c:v>
                  </c:pt>
                  <c:pt idx="9">
                    <c:v>SCHICK XTREME 3 SENSITIVE BLACK 3 BLADE DISPOSABLE SENSITIVE 20CT</c:v>
                  </c:pt>
                  <c:pt idx="10">
                    <c:v>BIC FLEX 5 BLACK WHITE 5 BLADE DISPOSABLE NORMAL 9CT</c:v>
                  </c:pt>
                  <c:pt idx="11">
                    <c:v>GILLETTE INTIMATE BLACK 5 BLADE RAZOR 9CT</c:v>
                  </c:pt>
                  <c:pt idx="12">
                    <c:v>GILLETTE FUSION 5 PROGLIDE 5 BLADE REFILL NORMAL 15CT</c:v>
                  </c:pt>
                  <c:pt idx="13">
                    <c:v>GILLETTE LABS 5 BLADE RAZOR NORMAL 6CT</c:v>
                  </c:pt>
                  <c:pt idx="14">
                    <c:v>BIC 3 SENSITIVE BLUE GRAY 3 BLADE DISPOSABLE SENSITIVE 21CT</c:v>
                  </c:pt>
                  <c:pt idx="15">
                    <c:v>GILLETTE FUSION 5 PROGLIDE 5 BLADE REFILL NORMAL 13CT</c:v>
                  </c:pt>
                  <c:pt idx="16">
                    <c:v>SCHICK XTREME 3 SENSITIVE 3 BLADE DISPOSABLE SENSITIVE 25CT</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max val="0.75600000000000001"/>
          <c:min val="7.1999999999999995E-2"/>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1.8954301401641751"/>
          <c:min val="5.9392575928008999E-2"/>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r>
                      <a:t>GILLETTE FUSION 5 BLACK HOLIDAY GIFT PACK 5 BLADE RAZOR NORMAL 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99F-4374-933C-119751F7B1D3}"/>
                </c:ext>
              </c:extLst>
            </c:dLbl>
            <c:dLbl>
              <c:idx val="1"/>
              <c:tx>
                <c:rich>
                  <a:bodyPr/>
                  <a:lstStyle/>
                  <a:p>
                    <a:r>
                      <a:t>BIC COMFORT 3 BLACK HOLIDAY GIFT PACK 3 BLADE HYBRID NORMAL 15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99F-4374-933C-119751F7B1D3}"/>
                </c:ext>
              </c:extLst>
            </c:dLbl>
            <c:dLbl>
              <c:idx val="2"/>
              <c:tx>
                <c:rich>
                  <a:bodyPr/>
                  <a:lstStyle/>
                  <a:p>
                    <a:r>
                      <a:t>GILLETTE FUSION 5 PROGLIDE 5 BLADE REFILL NORMAL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99F-4374-933C-119751F7B1D3}"/>
                </c:ext>
              </c:extLst>
            </c:dLbl>
            <c:dLbl>
              <c:idx val="3"/>
              <c:tx>
                <c:rich>
                  <a:bodyPr/>
                  <a:lstStyle/>
                  <a:p>
                    <a:r>
                      <a:t>HYDRO 5 SENSITIVE 5 BLADE REFILL SENSITIVE 6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99F-4374-933C-119751F7B1D3}"/>
                </c:ext>
              </c:extLst>
            </c:dLbl>
            <c:dLbl>
              <c:idx val="4"/>
              <c:tx>
                <c:rich>
                  <a:bodyPr/>
                  <a:lstStyle/>
                  <a:p>
                    <a:r>
                      <a:t>HYDRO 5 SENSITIVE GRAY HOLIDAY GIFT PACK 5 BLADE RAZOR SENSITIVE 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99F-4374-933C-119751F7B1D3}"/>
                </c:ext>
              </c:extLst>
            </c:dLbl>
            <c:dLbl>
              <c:idx val="5"/>
              <c:tx>
                <c:rich>
                  <a:bodyPr/>
                  <a:lstStyle/>
                  <a:p>
                    <a:r>
                      <a:t>GILLETTE FUSION 5 PROGLIDE 5 BLADE REFILL NORMAL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499F-4374-933C-119751F7B1D3}"/>
                </c:ext>
              </c:extLst>
            </c:dLbl>
            <c:dLbl>
              <c:idx val="6"/>
              <c:tx>
                <c:rich>
                  <a:bodyPr/>
                  <a:lstStyle/>
                  <a:p>
                    <a:r>
                      <a:t>SCHICK XTREME 3 SENSITIVE GREEN HOLIDAY GIFT PACK 3 BLADE DISPOSABLE SENSITIVE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499F-4374-933C-119751F7B1D3}"/>
                </c:ext>
              </c:extLst>
            </c:dLbl>
            <c:dLbl>
              <c:idx val="7"/>
              <c:tx>
                <c:rich>
                  <a:bodyPr/>
                  <a:lstStyle/>
                  <a:p>
                    <a:r>
                      <a:t>BIC FLEX 5 HYBRID BLACK WHITE HOLIDAY GIFT PACK 5 BLADE HYBRID NORMAL 7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499F-4374-933C-119751F7B1D3}"/>
                </c:ext>
              </c:extLst>
            </c:dLbl>
            <c:dLbl>
              <c:idx val="8"/>
              <c:tx>
                <c:rich>
                  <a:bodyPr/>
                  <a:lstStyle/>
                  <a:p>
                    <a:r>
                      <a:t>HYDRO 5 SENSITIVE 5 BLADE REFILL SENSITIVE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8-499F-4374-933C-119751F7B1D3}"/>
                </c:ext>
              </c:extLst>
            </c:dLbl>
            <c:dLbl>
              <c:idx val="9"/>
              <c:tx>
                <c:rich>
                  <a:bodyPr/>
                  <a:lstStyle/>
                  <a:p>
                    <a:r>
                      <a:t>GILLETTE LABS ARCTIC CAMO HOLIDAY GIFT PACK 5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499F-4374-933C-119751F7B1D3}"/>
                </c:ext>
              </c:extLst>
            </c:dLbl>
            <c:dLbl>
              <c:idx val="10"/>
              <c:tx>
                <c:rich>
                  <a:bodyPr/>
                  <a:lstStyle/>
                  <a:p>
                    <a:r>
                      <a:t>DOLLAR SHAVE CLUB BLACK 6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499F-4374-933C-119751F7B1D3}"/>
                </c:ext>
              </c:extLst>
            </c:dLbl>
            <c:dLbl>
              <c:idx val="11"/>
              <c:tx>
                <c:rich>
                  <a:bodyPr/>
                  <a:lstStyle/>
                  <a:p>
                    <a:r>
                      <a:t>GILLETTE FUSION 5 PROGLIDE 5 BLADE RAZOR NORMAL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499F-4374-933C-119751F7B1D3}"/>
                </c:ext>
              </c:extLst>
            </c:dLbl>
            <c:dLbl>
              <c:idx val="12"/>
              <c:tx>
                <c:rich>
                  <a:bodyPr/>
                  <a:lstStyle/>
                  <a:p>
                    <a:r>
                      <a:t>DOLLAR SHAVE CLUB 6 BLADE REFILL NORMAL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499F-4374-933C-119751F7B1D3}"/>
                </c:ext>
              </c:extLst>
            </c:dLbl>
            <c:dLbl>
              <c:idx val="13"/>
              <c:tx>
                <c:rich>
                  <a:bodyPr/>
                  <a:lstStyle/>
                  <a:p>
                    <a:r>
                      <a:t>BIC COMFORT 3 HYBRID 3 BLADE HYBRID SENSITIVE 6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D-499F-4374-933C-119751F7B1D3}"/>
                </c:ext>
              </c:extLst>
            </c:dLbl>
            <c:dLbl>
              <c:idx val="14"/>
              <c:tx>
                <c:rich>
                  <a:bodyPr/>
                  <a:lstStyle/>
                  <a:p>
                    <a:r>
                      <a:t>BIC FLEX 5 WHITE BLACK HOLIDAY GIFT PACK 5 BLADE DISPOSABLE NORMAL 6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E-499F-4374-933C-119751F7B1D3}"/>
                </c:ext>
              </c:extLst>
            </c:dLbl>
            <c:dLbl>
              <c:idx val="15"/>
              <c:tx>
                <c:rich>
                  <a:bodyPr/>
                  <a:lstStyle/>
                  <a:p>
                    <a:r>
                      <a:t>GILLETTE FUSION 5 5 BLADE RAZOR NORMAL 5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F-499F-4374-933C-119751F7B1D3}"/>
                </c:ext>
              </c:extLst>
            </c:dLbl>
            <c:dLbl>
              <c:idx val="16"/>
              <c:tx>
                <c:rich>
                  <a:bodyPr/>
                  <a:lstStyle/>
                  <a:p>
                    <a:r>
                      <a:t>GILLETTE LABS 5 BLADE RAZOR NORMAL 1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17EC-4EE8-A064-668E05F5E5BB}"/>
                </c:ext>
              </c:extLst>
            </c:dLbl>
            <c:dLbl>
              <c:idx val="17"/>
              <c:tx>
                <c:rich>
                  <a:bodyPr/>
                  <a:lstStyle/>
                  <a:p>
                    <a:r>
                      <a:t>BIC FLEX 3 3 BLADE DISPOSABLE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499F-4374-933C-119751F7B1D3}"/>
                </c:ext>
              </c:extLst>
            </c:dLbl>
            <c:dLbl>
              <c:idx val="18"/>
              <c:tx>
                <c:rich>
                  <a:bodyPr/>
                  <a:lstStyle/>
                  <a:p>
                    <a:r>
                      <a:t>EQUATE CALIBER 5 5 BLADE DISPOSABLE NORMAL 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E05C-4186-8239-DC3766495C90}"/>
                </c:ext>
              </c:extLst>
            </c:dLbl>
            <c:dLbl>
              <c:idx val="19"/>
              <c:tx>
                <c:rich>
                  <a:bodyPr/>
                  <a:lstStyle/>
                  <a:p>
                    <a:r>
                      <a:t>GILLETTE FUSION 5 5 BLADE REFILL NORMAL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499F-4374-933C-119751F7B1D3}"/>
                </c:ext>
              </c:extLst>
            </c:dLbl>
            <c:dLbl>
              <c:idx val="20"/>
              <c:tx>
                <c:rich>
                  <a:bodyPr/>
                  <a:lstStyle/>
                  <a:p>
                    <a:r>
                      <a:t>EQUATE TB (TWIN BLADE) BLUE 2 BLADE DISPOSABLE NORMAL 5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499F-4374-933C-119751F7B1D3}"/>
                </c:ext>
              </c:extLst>
            </c:dLbl>
            <c:dLbl>
              <c:idx val="21"/>
              <c:tx>
                <c:rich>
                  <a:bodyPr/>
                  <a:lstStyle/>
                  <a:p>
                    <a:r>
                      <a:t>SCHICK XTREME 3 SENSITIVE GREEN 3 BLADE DISPOSABLE SENSITIVE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3-499F-4374-933C-119751F7B1D3}"/>
                </c:ext>
              </c:extLst>
            </c:dLbl>
            <c:dLbl>
              <c:idx val="22"/>
              <c:tx>
                <c:rich>
                  <a:bodyPr/>
                  <a:lstStyle/>
                  <a:p>
                    <a:r>
                      <a:t>GILLETTE MACH 3 3 BLADE REFILL NORMAL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4-499F-4374-933C-119751F7B1D3}"/>
                </c:ext>
              </c:extLst>
            </c:dLbl>
            <c:dLbl>
              <c:idx val="23"/>
              <c:tx>
                <c:rich>
                  <a:bodyPr/>
                  <a:lstStyle/>
                  <a:p>
                    <a:r>
                      <a:t>GILLETTE LABS 5 BLADE REFILL NORMAL 6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499F-4374-933C-119751F7B1D3}"/>
                </c:ext>
              </c:extLst>
            </c:dLbl>
            <c:dLbl>
              <c:idx val="24"/>
              <c:tx>
                <c:rich>
                  <a:bodyPr/>
                  <a:lstStyle/>
                  <a:p>
                    <a:r>
                      <a:t>HYDRO 5 SENSITIVE 5 BLADE RAZOR SENSITIVE 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499F-4374-933C-119751F7B1D3}"/>
                </c:ext>
              </c:extLst>
            </c:dLbl>
            <c:dLbl>
              <c:idx val="25"/>
              <c:tx>
                <c:rich>
                  <a:bodyPr/>
                  <a:lstStyle/>
                  <a:p>
                    <a:r>
                      <a:t>SCHICK XTREME 3 SENSITIVE BLACK 3 BLADE DISPOSABLE SENSITIVE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499F-4374-933C-119751F7B1D3}"/>
                </c:ext>
              </c:extLst>
            </c:dLbl>
            <c:dLbl>
              <c:idx val="26"/>
              <c:tx>
                <c:rich>
                  <a:bodyPr/>
                  <a:lstStyle/>
                  <a:p>
                    <a:r>
                      <a:t>SCHICK XTREME 2 SENSITIVE 2 BLADE DISPOSABLE NORMAL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499F-4374-933C-119751F7B1D3}"/>
                </c:ext>
              </c:extLst>
            </c:dLbl>
            <c:dLbl>
              <c:idx val="27"/>
              <c:tx>
                <c:rich>
                  <a:bodyPr/>
                  <a:lstStyle/>
                  <a:p>
                    <a:r>
                      <a:t>DOLLAR SHAVE CLUB 6 BLADE REFILL NORMAL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499F-4374-933C-119751F7B1D3}"/>
                </c:ext>
              </c:extLst>
            </c:dLbl>
            <c:dLbl>
              <c:idx val="28"/>
              <c:tx>
                <c:rich>
                  <a:bodyPr/>
                  <a:lstStyle/>
                  <a:p>
                    <a:r>
                      <a:t>GILLETTE MACH 3 3 BLADE DISPOSABLE SENSITIVE 6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A-499F-4374-933C-119751F7B1D3}"/>
                </c:ext>
              </c:extLst>
            </c:dLbl>
            <c:dLbl>
              <c:idx val="29"/>
              <c:tx>
                <c:rich>
                  <a:bodyPr/>
                  <a:lstStyle/>
                  <a:p>
                    <a:r>
                      <a:t>GILLETTE FUSION 5 5 BLADE RAZOR NORMAL 1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B-499F-4374-933C-119751F7B1D3}"/>
                </c:ext>
              </c:extLst>
            </c:dLbl>
            <c:dLbl>
              <c:idx val="30"/>
              <c:tx>
                <c:rich>
                  <a:bodyPr/>
                  <a:lstStyle/>
                  <a:p>
                    <a:r>
                      <a:t>HARRY'S 5 BLADE REFILL NORMAL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C-499F-4374-933C-119751F7B1D3}"/>
                </c:ext>
              </c:extLst>
            </c:dLbl>
            <c:dLbl>
              <c:idx val="31"/>
              <c:tx>
                <c:rich>
                  <a:bodyPr/>
                  <a:lstStyle/>
                  <a:p>
                    <a:r>
                      <a:t>GILLETTE LABS 5 BLADE RAZOR NORMAL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499F-4374-933C-119751F7B1D3}"/>
                </c:ext>
              </c:extLst>
            </c:dLbl>
            <c:dLbl>
              <c:idx val="32"/>
              <c:tx>
                <c:rich>
                  <a:bodyPr/>
                  <a:lstStyle/>
                  <a:p>
                    <a:r>
                      <a:t>SCHICK XTREME 3 SENSITIVE BLACK GREEN 3 BLADE DISPOSABLE SENSITIVE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E-499F-4374-933C-119751F7B1D3}"/>
                </c:ext>
              </c:extLst>
            </c:dLbl>
            <c:dLbl>
              <c:idx val="33"/>
              <c:tx>
                <c:rich>
                  <a:bodyPr/>
                  <a:lstStyle/>
                  <a:p>
                    <a:r>
                      <a:t>GILLETTE FUSION 5 PROSHIELD GRAY 5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F-499F-4374-933C-119751F7B1D3}"/>
                </c:ext>
              </c:extLst>
            </c:dLbl>
            <c:dLbl>
              <c:idx val="34"/>
              <c:tx>
                <c:rich>
                  <a:bodyPr/>
                  <a:lstStyle/>
                  <a:p>
                    <a:r>
                      <a:t>EQUATE EASY FIT 5 5 BLADE REFILL NORMAL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0-499F-4374-933C-119751F7B1D3}"/>
                </c:ext>
              </c:extLst>
            </c:dLbl>
            <c:dLbl>
              <c:idx val="35"/>
              <c:tx>
                <c:rich>
                  <a:bodyPr/>
                  <a:lstStyle/>
                  <a:p>
                    <a:r>
                      <a:t>GILLETTE LABS 5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1-499F-4374-933C-119751F7B1D3}"/>
                </c:ext>
              </c:extLst>
            </c:dLbl>
            <c:dLbl>
              <c:idx val="36"/>
              <c:tx>
                <c:rich>
                  <a:bodyPr/>
                  <a:lstStyle/>
                  <a:p>
                    <a:r>
                      <a:t>GILLETTE FUSION 5 PROGLIDE STYLER REM BLADES RAZOR 1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499F-4374-933C-119751F7B1D3}"/>
                </c:ext>
              </c:extLst>
            </c:dLbl>
            <c:dLbl>
              <c:idx val="37"/>
              <c:tx>
                <c:rich>
                  <a:bodyPr/>
                  <a:lstStyle/>
                  <a:p>
                    <a:r>
                      <a:t>GILLETTE MACH 3 3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499F-4374-933C-119751F7B1D3}"/>
                </c:ext>
              </c:extLst>
            </c:dLbl>
            <c:dLbl>
              <c:idx val="38"/>
              <c:tx>
                <c:rich>
                  <a:bodyPr/>
                  <a:lstStyle/>
                  <a:p>
                    <a:r>
                      <a:t>GILLETTE FUSION 5 5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499F-4374-933C-119751F7B1D3}"/>
                </c:ext>
              </c:extLst>
            </c:dLbl>
            <c:dLbl>
              <c:idx val="39"/>
              <c:tx>
                <c:rich>
                  <a:bodyPr/>
                  <a:lstStyle/>
                  <a:p>
                    <a:r>
                      <a:t>BIC FLEX 5 HYBRID 5 BLADE HYBRID NORMAL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5-499F-4374-933C-119751F7B1D3}"/>
                </c:ext>
              </c:extLst>
            </c:dLbl>
            <c:dLbl>
              <c:idx val="40"/>
              <c:tx>
                <c:rich>
                  <a:bodyPr/>
                  <a:lstStyle/>
                  <a:p>
                    <a:r>
                      <a:t>GILLETTE FUSION 5 5 BLADE RAZOR NORMAL 7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6-499F-4374-933C-119751F7B1D3}"/>
                </c:ext>
              </c:extLst>
            </c:dLbl>
            <c:dLbl>
              <c:idx val="41"/>
              <c:tx>
                <c:rich>
                  <a:bodyPr/>
                  <a:lstStyle/>
                  <a:p>
                    <a:r>
                      <a:t>BIC EASYRINSE BLUE 4 BLADE DISPOSABLE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7-499F-4374-933C-119751F7B1D3}"/>
                </c:ext>
              </c:extLst>
            </c:dLbl>
            <c:dLbl>
              <c:idx val="42"/>
              <c:tx>
                <c:rich>
                  <a:bodyPr/>
                  <a:lstStyle/>
                  <a:p>
                    <a:r>
                      <a:t>GILLETTE FUSION 5 PROGLIDE 5 BLADE RAZOR NORMAL 1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8-499F-4374-933C-119751F7B1D3}"/>
                </c:ext>
              </c:extLst>
            </c:dLbl>
            <c:dLbl>
              <c:idx val="43"/>
              <c:tx>
                <c:rich>
                  <a:bodyPr/>
                  <a:lstStyle/>
                  <a:p>
                    <a:r>
                      <a:t>BIC FLEX 5 BLACK WHITE 5 BLADE DISPOSABLE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9-499F-4374-933C-119751F7B1D3}"/>
                </c:ext>
              </c:extLst>
            </c:dLbl>
            <c:dLbl>
              <c:idx val="44"/>
              <c:tx>
                <c:rich>
                  <a:bodyPr/>
                  <a:lstStyle/>
                  <a:p>
                    <a:r>
                      <a:t>GILLETTE INTIMATE BLACK 5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499F-4374-933C-119751F7B1D3}"/>
                </c:ext>
              </c:extLst>
            </c:dLbl>
            <c:dLbl>
              <c:idx val="45"/>
              <c:tx>
                <c:rich>
                  <a:bodyPr/>
                  <a:lstStyle/>
                  <a:p>
                    <a:r>
                      <a:t>BIC EASYRINSE 4 BLADE HYBRID NORMAL 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B-499F-4374-933C-119751F7B1D3}"/>
                </c:ext>
              </c:extLst>
            </c:dLbl>
            <c:dLbl>
              <c:idx val="46"/>
              <c:tx>
                <c:rich>
                  <a:bodyPr/>
                  <a:lstStyle/>
                  <a:p>
                    <a:r>
                      <a:t>GILLETTE FUSION 5 PROGLIDE 5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C-499F-4374-933C-119751F7B1D3}"/>
                </c:ext>
              </c:extLst>
            </c:dLbl>
            <c:dLbl>
              <c:idx val="47"/>
              <c:tx>
                <c:rich>
                  <a:bodyPr/>
                  <a:lstStyle/>
                  <a:p>
                    <a:r>
                      <a:t>EQUATE EASY FIT 5 5 BLADE REFILL NORMAL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D-499F-4374-933C-119751F7B1D3}"/>
                </c:ext>
              </c:extLst>
            </c:dLbl>
            <c:dLbl>
              <c:idx val="48"/>
              <c:tx>
                <c:rich>
                  <a:bodyPr/>
                  <a:lstStyle/>
                  <a:p>
                    <a:r>
                      <a:t>HARRY'S 5 BLADE REFILL NORMAL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E-499F-4374-933C-119751F7B1D3}"/>
                </c:ext>
              </c:extLst>
            </c:dLbl>
            <c:dLbl>
              <c:idx val="49"/>
              <c:tx>
                <c:rich>
                  <a:bodyPr/>
                  <a:lstStyle/>
                  <a:p>
                    <a:r>
                      <a:t>GILLETTE MACH 3 3 BLADE REFILL NORMAL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F-499F-4374-933C-119751F7B1D3}"/>
                </c:ext>
              </c:extLst>
            </c:dLbl>
            <c:dLbl>
              <c:idx val="50"/>
              <c:tx>
                <c:rich>
                  <a:bodyPr/>
                  <a:lstStyle/>
                  <a:p>
                    <a:r>
                      <a:t>HARRY'S SURF BLUE 5 BLADE RAZOR NORMAL 2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CB78-449F-999F-A61319FA51F4}"/>
                </c:ext>
              </c:extLst>
            </c:dLbl>
            <c:dLbl>
              <c:idx val="51"/>
              <c:tx>
                <c:rich>
                  <a:bodyPr/>
                  <a:lstStyle/>
                  <a:p>
                    <a:r>
                      <a:t>EQUATE TB (TWIN BLADE) BLUE 2 BLADE DISPOSABLE NORMAL 12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CB78-449F-999F-A61319FA51F4}"/>
                </c:ext>
              </c:extLst>
            </c:dLbl>
            <c:dLbl>
              <c:idx val="52"/>
              <c:tx>
                <c:rich>
                  <a:bodyPr/>
                  <a:lstStyle/>
                  <a:p>
                    <a:r>
                      <a:t>BIC SENSITIVE 2 2 BLADE DISPOSABLE NORMAL 10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CB78-449F-999F-A61319FA51F4}"/>
                </c:ext>
              </c:extLst>
            </c:dLbl>
            <c:dLbl>
              <c:idx val="53"/>
              <c:tx>
                <c:rich>
                  <a:bodyPr/>
                  <a:lstStyle/>
                  <a:p>
                    <a:r>
                      <a:t>BIC FLEX 5 5 BLADE DISPOSABLE NORMAL 4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CB78-449F-999F-A61319FA51F4}"/>
                </c:ext>
              </c:extLst>
            </c:dLbl>
            <c:dLbl>
              <c:idx val="54"/>
              <c:tx>
                <c:rich>
                  <a:bodyPr/>
                  <a:lstStyle/>
                  <a:p>
                    <a:r>
                      <a:t>EQUATE EASY FIT 5 5 BLADE REFILL NORMAL 12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CB78-449F-999F-A61319FA51F4}"/>
                </c:ext>
              </c:extLst>
            </c:dLbl>
            <c:dLbl>
              <c:idx val="55"/>
              <c:tx>
                <c:rich>
                  <a:bodyPr/>
                  <a:lstStyle/>
                  <a:p>
                    <a:r>
                      <a:t>EQUATE EASY FIT 5 5 BLADE RAZOR NORMAL 2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CB78-449F-999F-A61319FA51F4}"/>
                </c:ext>
              </c:extLst>
            </c:dLbl>
            <c:dLbl>
              <c:idx val="56"/>
              <c:tx>
                <c:rich>
                  <a:bodyPr/>
                  <a:lstStyle/>
                  <a:p>
                    <a:r>
                      <a:t>HARRY'S SILVER 5 BLADE RAZOR NORMAL 5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CB78-449F-999F-A61319FA51F4}"/>
                </c:ext>
              </c:extLst>
            </c:dLbl>
            <c:dLbl>
              <c:idx val="57"/>
              <c:tx>
                <c:rich>
                  <a:bodyPr/>
                  <a:lstStyle/>
                  <a:p>
                    <a:r>
                      <a:t>GILLETTE FUSION 5 5 BLADE REFILL NORMAL 4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CB78-449F-999F-A61319FA51F4}"/>
                </c:ext>
              </c:extLst>
            </c:dLbl>
            <c:dLbl>
              <c:idx val="58"/>
              <c:tx>
                <c:rich>
                  <a:bodyPr/>
                  <a:lstStyle/>
                  <a:p>
                    <a:r>
                      <a:t>GILLETTE MACH 3 MULTI COLOR 3 BLADE DISPOSABLE SENSITIVE 3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CB78-449F-999F-A61319FA51F4}"/>
                </c:ext>
              </c:extLst>
            </c:dLbl>
            <c:dLbl>
              <c:idx val="59"/>
              <c:tx>
                <c:rich>
                  <a:bodyPr/>
                  <a:lstStyle/>
                  <a:p>
                    <a:r>
                      <a:t>GILLETTE INTIMATE 5 BLADE REFILL NORMAL 4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CB78-449F-999F-A61319FA51F4}"/>
                </c:ext>
              </c:extLst>
            </c:dLbl>
            <c:dLbl>
              <c:idx val="60"/>
              <c:tx>
                <c:rich>
                  <a:bodyPr/>
                  <a:lstStyle/>
                  <a:p>
                    <a:r>
                      <a:t>BIC COMFORT 3 MULTI COLOR 3 BLADE DISPOSABLE SENSITIVE 8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CB78-449F-999F-A61319FA51F4}"/>
                </c:ext>
              </c:extLst>
            </c:dLbl>
            <c:dLbl>
              <c:idx val="61"/>
              <c:tx>
                <c:rich>
                  <a:bodyPr/>
                  <a:lstStyle/>
                  <a:p>
                    <a:r>
                      <a:t>BIC FLEX 5 HYBRID 5 BLADE HYBRID NORMAL 12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CB78-449F-999F-A61319FA51F4}"/>
                </c:ext>
              </c:extLst>
            </c:dLbl>
            <c:dLbl>
              <c:idx val="62"/>
              <c:tx>
                <c:rich>
                  <a:bodyPr/>
                  <a:lstStyle/>
                  <a:p>
                    <a:r>
                      <a:t>BIC FLEX 5 HYBRID 5 BLADE HYBRID NORMAL 7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CB78-449F-999F-A61319FA51F4}"/>
                </c:ext>
              </c:extLst>
            </c:dLbl>
            <c:dLbl>
              <c:idx val="63"/>
              <c:tx>
                <c:rich>
                  <a:bodyPr/>
                  <a:lstStyle/>
                  <a:p>
                    <a:r>
                      <a:t>GILLETTE FUSION 5 5 BLADE REFILL NORMAL 12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CB78-449F-999F-A61319FA51F4}"/>
                </c:ext>
              </c:extLst>
            </c:dLbl>
            <c:dLbl>
              <c:idx val="64"/>
              <c:tx>
                <c:rich>
                  <a:bodyPr/>
                  <a:lstStyle/>
                  <a:p>
                    <a:r>
                      <a:t>HARRY'S 5 BLADE REFILL NORMAL 12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CB78-449F-999F-A61319FA51F4}"/>
                </c:ext>
              </c:extLst>
            </c:dLbl>
            <c:dLbl>
              <c:idx val="65"/>
              <c:tx>
                <c:rich>
                  <a:bodyPr/>
                  <a:lstStyle/>
                  <a:p>
                    <a:r>
                      <a:t>GILLETTE SKINGUARD 2 BLADE REFILL SENSITIVE 8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CB78-449F-999F-A61319FA51F4}"/>
                </c:ext>
              </c:extLst>
            </c:dLbl>
            <c:dLbl>
              <c:idx val="66"/>
              <c:tx>
                <c:rich>
                  <a:bodyPr/>
                  <a:lstStyle/>
                  <a:p>
                    <a:r>
                      <a:t>EQUATE SPEED 3 SENSITIVE GREEN 3 BLADE DISPOSABLE SENSITIVE 8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CB78-449F-999F-A61319FA51F4}"/>
                </c:ext>
              </c:extLst>
            </c:dLbl>
            <c:dLbl>
              <c:idx val="67"/>
              <c:tx>
                <c:rich>
                  <a:bodyPr/>
                  <a:lstStyle/>
                  <a:p>
                    <a:r>
                      <a:t>GILLETTE SENSOR 2 PLUS PIVOT 2 BLADE DISPOSABLE NORMAL 15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CB78-449F-999F-A61319FA51F4}"/>
                </c:ext>
              </c:extLst>
            </c:dLbl>
            <c:dLbl>
              <c:idx val="68"/>
              <c:tx>
                <c:rich>
                  <a:bodyPr/>
                  <a:lstStyle/>
                  <a:p>
                    <a:r>
                      <a:t>BIC COMFORT 3 HYBRID 3 BLADE HYBRID NORMAL 12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CB78-449F-999F-A61319FA51F4}"/>
                </c:ext>
              </c:extLst>
            </c:dLbl>
            <c:dLbl>
              <c:idx val="69"/>
              <c:tx>
                <c:rich>
                  <a:bodyPr/>
                  <a:lstStyle/>
                  <a:p>
                    <a:r>
                      <a:t>BIC SINGLE SENSITIVE 1 BLADE DISPOSABLE SENSITIVE 12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CB78-449F-999F-A61319FA51F4}"/>
                </c:ext>
              </c:extLst>
            </c:dLbl>
            <c:dLbl>
              <c:idx val="70"/>
              <c:tx>
                <c:rich>
                  <a:bodyPr/>
                  <a:lstStyle/>
                  <a:p>
                    <a:r>
                      <a:t>GILLETTE MACH 3 3 BLADE REFILL NORMAL 4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CB78-449F-999F-A61319FA51F4}"/>
                </c:ext>
              </c:extLst>
            </c:dLbl>
            <c:dLbl>
              <c:idx val="71"/>
              <c:tx>
                <c:rich>
                  <a:bodyPr/>
                  <a:lstStyle/>
                  <a:p>
                    <a:r>
                      <a:t>GILLETTE SENSOR 2 FIXED 2 BLADE DISPOSABLE NORMAL 18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CB78-449F-999F-A61319FA51F4}"/>
                </c:ext>
              </c:extLst>
            </c:dLbl>
            <c:dLbl>
              <c:idx val="72"/>
              <c:tx>
                <c:rich>
                  <a:bodyPr/>
                  <a:lstStyle/>
                  <a:p>
                    <a:r>
                      <a:t>SCHICK XTREME 3 SENSITIVE GREEN BLACK 3 BLADE DISPOSABLE SENSITIVE 4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CB78-449F-999F-A61319FA51F4}"/>
                </c:ext>
              </c:extLst>
            </c:dLbl>
            <c:dLbl>
              <c:idx val="73"/>
              <c:tx>
                <c:rich>
                  <a:bodyPr/>
                  <a:lstStyle/>
                  <a:p>
                    <a:r>
                      <a:t>GILLETTE MACH 3 3 BLADE REFILL NORMAL 15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CB78-449F-999F-A61319FA51F4}"/>
                </c:ext>
              </c:extLst>
            </c:dLbl>
            <c:dLbl>
              <c:idx val="74"/>
              <c:tx>
                <c:rich>
                  <a:bodyPr/>
                  <a:lstStyle/>
                  <a:p>
                    <a:r>
                      <a:t>GILLETTE MACH 3 3 BLADE RAZOR NORMAL 6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CB78-449F-999F-A61319FA51F4}"/>
                </c:ext>
              </c:extLst>
            </c:dLbl>
            <c:dLbl>
              <c:idx val="75"/>
              <c:tx>
                <c:rich>
                  <a:bodyPr/>
                  <a:lstStyle/>
                  <a:p>
                    <a:r>
                      <a:t>HARRY'S ORANGE 5 BLADE RAZOR NORMAL 5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CB78-449F-999F-A61319FA51F4}"/>
                </c:ext>
              </c:extLst>
            </c:dLbl>
            <c:dLbl>
              <c:idx val="76"/>
              <c:tx>
                <c:rich>
                  <a:bodyPr/>
                  <a:lstStyle/>
                  <a:p>
                    <a:r>
                      <a:t>SCHICK HYDRO 3 SENSITIVE 3 BLADE REFILL SENSITIVE 5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CB78-449F-999F-A61319FA51F4}"/>
                </c:ext>
              </c:extLst>
            </c:dLbl>
            <c:dLbl>
              <c:idx val="77"/>
              <c:tx>
                <c:rich>
                  <a:bodyPr/>
                  <a:lstStyle/>
                  <a:p>
                    <a:r>
                      <a:t>EQUATE CALIBER 3 3 BLADE DISPOSABLE NORMAL 3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CB78-449F-999F-A61319FA51F4}"/>
                </c:ext>
              </c:extLst>
            </c:dLbl>
            <c:dLbl>
              <c:idx val="78"/>
              <c:tx>
                <c:rich>
                  <a:bodyPr/>
                  <a:lstStyle/>
                  <a:p>
                    <a:r>
                      <a:t>GILLETTE SKINGUARD 2 BLADE RAZOR SENSITIVE 2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CB78-449F-999F-A61319FA51F4}"/>
                </c:ext>
              </c:extLst>
            </c:dLbl>
            <c:dLbl>
              <c:idx val="79"/>
              <c:tx>
                <c:rich>
                  <a:bodyPr/>
                  <a:lstStyle/>
                  <a:p>
                    <a:r>
                      <a:t>GILLETTE SENSOR 2 PLUS 2 BLADE DISPOSABLE NORMAL 21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CB78-449F-999F-A61319FA51F4}"/>
                </c:ext>
              </c:extLst>
            </c:dLbl>
            <c:dLbl>
              <c:idx val="80"/>
              <c:tx>
                <c:rich>
                  <a:bodyPr/>
                  <a:lstStyle/>
                  <a:p>
                    <a:r>
                      <a:t>DOLLAR SHAVE CLUB RED BLUE WHITE 6 BLADE RAZOR NORMAL 2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CB78-449F-999F-A61319FA51F4}"/>
                </c:ext>
              </c:extLst>
            </c:dLbl>
            <c:dLbl>
              <c:idx val="81"/>
              <c:tx>
                <c:rich>
                  <a:bodyPr/>
                  <a:lstStyle/>
                  <a:p>
                    <a:r>
                      <a:t>EQUATE SPEED 3 SENSITIVE GREEN 3 BLADE DISPOSABLE SENSITIVE 4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CB78-449F-999F-A61319FA51F4}"/>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83</c:f>
              <c:numCache>
                <c:formatCode>General</c:formatCode>
                <c:ptCount val="82"/>
                <c:pt idx="0">
                  <c:v>0.16</c:v>
                </c:pt>
                <c:pt idx="1">
                  <c:v>0.11</c:v>
                </c:pt>
                <c:pt idx="2">
                  <c:v>0.1</c:v>
                </c:pt>
                <c:pt idx="3">
                  <c:v>7.0000000000000007E-2</c:v>
                </c:pt>
                <c:pt idx="4">
                  <c:v>0.14000000000000001</c:v>
                </c:pt>
                <c:pt idx="5">
                  <c:v>0.14000000000000001</c:v>
                </c:pt>
                <c:pt idx="6">
                  <c:v>0.11</c:v>
                </c:pt>
                <c:pt idx="7">
                  <c:v>0.06</c:v>
                </c:pt>
                <c:pt idx="8">
                  <c:v>0.11</c:v>
                </c:pt>
                <c:pt idx="9">
                  <c:v>0.18</c:v>
                </c:pt>
                <c:pt idx="10">
                  <c:v>0.03</c:v>
                </c:pt>
                <c:pt idx="11">
                  <c:v>0.45</c:v>
                </c:pt>
                <c:pt idx="12">
                  <c:v>0.03</c:v>
                </c:pt>
                <c:pt idx="13">
                  <c:v>0.11</c:v>
                </c:pt>
                <c:pt idx="14">
                  <c:v>0.05</c:v>
                </c:pt>
                <c:pt idx="15">
                  <c:v>0.02</c:v>
                </c:pt>
                <c:pt idx="16">
                  <c:v>0.14000000000000001</c:v>
                </c:pt>
                <c:pt idx="17">
                  <c:v>0.16</c:v>
                </c:pt>
                <c:pt idx="18">
                  <c:v>0.01</c:v>
                </c:pt>
                <c:pt idx="19">
                  <c:v>0.04</c:v>
                </c:pt>
                <c:pt idx="20">
                  <c:v>0.04</c:v>
                </c:pt>
                <c:pt idx="21">
                  <c:v>0.1</c:v>
                </c:pt>
                <c:pt idx="22">
                  <c:v>0.35</c:v>
                </c:pt>
                <c:pt idx="23">
                  <c:v>0.1</c:v>
                </c:pt>
                <c:pt idx="24">
                  <c:v>0.12</c:v>
                </c:pt>
                <c:pt idx="25">
                  <c:v>7.0000000000000007E-2</c:v>
                </c:pt>
                <c:pt idx="26">
                  <c:v>7.0000000000000007E-2</c:v>
                </c:pt>
                <c:pt idx="27">
                  <c:v>0.04</c:v>
                </c:pt>
                <c:pt idx="28">
                  <c:v>0.28000000000000003</c:v>
                </c:pt>
                <c:pt idx="29">
                  <c:v>0.39</c:v>
                </c:pt>
                <c:pt idx="30">
                  <c:v>0.01</c:v>
                </c:pt>
                <c:pt idx="31">
                  <c:v>0.47</c:v>
                </c:pt>
                <c:pt idx="32">
                  <c:v>0.14000000000000001</c:v>
                </c:pt>
                <c:pt idx="33">
                  <c:v>0.47</c:v>
                </c:pt>
                <c:pt idx="34">
                  <c:v>0.39</c:v>
                </c:pt>
                <c:pt idx="35">
                  <c:v>0.46</c:v>
                </c:pt>
                <c:pt idx="36">
                  <c:v>0.54</c:v>
                </c:pt>
                <c:pt idx="37">
                  <c:v>0.28999999999999998</c:v>
                </c:pt>
                <c:pt idx="38">
                  <c:v>0.03</c:v>
                </c:pt>
                <c:pt idx="39">
                  <c:v>0.01</c:v>
                </c:pt>
                <c:pt idx="40">
                  <c:v>0.09</c:v>
                </c:pt>
                <c:pt idx="41">
                  <c:v>0.52</c:v>
                </c:pt>
                <c:pt idx="42">
                  <c:v>0.45</c:v>
                </c:pt>
                <c:pt idx="43">
                  <c:v>0.02</c:v>
                </c:pt>
                <c:pt idx="44">
                  <c:v>0.65</c:v>
                </c:pt>
                <c:pt idx="45">
                  <c:v>0.4</c:v>
                </c:pt>
                <c:pt idx="46">
                  <c:v>0.39</c:v>
                </c:pt>
                <c:pt idx="47">
                  <c:v>0.1</c:v>
                </c:pt>
                <c:pt idx="48">
                  <c:v>0.09</c:v>
                </c:pt>
                <c:pt idx="49">
                  <c:v>0.11</c:v>
                </c:pt>
                <c:pt idx="50">
                  <c:v>0.03</c:v>
                </c:pt>
                <c:pt idx="51">
                  <c:v>0.04</c:v>
                </c:pt>
                <c:pt idx="52">
                  <c:v>0.39</c:v>
                </c:pt>
                <c:pt idx="53">
                  <c:v>0.06</c:v>
                </c:pt>
                <c:pt idx="54">
                  <c:v>0.2</c:v>
                </c:pt>
                <c:pt idx="55">
                  <c:v>0.12</c:v>
                </c:pt>
                <c:pt idx="56">
                  <c:v>0.01</c:v>
                </c:pt>
                <c:pt idx="57">
                  <c:v>0.04</c:v>
                </c:pt>
                <c:pt idx="58">
                  <c:v>0.02</c:v>
                </c:pt>
                <c:pt idx="59">
                  <c:v>0.66</c:v>
                </c:pt>
                <c:pt idx="60">
                  <c:v>0.42</c:v>
                </c:pt>
                <c:pt idx="61">
                  <c:v>0.36</c:v>
                </c:pt>
                <c:pt idx="62">
                  <c:v>0.11</c:v>
                </c:pt>
                <c:pt idx="63">
                  <c:v>0.28000000000000003</c:v>
                </c:pt>
                <c:pt idx="64">
                  <c:v>0.12</c:v>
                </c:pt>
                <c:pt idx="65">
                  <c:v>0.54</c:v>
                </c:pt>
                <c:pt idx="66">
                  <c:v>0.06</c:v>
                </c:pt>
                <c:pt idx="67">
                  <c:v>0.14000000000000001</c:v>
                </c:pt>
                <c:pt idx="68">
                  <c:v>0.26</c:v>
                </c:pt>
                <c:pt idx="69">
                  <c:v>0.08</c:v>
                </c:pt>
                <c:pt idx="70">
                  <c:v>0.08</c:v>
                </c:pt>
                <c:pt idx="71">
                  <c:v>0.11</c:v>
                </c:pt>
                <c:pt idx="72">
                  <c:v>0.04</c:v>
                </c:pt>
                <c:pt idx="73">
                  <c:v>0.18</c:v>
                </c:pt>
                <c:pt idx="74">
                  <c:v>0.16</c:v>
                </c:pt>
                <c:pt idx="75">
                  <c:v>0.14000000000000001</c:v>
                </c:pt>
                <c:pt idx="76">
                  <c:v>0.57999999999999996</c:v>
                </c:pt>
                <c:pt idx="77">
                  <c:v>0.06</c:v>
                </c:pt>
                <c:pt idx="78">
                  <c:v>0.08</c:v>
                </c:pt>
                <c:pt idx="79">
                  <c:v>0.22</c:v>
                </c:pt>
                <c:pt idx="80">
                  <c:v>0.01</c:v>
                </c:pt>
                <c:pt idx="81">
                  <c:v>0.06</c:v>
                </c:pt>
              </c:numCache>
            </c:numRef>
          </c:xVal>
          <c:yVal>
            <c:numRef>
              <c:f>Sheet1!$B$2:$B$83</c:f>
              <c:numCache>
                <c:formatCode>General</c:formatCode>
                <c:ptCount val="82"/>
                <c:pt idx="0">
                  <c:v>1.3119708832656181</c:v>
                </c:pt>
                <c:pt idx="1">
                  <c:v>0.67605853091284962</c:v>
                </c:pt>
                <c:pt idx="2">
                  <c:v>-3.1501648634580971E-3</c:v>
                </c:pt>
                <c:pt idx="3">
                  <c:v>2.3241114910371979E-2</c:v>
                </c:pt>
                <c:pt idx="4">
                  <c:v>1.3101286880523451</c:v>
                </c:pt>
                <c:pt idx="5">
                  <c:v>7.466806448024518E-3</c:v>
                </c:pt>
                <c:pt idx="6">
                  <c:v>0.77516643814356723</c:v>
                </c:pt>
                <c:pt idx="7">
                  <c:v>0.41562477310680318</c:v>
                </c:pt>
                <c:pt idx="8">
                  <c:v>8.8668748995684499E-2</c:v>
                </c:pt>
                <c:pt idx="9">
                  <c:v>6.5288302995339862</c:v>
                </c:pt>
                <c:pt idx="10">
                  <c:v>0.10431911848574631</c:v>
                </c:pt>
                <c:pt idx="11">
                  <c:v>1.204885994489759</c:v>
                </c:pt>
                <c:pt idx="12">
                  <c:v>5.2774064766489763E-2</c:v>
                </c:pt>
                <c:pt idx="13">
                  <c:v>0.21814468265494</c:v>
                </c:pt>
                <c:pt idx="14">
                  <c:v>0.40112174838023401</c:v>
                </c:pt>
                <c:pt idx="15">
                  <c:v>0</c:v>
                </c:pt>
                <c:pt idx="16">
                  <c:v>0.32118849431593649</c:v>
                </c:pt>
                <c:pt idx="17">
                  <c:v>0.2460658540715559</c:v>
                </c:pt>
                <c:pt idx="18">
                  <c:v>0</c:v>
                </c:pt>
                <c:pt idx="19">
                  <c:v>0</c:v>
                </c:pt>
                <c:pt idx="20">
                  <c:v>0.20391147894407641</c:v>
                </c:pt>
                <c:pt idx="21">
                  <c:v>0</c:v>
                </c:pt>
                <c:pt idx="22">
                  <c:v>0.30761969864448191</c:v>
                </c:pt>
                <c:pt idx="23">
                  <c:v>0.51574226266527767</c:v>
                </c:pt>
                <c:pt idx="24">
                  <c:v>0</c:v>
                </c:pt>
                <c:pt idx="25">
                  <c:v>0</c:v>
                </c:pt>
                <c:pt idx="26">
                  <c:v>0</c:v>
                </c:pt>
                <c:pt idx="27">
                  <c:v>2.544677609624418E-2</c:v>
                </c:pt>
                <c:pt idx="28">
                  <c:v>9.6800836958317274E-2</c:v>
                </c:pt>
                <c:pt idx="29">
                  <c:v>0.78197778851671429</c:v>
                </c:pt>
                <c:pt idx="30">
                  <c:v>0</c:v>
                </c:pt>
                <c:pt idx="31">
                  <c:v>0.98578130079380677</c:v>
                </c:pt>
                <c:pt idx="32">
                  <c:v>0</c:v>
                </c:pt>
                <c:pt idx="33">
                  <c:v>8.2770582371391871E-2</c:v>
                </c:pt>
                <c:pt idx="34">
                  <c:v>0.34414640922837508</c:v>
                </c:pt>
                <c:pt idx="35">
                  <c:v>1.263749795886099</c:v>
                </c:pt>
                <c:pt idx="36">
                  <c:v>1.7794925098213989</c:v>
                </c:pt>
                <c:pt idx="37">
                  <c:v>0</c:v>
                </c:pt>
                <c:pt idx="38">
                  <c:v>0</c:v>
                </c:pt>
                <c:pt idx="39">
                  <c:v>0</c:v>
                </c:pt>
                <c:pt idx="40">
                  <c:v>0</c:v>
                </c:pt>
                <c:pt idx="41">
                  <c:v>2.2919815165608202</c:v>
                </c:pt>
                <c:pt idx="42">
                  <c:v>4.2783905901359963E-2</c:v>
                </c:pt>
                <c:pt idx="43">
                  <c:v>0</c:v>
                </c:pt>
                <c:pt idx="44">
                  <c:v>2.2979412931887571</c:v>
                </c:pt>
                <c:pt idx="45">
                  <c:v>0.53313948311403347</c:v>
                </c:pt>
                <c:pt idx="46">
                  <c:v>0.34220564187012381</c:v>
                </c:pt>
                <c:pt idx="47">
                  <c:v>2.1416509932592909E-3</c:v>
                </c:pt>
                <c:pt idx="48">
                  <c:v>0</c:v>
                </c:pt>
                <c:pt idx="49">
                  <c:v>0</c:v>
                </c:pt>
                <c:pt idx="50">
                  <c:v>0</c:v>
                </c:pt>
                <c:pt idx="51">
                  <c:v>5.518309598668393E-2</c:v>
                </c:pt>
                <c:pt idx="52">
                  <c:v>6.0292315442044407E-2</c:v>
                </c:pt>
                <c:pt idx="53">
                  <c:v>0.9364548494983278</c:v>
                </c:pt>
                <c:pt idx="54">
                  <c:v>0.44487093777620862</c:v>
                </c:pt>
                <c:pt idx="55">
                  <c:v>0</c:v>
                </c:pt>
                <c:pt idx="56">
                  <c:v>0</c:v>
                </c:pt>
                <c:pt idx="57">
                  <c:v>0</c:v>
                </c:pt>
                <c:pt idx="58">
                  <c:v>0</c:v>
                </c:pt>
                <c:pt idx="59">
                  <c:v>2.6263570540763248</c:v>
                </c:pt>
                <c:pt idx="60">
                  <c:v>-0.19095100089640099</c:v>
                </c:pt>
                <c:pt idx="61">
                  <c:v>0</c:v>
                </c:pt>
                <c:pt idx="62">
                  <c:v>0</c:v>
                </c:pt>
                <c:pt idx="63">
                  <c:v>0</c:v>
                </c:pt>
                <c:pt idx="64">
                  <c:v>0</c:v>
                </c:pt>
                <c:pt idx="65">
                  <c:v>0.47733985130868722</c:v>
                </c:pt>
                <c:pt idx="66">
                  <c:v>0</c:v>
                </c:pt>
                <c:pt idx="67">
                  <c:v>0</c:v>
                </c:pt>
                <c:pt idx="68">
                  <c:v>0</c:v>
                </c:pt>
                <c:pt idx="69">
                  <c:v>0</c:v>
                </c:pt>
                <c:pt idx="70">
                  <c:v>0</c:v>
                </c:pt>
                <c:pt idx="71">
                  <c:v>0</c:v>
                </c:pt>
                <c:pt idx="72">
                  <c:v>0</c:v>
                </c:pt>
                <c:pt idx="73">
                  <c:v>0</c:v>
                </c:pt>
                <c:pt idx="74">
                  <c:v>0</c:v>
                </c:pt>
                <c:pt idx="75">
                  <c:v>0</c:v>
                </c:pt>
                <c:pt idx="76">
                  <c:v>0.73606328906378093</c:v>
                </c:pt>
                <c:pt idx="77">
                  <c:v>0</c:v>
                </c:pt>
                <c:pt idx="78">
                  <c:v>0</c:v>
                </c:pt>
                <c:pt idx="79">
                  <c:v>0</c:v>
                </c:pt>
                <c:pt idx="80">
                  <c:v>0</c:v>
                </c:pt>
                <c:pt idx="81">
                  <c:v>0</c:v>
                </c:pt>
              </c:numCache>
            </c:numRef>
          </c:yVal>
          <c:smooth val="0"/>
          <c:extLst>
            <c:ext xmlns:c15="http://schemas.microsoft.com/office/drawing/2012/chart" uri="{02D57815-91ED-43cb-92C2-25804820EDAC}">
              <c15:datalabelsRange>
                <c15:f>Sheet1!$E$2:$E$51</c15:f>
                <c15:dlblRangeCache>
                  <c:ptCount val="50"/>
                  <c:pt idx="0">
                    <c:v>GILLETTE FUSION 5 BLACK HOLIDAY GIFT PACK 5 BLADE RAZOR NORMAL 3CT</c:v>
                  </c:pt>
                  <c:pt idx="1">
                    <c:v>BIC COMFORT 3 BLACK HOLIDAY GIFT PACK 3 BLADE HYBRID NORMAL 15CT</c:v>
                  </c:pt>
                  <c:pt idx="2">
                    <c:v>GILLETTE FUSION 5 PROGLIDE 5 BLADE REFILL NORMAL 12CT</c:v>
                  </c:pt>
                  <c:pt idx="3">
                    <c:v>HYDRO 5 SENSITIVE 5 BLADE REFILL SENSITIVE 6CT</c:v>
                  </c:pt>
                  <c:pt idx="4">
                    <c:v>HYDRO 5 SENSITIVE GRAY HOLIDAY GIFT PACK 5 BLADE RAZOR SENSITIVE 3CT</c:v>
                  </c:pt>
                  <c:pt idx="5">
                    <c:v>GILLETTE FUSION 5 PROGLIDE 5 BLADE REFILL NORMAL 8CT</c:v>
                  </c:pt>
                  <c:pt idx="6">
                    <c:v>SCHICK XTREME 3 SENSITIVE GREEN HOLIDAY GIFT PACK 3 BLADE DISPOSABLE SENSITIVE 8CT</c:v>
                  </c:pt>
                  <c:pt idx="7">
                    <c:v>BIC FLEX 5 HYBRID BLACK WHITE HOLIDAY GIFT PACK 5 BLADE HYBRID NORMAL 7CT</c:v>
                  </c:pt>
                  <c:pt idx="8">
                    <c:v>HYDRO 5 SENSITIVE 5 BLADE REFILL SENSITIVE 12CT</c:v>
                  </c:pt>
                  <c:pt idx="9">
                    <c:v>GILLETTE LABS ARCTIC CAMO HOLIDAY GIFT PACK 5 BLADE RAZOR NORMAL 2CT</c:v>
                  </c:pt>
                  <c:pt idx="10">
                    <c:v>DOLLAR SHAVE CLUB BLACK 6 BLADE RAZOR NORMAL 2CT</c:v>
                  </c:pt>
                  <c:pt idx="11">
                    <c:v>GILLETTE FUSION 5 PROGLIDE 5 BLADE RAZOR NORMAL 4CT</c:v>
                  </c:pt>
                  <c:pt idx="12">
                    <c:v>DOLLAR SHAVE CLUB 6 BLADE REFILL NORMAL 4CT</c:v>
                  </c:pt>
                  <c:pt idx="13">
                    <c:v>BIC COMFORT 3 HYBRID 3 BLADE HYBRID SENSITIVE 6CT</c:v>
                  </c:pt>
                  <c:pt idx="14">
                    <c:v>BIC FLEX 5 WHITE BLACK HOLIDAY GIFT PACK 5 BLADE DISPOSABLE NORMAL 6CT</c:v>
                  </c:pt>
                  <c:pt idx="15">
                    <c:v>GILLETTE FUSION 5 5 BLADE RAZOR NORMAL 5CT</c:v>
                  </c:pt>
                  <c:pt idx="16">
                    <c:v>GILLETTE LABS 5 BLADE RAZOR NORMAL 1CT</c:v>
                  </c:pt>
                  <c:pt idx="17">
                    <c:v>BIC FLEX 3 3 BLADE DISPOSABLE NORMAL 2CT</c:v>
                  </c:pt>
                  <c:pt idx="18">
                    <c:v>EQUATE CALIBER 5 5 BLADE DISPOSABLE NORMAL 3CT</c:v>
                  </c:pt>
                  <c:pt idx="19">
                    <c:v>GILLETTE FUSION 5 5 BLADE REFILL NORMAL 8CT</c:v>
                  </c:pt>
                  <c:pt idx="20">
                    <c:v>EQUATE TB (TWIN BLADE) BLUE 2 BLADE DISPOSABLE NORMAL 5CT</c:v>
                  </c:pt>
                  <c:pt idx="21">
                    <c:v>SCHICK XTREME 3 SENSITIVE GREEN 3 BLADE DISPOSABLE SENSITIVE 8CT</c:v>
                  </c:pt>
                  <c:pt idx="22">
                    <c:v>GILLETTE MACH 3 3 BLADE REFILL NORMAL 12CT</c:v>
                  </c:pt>
                  <c:pt idx="23">
                    <c:v>GILLETTE LABS 5 BLADE REFILL NORMAL 6CT</c:v>
                  </c:pt>
                  <c:pt idx="24">
                    <c:v>HYDRO 5 SENSITIVE 5 BLADE RAZOR SENSITIVE 3CT</c:v>
                  </c:pt>
                  <c:pt idx="25">
                    <c:v>SCHICK XTREME 3 SENSITIVE BLACK 3 BLADE DISPOSABLE SENSITIVE 4CT</c:v>
                  </c:pt>
                  <c:pt idx="26">
                    <c:v>SCHICK XTREME 2 SENSITIVE 2 BLADE DISPOSABLE NORMAL 12CT</c:v>
                  </c:pt>
                  <c:pt idx="27">
                    <c:v>DOLLAR SHAVE CLUB 6 BLADE REFILL NORMAL 8CT</c:v>
                  </c:pt>
                  <c:pt idx="28">
                    <c:v>GILLETTE MACH 3 3 BLADE DISPOSABLE SENSITIVE 6CT</c:v>
                  </c:pt>
                  <c:pt idx="29">
                    <c:v>GILLETTE FUSION 5 5 BLADE RAZOR NORMAL 1CT</c:v>
                  </c:pt>
                  <c:pt idx="30">
                    <c:v>HARRY'S 5 BLADE REFILL NORMAL 4CT</c:v>
                  </c:pt>
                  <c:pt idx="31">
                    <c:v>GILLETTE LABS 5 BLADE RAZOR NORMAL 4CT</c:v>
                  </c:pt>
                  <c:pt idx="32">
                    <c:v>SCHICK XTREME 3 SENSITIVE BLACK GREEN 3 BLADE DISPOSABLE SENSITIVE 12CT</c:v>
                  </c:pt>
                  <c:pt idx="33">
                    <c:v>GILLETTE FUSION 5 PROSHIELD GRAY 5 BLADE RAZOR NORMAL 2CT</c:v>
                  </c:pt>
                  <c:pt idx="34">
                    <c:v>EQUATE EASY FIT 5 5 BLADE REFILL NORMAL 8CT</c:v>
                  </c:pt>
                  <c:pt idx="35">
                    <c:v>GILLETTE LABS 5 BLADE RAZOR NORMAL 2CT</c:v>
                  </c:pt>
                  <c:pt idx="36">
                    <c:v>GILLETTE FUSION 5 PROGLIDE STYLER REM BLADES RAZOR 1CT</c:v>
                  </c:pt>
                  <c:pt idx="37">
                    <c:v>GILLETTE MACH 3 3 BLADE RAZOR NORMAL 2CT</c:v>
                  </c:pt>
                  <c:pt idx="38">
                    <c:v>GILLETTE FUSION 5 5 BLADE RAZOR NORMAL 2CT</c:v>
                  </c:pt>
                  <c:pt idx="39">
                    <c:v>BIC FLEX 5 HYBRID 5 BLADE HYBRID NORMAL 4CT</c:v>
                  </c:pt>
                  <c:pt idx="40">
                    <c:v>GILLETTE FUSION 5 5 BLADE RAZOR NORMAL 7CT</c:v>
                  </c:pt>
                  <c:pt idx="41">
                    <c:v>BIC EASYRINSE BLUE 4 BLADE DISPOSABLE NORMAL 2CT</c:v>
                  </c:pt>
                  <c:pt idx="42">
                    <c:v>GILLETTE FUSION 5 PROGLIDE 5 BLADE RAZOR NORMAL 1CT</c:v>
                  </c:pt>
                  <c:pt idx="43">
                    <c:v>BIC FLEX 5 BLACK WHITE 5 BLADE DISPOSABLE NORMAL 2CT</c:v>
                  </c:pt>
                  <c:pt idx="44">
                    <c:v>GILLETTE INTIMATE BLACK 5 BLADE RAZOR NORMAL 2CT</c:v>
                  </c:pt>
                  <c:pt idx="45">
                    <c:v>BIC EASYRINSE 4 BLADE HYBRID NORMAL 3CT</c:v>
                  </c:pt>
                  <c:pt idx="46">
                    <c:v>GILLETTE FUSION 5 PROGLIDE 5 BLADE RAZOR NORMAL 2CT</c:v>
                  </c:pt>
                  <c:pt idx="47">
                    <c:v>EQUATE EASY FIT 5 5 BLADE REFILL NORMAL 4CT</c:v>
                  </c:pt>
                  <c:pt idx="48">
                    <c:v>HARRY'S 5 BLADE REFILL NORMAL 8CT</c:v>
                  </c:pt>
                  <c:pt idx="49">
                    <c:v>GILLETTE MACH 3 3 BLADE REFILL NORMAL 8CT</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max val="0.79200000000000004"/>
          <c:min val="8.0000000000000002E-3"/>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7.8345963594407833"/>
          <c:min val="-0.15276080071712081"/>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r>
                      <a:t>GILLETTE FUSION 5 5 BLADE REFILL NORMAL 16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99F-4374-933C-119751F7B1D3}"/>
                </c:ext>
              </c:extLst>
            </c:dLbl>
            <c:dLbl>
              <c:idx val="1"/>
              <c:tx>
                <c:rich>
                  <a:bodyPr/>
                  <a:lstStyle/>
                  <a:p>
                    <a:r>
                      <a:t>GILLETTE MACH 3 3 BLADE REFILL NORMAL 20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99F-4374-933C-119751F7B1D3}"/>
                </c:ext>
              </c:extLst>
            </c:dLbl>
            <c:dLbl>
              <c:idx val="2"/>
              <c:tx>
                <c:rich>
                  <a:bodyPr/>
                  <a:lstStyle/>
                  <a:p>
                    <a:r>
                      <a:t>GILLETTE FUSION 5 PROGLIDE 5 BLADE RAZOR NORMAL 1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99F-4374-933C-119751F7B1D3}"/>
                </c:ext>
              </c:extLst>
            </c:dLbl>
            <c:dLbl>
              <c:idx val="3"/>
              <c:tx>
                <c:rich>
                  <a:bodyPr/>
                  <a:lstStyle/>
                  <a:p>
                    <a:r>
                      <a:t>GILLETTE SKINGUARD POWER 2 BLADE REFILL SENSITIVE 1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99F-4374-933C-119751F7B1D3}"/>
                </c:ext>
              </c:extLst>
            </c:dLbl>
            <c:dLbl>
              <c:idx val="4"/>
              <c:tx>
                <c:rich>
                  <a:bodyPr/>
                  <a:lstStyle/>
                  <a:p>
                    <a:r>
                      <a:t>GILLETTE FUSION 5 5 BLADE RAZOR NORMAL 9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99F-4374-933C-119751F7B1D3}"/>
                </c:ext>
              </c:extLst>
            </c:dLbl>
            <c:dLbl>
              <c:idx val="5"/>
              <c:tx>
                <c:rich>
                  <a:bodyPr/>
                  <a:lstStyle/>
                  <a:p>
                    <a:r>
                      <a:t>HARRY'S ORANGE 5 BLADE RAZOR NORMAL 11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499F-4374-933C-119751F7B1D3}"/>
                </c:ext>
              </c:extLst>
            </c:dLbl>
            <c:dLbl>
              <c:idx val="6"/>
              <c:tx>
                <c:rich>
                  <a:bodyPr/>
                  <a:lstStyle/>
                  <a:p>
                    <a:r>
                      <a:t>GILLETTE INTIMATE BLACK 5 BLADE RAZOR 9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499F-4374-933C-119751F7B1D3}"/>
                </c:ext>
              </c:extLst>
            </c:dLbl>
            <c:dLbl>
              <c:idx val="7"/>
              <c:tx>
                <c:rich>
                  <a:bodyPr/>
                  <a:lstStyle/>
                  <a:p>
                    <a:r>
                      <a:t>GILLETTE FUSION 5 PROGLIDE 5 BLADE REFILL NORMAL 15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499F-4374-933C-119751F7B1D3}"/>
                </c:ext>
              </c:extLst>
            </c:dLbl>
            <c:dLbl>
              <c:idx val="8"/>
              <c:tx>
                <c:rich>
                  <a:bodyPr/>
                  <a:lstStyle/>
                  <a:p>
                    <a:r>
                      <a:t>GILLETTE LABS 5 BLADE RAZOR NORMAL 6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8-499F-4374-933C-119751F7B1D3}"/>
                </c:ext>
              </c:extLst>
            </c:dLbl>
            <c:dLbl>
              <c:idx val="9"/>
              <c:tx>
                <c:rich>
                  <a:bodyPr/>
                  <a:lstStyle/>
                  <a:p>
                    <a:r>
                      <a:t>GILLETTE FUSION 5 PROGLIDE 5 BLADE REFILL NORMAL 1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499F-4374-933C-119751F7B1D3}"/>
                </c:ext>
              </c:extLst>
            </c:dLbl>
            <c:dLbl>
              <c:idx val="10"/>
              <c:tx>
                <c:rich>
                  <a:bodyPr/>
                  <a:lstStyle/>
                  <a:p>
                    <a:fld id="{FEE35D1E-F835-4FE6-8F17-1973E0B8FFC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499F-4374-933C-119751F7B1D3}"/>
                </c:ext>
              </c:extLst>
            </c:dLbl>
            <c:dLbl>
              <c:idx val="11"/>
              <c:tx>
                <c:rich>
                  <a:bodyPr/>
                  <a:lstStyle/>
                  <a:p>
                    <a:fld id="{B6F0F476-276A-42A4-8E59-FC9E3074AED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499F-4374-933C-119751F7B1D3}"/>
                </c:ext>
              </c:extLst>
            </c:dLbl>
            <c:dLbl>
              <c:idx val="12"/>
              <c:tx>
                <c:rich>
                  <a:bodyPr/>
                  <a:lstStyle/>
                  <a:p>
                    <a:fld id="{E8E185A2-D2A1-4784-A073-4C4ECBCB88F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499F-4374-933C-119751F7B1D3}"/>
                </c:ext>
              </c:extLst>
            </c:dLbl>
            <c:dLbl>
              <c:idx val="13"/>
              <c:tx>
                <c:rich>
                  <a:bodyPr/>
                  <a:lstStyle/>
                  <a:p>
                    <a:fld id="{83D61A06-C172-49A5-B349-F0B81546CA8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499F-4374-933C-119751F7B1D3}"/>
                </c:ext>
              </c:extLst>
            </c:dLbl>
            <c:dLbl>
              <c:idx val="14"/>
              <c:tx>
                <c:rich>
                  <a:bodyPr/>
                  <a:lstStyle/>
                  <a:p>
                    <a:fld id="{1B38F8C9-F702-4AEB-BA43-83B3DC22854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499F-4374-933C-119751F7B1D3}"/>
                </c:ext>
              </c:extLst>
            </c:dLbl>
            <c:dLbl>
              <c:idx val="15"/>
              <c:tx>
                <c:rich>
                  <a:bodyPr/>
                  <a:lstStyle/>
                  <a:p>
                    <a:fld id="{4AFF3222-B3FA-411A-B941-F91F7D38D15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499F-4374-933C-119751F7B1D3}"/>
                </c:ext>
              </c:extLst>
            </c:dLbl>
            <c:dLbl>
              <c:idx val="16"/>
              <c:tx>
                <c:rich>
                  <a:bodyPr/>
                  <a:lstStyle/>
                  <a:p>
                    <a:fld id="{909F7FAD-D38B-403A-9FEB-F0E960D47EE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17EC-4EE8-A064-668E05F5E5BB}"/>
                </c:ext>
              </c:extLst>
            </c:dLbl>
            <c:dLbl>
              <c:idx val="17"/>
              <c:tx>
                <c:rich>
                  <a:bodyPr/>
                  <a:lstStyle/>
                  <a:p>
                    <a:fld id="{88351BF1-2578-4002-87C1-602902D9663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499F-4374-933C-119751F7B1D3}"/>
                </c:ext>
              </c:extLst>
            </c:dLbl>
            <c:dLbl>
              <c:idx val="18"/>
              <c:tx>
                <c:rich>
                  <a:bodyPr/>
                  <a:lstStyle/>
                  <a:p>
                    <a:fld id="{B37CA2D8-B538-4891-A23C-0600AA9E03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05C-4186-8239-DC3766495C90}"/>
                </c:ext>
              </c:extLst>
            </c:dLbl>
            <c:dLbl>
              <c:idx val="19"/>
              <c:tx>
                <c:rich>
                  <a:bodyPr/>
                  <a:lstStyle/>
                  <a:p>
                    <a:fld id="{D8FB4B4F-ACA2-4893-B314-C272DDEB28E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499F-4374-933C-119751F7B1D3}"/>
                </c:ext>
              </c:extLst>
            </c:dLbl>
            <c:dLbl>
              <c:idx val="20"/>
              <c:tx>
                <c:rich>
                  <a:bodyPr/>
                  <a:lstStyle/>
                  <a:p>
                    <a:fld id="{50B2844C-AD40-42A5-BA19-44BCE8BC02E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499F-4374-933C-119751F7B1D3}"/>
                </c:ext>
              </c:extLst>
            </c:dLbl>
            <c:dLbl>
              <c:idx val="21"/>
              <c:tx>
                <c:rich>
                  <a:bodyPr/>
                  <a:lstStyle/>
                  <a:p>
                    <a:fld id="{86C424DB-AC2A-4659-AF9B-8887855FEF1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499F-4374-933C-119751F7B1D3}"/>
                </c:ext>
              </c:extLst>
            </c:dLbl>
            <c:dLbl>
              <c:idx val="22"/>
              <c:tx>
                <c:rich>
                  <a:bodyPr/>
                  <a:lstStyle/>
                  <a:p>
                    <a:fld id="{14DBA900-C53D-42CA-8770-AF493767C7B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499F-4374-933C-119751F7B1D3}"/>
                </c:ext>
              </c:extLst>
            </c:dLbl>
            <c:dLbl>
              <c:idx val="23"/>
              <c:tx>
                <c:rich>
                  <a:bodyPr/>
                  <a:lstStyle/>
                  <a:p>
                    <a:fld id="{8BE97CAA-3E5A-457B-A0A3-B3B2722E3D7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499F-4374-933C-119751F7B1D3}"/>
                </c:ext>
              </c:extLst>
            </c:dLbl>
            <c:dLbl>
              <c:idx val="24"/>
              <c:tx>
                <c:rich>
                  <a:bodyPr/>
                  <a:lstStyle/>
                  <a:p>
                    <a:fld id="{7E5AF09F-D0D9-48DD-9097-B53A99080C0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499F-4374-933C-119751F7B1D3}"/>
                </c:ext>
              </c:extLst>
            </c:dLbl>
            <c:dLbl>
              <c:idx val="25"/>
              <c:tx>
                <c:rich>
                  <a:bodyPr/>
                  <a:lstStyle/>
                  <a:p>
                    <a:fld id="{8890F6F8-05C1-477C-80B6-74C42BF81CE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499F-4374-933C-119751F7B1D3}"/>
                </c:ext>
              </c:extLst>
            </c:dLbl>
            <c:dLbl>
              <c:idx val="26"/>
              <c:tx>
                <c:rich>
                  <a:bodyPr/>
                  <a:lstStyle/>
                  <a:p>
                    <a:fld id="{FDFCBEB7-4F26-4BAB-87C7-5C9727311E0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499F-4374-933C-119751F7B1D3}"/>
                </c:ext>
              </c:extLst>
            </c:dLbl>
            <c:dLbl>
              <c:idx val="27"/>
              <c:tx>
                <c:rich>
                  <a:bodyPr/>
                  <a:lstStyle/>
                  <a:p>
                    <a:fld id="{4373A274-D62D-4B35-8480-8071DF94E91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499F-4374-933C-119751F7B1D3}"/>
                </c:ext>
              </c:extLst>
            </c:dLbl>
            <c:dLbl>
              <c:idx val="28"/>
              <c:tx>
                <c:rich>
                  <a:bodyPr/>
                  <a:lstStyle/>
                  <a:p>
                    <a:fld id="{5E65E991-7476-430A-B9FA-546DD5C3218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499F-4374-933C-119751F7B1D3}"/>
                </c:ext>
              </c:extLst>
            </c:dLbl>
            <c:dLbl>
              <c:idx val="29"/>
              <c:tx>
                <c:rich>
                  <a:bodyPr/>
                  <a:lstStyle/>
                  <a:p>
                    <a:fld id="{988A5DF2-FC72-4949-8379-E1D29ACAF59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499F-4374-933C-119751F7B1D3}"/>
                </c:ext>
              </c:extLst>
            </c:dLbl>
            <c:dLbl>
              <c:idx val="30"/>
              <c:tx>
                <c:rich>
                  <a:bodyPr/>
                  <a:lstStyle/>
                  <a:p>
                    <a:fld id="{9C6E8632-926D-4DB2-973E-A99B45A7611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499F-4374-933C-119751F7B1D3}"/>
                </c:ext>
              </c:extLst>
            </c:dLbl>
            <c:dLbl>
              <c:idx val="31"/>
              <c:tx>
                <c:rich>
                  <a:bodyPr/>
                  <a:lstStyle/>
                  <a:p>
                    <a:fld id="{A94C990F-7685-4D44-B982-B2E5091A4BE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99F-4374-933C-119751F7B1D3}"/>
                </c:ext>
              </c:extLst>
            </c:dLbl>
            <c:dLbl>
              <c:idx val="32"/>
              <c:tx>
                <c:rich>
                  <a:bodyPr/>
                  <a:lstStyle/>
                  <a:p>
                    <a:fld id="{D44AE1F1-9159-43A6-96FA-FDB9FD8AA0D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499F-4374-933C-119751F7B1D3}"/>
                </c:ext>
              </c:extLst>
            </c:dLbl>
            <c:dLbl>
              <c:idx val="33"/>
              <c:tx>
                <c:rich>
                  <a:bodyPr/>
                  <a:lstStyle/>
                  <a:p>
                    <a:fld id="{646463D3-C247-4536-9496-FF381E070D3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499F-4374-933C-119751F7B1D3}"/>
                </c:ext>
              </c:extLst>
            </c:dLbl>
            <c:dLbl>
              <c:idx val="34"/>
              <c:tx>
                <c:rich>
                  <a:bodyPr/>
                  <a:lstStyle/>
                  <a:p>
                    <a:fld id="{C818AB17-A8AC-45F2-BBF1-2D511846227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499F-4374-933C-119751F7B1D3}"/>
                </c:ext>
              </c:extLst>
            </c:dLbl>
            <c:dLbl>
              <c:idx val="35"/>
              <c:tx>
                <c:rich>
                  <a:bodyPr/>
                  <a:lstStyle/>
                  <a:p>
                    <a:fld id="{DC15F73F-8F92-43FF-A754-E2847F0B08F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499F-4374-933C-119751F7B1D3}"/>
                </c:ext>
              </c:extLst>
            </c:dLbl>
            <c:dLbl>
              <c:idx val="36"/>
              <c:tx>
                <c:rich>
                  <a:bodyPr/>
                  <a:lstStyle/>
                  <a:p>
                    <a:fld id="{4029EB6F-40F1-41EB-A3F3-012108D5C4A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499F-4374-933C-119751F7B1D3}"/>
                </c:ext>
              </c:extLst>
            </c:dLbl>
            <c:dLbl>
              <c:idx val="37"/>
              <c:tx>
                <c:rich>
                  <a:bodyPr/>
                  <a:lstStyle/>
                  <a:p>
                    <a:fld id="{BE5BBDB5-FB08-45BF-901D-EB0B40C12CD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499F-4374-933C-119751F7B1D3}"/>
                </c:ext>
              </c:extLst>
            </c:dLbl>
            <c:dLbl>
              <c:idx val="38"/>
              <c:tx>
                <c:rich>
                  <a:bodyPr/>
                  <a:lstStyle/>
                  <a:p>
                    <a:fld id="{D824EA8D-3757-4A87-BA38-0537675C12E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499F-4374-933C-119751F7B1D3}"/>
                </c:ext>
              </c:extLst>
            </c:dLbl>
            <c:dLbl>
              <c:idx val="39"/>
              <c:tx>
                <c:rich>
                  <a:bodyPr/>
                  <a:lstStyle/>
                  <a:p>
                    <a:fld id="{7C77BB91-B5A4-4376-958F-C896653F5A6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499F-4374-933C-119751F7B1D3}"/>
                </c:ext>
              </c:extLst>
            </c:dLbl>
            <c:dLbl>
              <c:idx val="40"/>
              <c:tx>
                <c:rich>
                  <a:bodyPr/>
                  <a:lstStyle/>
                  <a:p>
                    <a:fld id="{C40C1306-8F74-4C86-82EA-FAD4D33F346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499F-4374-933C-119751F7B1D3}"/>
                </c:ext>
              </c:extLst>
            </c:dLbl>
            <c:dLbl>
              <c:idx val="41"/>
              <c:tx>
                <c:rich>
                  <a:bodyPr/>
                  <a:lstStyle/>
                  <a:p>
                    <a:fld id="{A95ED43F-C8B3-44ED-9DA0-AE639315475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499F-4374-933C-119751F7B1D3}"/>
                </c:ext>
              </c:extLst>
            </c:dLbl>
            <c:dLbl>
              <c:idx val="42"/>
              <c:tx>
                <c:rich>
                  <a:bodyPr/>
                  <a:lstStyle/>
                  <a:p>
                    <a:fld id="{033B597E-A0C3-48D0-BA2D-95EC3B237D2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499F-4374-933C-119751F7B1D3}"/>
                </c:ext>
              </c:extLst>
            </c:dLbl>
            <c:dLbl>
              <c:idx val="43"/>
              <c:tx>
                <c:rich>
                  <a:bodyPr/>
                  <a:lstStyle/>
                  <a:p>
                    <a:fld id="{B8B183A0-A25B-4D3E-BDC5-7CC64298C3A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499F-4374-933C-119751F7B1D3}"/>
                </c:ext>
              </c:extLst>
            </c:dLbl>
            <c:dLbl>
              <c:idx val="44"/>
              <c:tx>
                <c:rich>
                  <a:bodyPr/>
                  <a:lstStyle/>
                  <a:p>
                    <a:fld id="{15CF3839-E29B-4172-A8F4-65EF003F2FE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499F-4374-933C-119751F7B1D3}"/>
                </c:ext>
              </c:extLst>
            </c:dLbl>
            <c:dLbl>
              <c:idx val="45"/>
              <c:tx>
                <c:rich>
                  <a:bodyPr/>
                  <a:lstStyle/>
                  <a:p>
                    <a:fld id="{5F691B1E-AE6A-45B9-B1F4-80CF14BA77C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499F-4374-933C-119751F7B1D3}"/>
                </c:ext>
              </c:extLst>
            </c:dLbl>
            <c:dLbl>
              <c:idx val="46"/>
              <c:tx>
                <c:rich>
                  <a:bodyPr/>
                  <a:lstStyle/>
                  <a:p>
                    <a:fld id="{AA551D74-1F3A-416A-A888-B1C03438918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499F-4374-933C-119751F7B1D3}"/>
                </c:ext>
              </c:extLst>
            </c:dLbl>
            <c:dLbl>
              <c:idx val="47"/>
              <c:tx>
                <c:rich>
                  <a:bodyPr/>
                  <a:lstStyle/>
                  <a:p>
                    <a:fld id="{870AB811-FB00-490B-93F4-219ABDEFB83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1</c:f>
              <c:numCache>
                <c:formatCode>General</c:formatCode>
                <c:ptCount val="10"/>
                <c:pt idx="0">
                  <c:v>0.1</c:v>
                </c:pt>
                <c:pt idx="1">
                  <c:v>0.1</c:v>
                </c:pt>
                <c:pt idx="2">
                  <c:v>0.09</c:v>
                </c:pt>
                <c:pt idx="3">
                  <c:v>0.15</c:v>
                </c:pt>
                <c:pt idx="4">
                  <c:v>0.16</c:v>
                </c:pt>
                <c:pt idx="5">
                  <c:v>0.15</c:v>
                </c:pt>
                <c:pt idx="6">
                  <c:v>0.63</c:v>
                </c:pt>
                <c:pt idx="7">
                  <c:v>0.32</c:v>
                </c:pt>
                <c:pt idx="8">
                  <c:v>0.18</c:v>
                </c:pt>
                <c:pt idx="9">
                  <c:v>0.09</c:v>
                </c:pt>
              </c:numCache>
            </c:numRef>
          </c:xVal>
          <c:yVal>
            <c:numRef>
              <c:f>Sheet1!$B$2:$B$11</c:f>
              <c:numCache>
                <c:formatCode>General</c:formatCode>
                <c:ptCount val="10"/>
                <c:pt idx="0">
                  <c:v>0.4197143642953225</c:v>
                </c:pt>
                <c:pt idx="1">
                  <c:v>0.32320337539724059</c:v>
                </c:pt>
                <c:pt idx="2">
                  <c:v>0.23922403546093141</c:v>
                </c:pt>
                <c:pt idx="3">
                  <c:v>0.49381739022692223</c:v>
                </c:pt>
                <c:pt idx="4">
                  <c:v>0.57079318111289845</c:v>
                </c:pt>
                <c:pt idx="5">
                  <c:v>0.81178606152356747</c:v>
                </c:pt>
                <c:pt idx="6">
                  <c:v>0.83815836216272344</c:v>
                </c:pt>
                <c:pt idx="7">
                  <c:v>0.88365894747429019</c:v>
                </c:pt>
                <c:pt idx="8">
                  <c:v>1.579525116803479</c:v>
                </c:pt>
                <c:pt idx="9">
                  <c:v>7.4240719910011244E-2</c:v>
                </c:pt>
              </c:numCache>
            </c:numRef>
          </c:yVal>
          <c:smooth val="0"/>
          <c:extLst>
            <c:ext xmlns:c15="http://schemas.microsoft.com/office/drawing/2012/chart" uri="{02D57815-91ED-43cb-92C2-25804820EDAC}">
              <c15:datalabelsRange>
                <c15:f>Sheet1!$E$2:$E$51</c15:f>
                <c15:dlblRangeCache>
                  <c:ptCount val="50"/>
                  <c:pt idx="0">
                    <c:v>GILLETTE FUSION 5 5 BLADE REFILL NORMAL 16CT</c:v>
                  </c:pt>
                  <c:pt idx="1">
                    <c:v>GILLETTE MACH 3 3 BLADE REFILL NORMAL 20CT</c:v>
                  </c:pt>
                  <c:pt idx="2">
                    <c:v>GILLETTE FUSION 5 PROGLIDE 5 BLADE RAZOR NORMAL 13CT</c:v>
                  </c:pt>
                  <c:pt idx="3">
                    <c:v>GILLETTE SKINGUARD POWER 2 BLADE REFILL SENSITIVE 13CT</c:v>
                  </c:pt>
                  <c:pt idx="4">
                    <c:v>GILLETTE FUSION 5 5 BLADE RAZOR NORMAL 9CT</c:v>
                  </c:pt>
                  <c:pt idx="5">
                    <c:v>HARRY'S ORANGE 5 BLADE RAZOR NORMAL 11CT</c:v>
                  </c:pt>
                  <c:pt idx="6">
                    <c:v>GILLETTE INTIMATE BLACK 5 BLADE RAZOR 9CT</c:v>
                  </c:pt>
                  <c:pt idx="7">
                    <c:v>GILLETTE FUSION 5 PROGLIDE 5 BLADE REFILL NORMAL 15CT</c:v>
                  </c:pt>
                  <c:pt idx="8">
                    <c:v>GILLETTE LABS 5 BLADE RAZOR NORMAL 6CT</c:v>
                  </c:pt>
                  <c:pt idx="9">
                    <c:v>GILLETTE FUSION 5 PROGLIDE 5 BLADE REFILL NORMAL 13CT</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max val="0.75600000000000001"/>
          <c:min val="7.1999999999999995E-2"/>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1.8954301401641751"/>
          <c:min val="5.9392575928008999E-2"/>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r>
                      <a:t>GILLETTE SENSOR 2 PLUS PIVOT 2 BLADE DISPOSABLE NORMAL 5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99F-4374-933C-119751F7B1D3}"/>
                </c:ext>
              </c:extLst>
            </c:dLbl>
            <c:dLbl>
              <c:idx val="1"/>
              <c:tx>
                <c:rich>
                  <a:bodyPr/>
                  <a:lstStyle/>
                  <a:p>
                    <a:r>
                      <a:t>SCHICK XTREME 3 SENSITIVE BLACK GREEN 3 BLADE DISPOSABLE SENSITIVE 20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99F-4374-933C-119751F7B1D3}"/>
                </c:ext>
              </c:extLst>
            </c:dLbl>
            <c:dLbl>
              <c:idx val="2"/>
              <c:tx>
                <c:rich>
                  <a:bodyPr/>
                  <a:lstStyle/>
                  <a:p>
                    <a:r>
                      <a:t>GILLETTE SENSOR 3 SENSITIVE BLUE GREEN 3 BLADE DISPOSABLE SENSITIVE 2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99F-4374-933C-119751F7B1D3}"/>
                </c:ext>
              </c:extLst>
            </c:dLbl>
            <c:dLbl>
              <c:idx val="3"/>
              <c:tx>
                <c:rich>
                  <a:bodyPr/>
                  <a:lstStyle/>
                  <a:p>
                    <a:r>
                      <a:t>SCHICK XTREME 3 SENSITIVE BLACK 3 BLADE DISPOSABLE SENSITIVE 20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99F-4374-933C-119751F7B1D3}"/>
                </c:ext>
              </c:extLst>
            </c:dLbl>
            <c:dLbl>
              <c:idx val="4"/>
              <c:tx>
                <c:rich>
                  <a:bodyPr/>
                  <a:lstStyle/>
                  <a:p>
                    <a:r>
                      <a:t>BIC FLEX 5 BLACK WHITE 5 BLADE DISPOSABLE NORMAL 9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99F-4374-933C-119751F7B1D3}"/>
                </c:ext>
              </c:extLst>
            </c:dLbl>
            <c:dLbl>
              <c:idx val="5"/>
              <c:tx>
                <c:rich>
                  <a:bodyPr/>
                  <a:lstStyle/>
                  <a:p>
                    <a:r>
                      <a:t>BIC 3 SENSITIVE BLUE GRAY 3 BLADE DISPOSABLE SENSITIVE 21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499F-4374-933C-119751F7B1D3}"/>
                </c:ext>
              </c:extLst>
            </c:dLbl>
            <c:dLbl>
              <c:idx val="6"/>
              <c:tx>
                <c:rich>
                  <a:bodyPr/>
                  <a:lstStyle/>
                  <a:p>
                    <a:r>
                      <a:t>SCHICK XTREME 3 SENSITIVE 3 BLADE DISPOSABLE SENSITIVE 25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499F-4374-933C-119751F7B1D3}"/>
                </c:ext>
              </c:extLst>
            </c:dLbl>
            <c:dLbl>
              <c:idx val="7"/>
              <c:tx>
                <c:rich>
                  <a:bodyPr/>
                  <a:lstStyle/>
                  <a:p>
                    <a:fld id="{CD5ACF0E-93BE-4B99-9DAD-59BBA2AF295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99F-4374-933C-119751F7B1D3}"/>
                </c:ext>
              </c:extLst>
            </c:dLbl>
            <c:dLbl>
              <c:idx val="8"/>
              <c:tx>
                <c:rich>
                  <a:bodyPr/>
                  <a:lstStyle/>
                  <a:p>
                    <a:fld id="{B5C9E2B1-F285-4547-BECD-FCEEAE8327C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99F-4374-933C-119751F7B1D3}"/>
                </c:ext>
              </c:extLst>
            </c:dLbl>
            <c:dLbl>
              <c:idx val="9"/>
              <c:tx>
                <c:rich>
                  <a:bodyPr/>
                  <a:lstStyle/>
                  <a:p>
                    <a:fld id="{D2A271F9-3AEA-42D2-9B69-D742267C1B2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499F-4374-933C-119751F7B1D3}"/>
                </c:ext>
              </c:extLst>
            </c:dLbl>
            <c:dLbl>
              <c:idx val="10"/>
              <c:tx>
                <c:rich>
                  <a:bodyPr/>
                  <a:lstStyle/>
                  <a:p>
                    <a:fld id="{0DCD09D2-975F-4977-BDFF-2637C90D43A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499F-4374-933C-119751F7B1D3}"/>
                </c:ext>
              </c:extLst>
            </c:dLbl>
            <c:dLbl>
              <c:idx val="11"/>
              <c:tx>
                <c:rich>
                  <a:bodyPr/>
                  <a:lstStyle/>
                  <a:p>
                    <a:fld id="{09ACD0F1-8C42-48CB-986F-4EB97438DC4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499F-4374-933C-119751F7B1D3}"/>
                </c:ext>
              </c:extLst>
            </c:dLbl>
            <c:dLbl>
              <c:idx val="12"/>
              <c:tx>
                <c:rich>
                  <a:bodyPr/>
                  <a:lstStyle/>
                  <a:p>
                    <a:fld id="{2B78FD81-49E4-427C-AF06-FB29FE47978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499F-4374-933C-119751F7B1D3}"/>
                </c:ext>
              </c:extLst>
            </c:dLbl>
            <c:dLbl>
              <c:idx val="13"/>
              <c:tx>
                <c:rich>
                  <a:bodyPr/>
                  <a:lstStyle/>
                  <a:p>
                    <a:fld id="{9EFCF3CE-12AA-4E05-A109-F16790A1099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499F-4374-933C-119751F7B1D3}"/>
                </c:ext>
              </c:extLst>
            </c:dLbl>
            <c:dLbl>
              <c:idx val="14"/>
              <c:tx>
                <c:rich>
                  <a:bodyPr/>
                  <a:lstStyle/>
                  <a:p>
                    <a:fld id="{AA68681A-1973-4C81-BD19-2791A53C753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499F-4374-933C-119751F7B1D3}"/>
                </c:ext>
              </c:extLst>
            </c:dLbl>
            <c:dLbl>
              <c:idx val="15"/>
              <c:tx>
                <c:rich>
                  <a:bodyPr/>
                  <a:lstStyle/>
                  <a:p>
                    <a:fld id="{D268A7BD-442F-4E03-8DB5-D35441FAE17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499F-4374-933C-119751F7B1D3}"/>
                </c:ext>
              </c:extLst>
            </c:dLbl>
            <c:dLbl>
              <c:idx val="16"/>
              <c:tx>
                <c:rich>
                  <a:bodyPr/>
                  <a:lstStyle/>
                  <a:p>
                    <a:fld id="{26CCA3E4-E5F9-4E8A-B003-A992FCD0B52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17EC-4EE8-A064-668E05F5E5BB}"/>
                </c:ext>
              </c:extLst>
            </c:dLbl>
            <c:dLbl>
              <c:idx val="17"/>
              <c:tx>
                <c:rich>
                  <a:bodyPr/>
                  <a:lstStyle/>
                  <a:p>
                    <a:fld id="{B1BFC092-1830-4D53-AEF4-7FF5345B424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499F-4374-933C-119751F7B1D3}"/>
                </c:ext>
              </c:extLst>
            </c:dLbl>
            <c:dLbl>
              <c:idx val="18"/>
              <c:tx>
                <c:rich>
                  <a:bodyPr/>
                  <a:lstStyle/>
                  <a:p>
                    <a:fld id="{9A23DBB5-E111-42C2-9C19-306FADF457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05C-4186-8239-DC3766495C90}"/>
                </c:ext>
              </c:extLst>
            </c:dLbl>
            <c:dLbl>
              <c:idx val="19"/>
              <c:tx>
                <c:rich>
                  <a:bodyPr/>
                  <a:lstStyle/>
                  <a:p>
                    <a:fld id="{427EA346-C09D-4ED2-A8BE-7CAB4929B9C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499F-4374-933C-119751F7B1D3}"/>
                </c:ext>
              </c:extLst>
            </c:dLbl>
            <c:dLbl>
              <c:idx val="20"/>
              <c:tx>
                <c:rich>
                  <a:bodyPr/>
                  <a:lstStyle/>
                  <a:p>
                    <a:fld id="{BE15B123-B7DD-4CE2-9C38-B5D76563456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499F-4374-933C-119751F7B1D3}"/>
                </c:ext>
              </c:extLst>
            </c:dLbl>
            <c:dLbl>
              <c:idx val="21"/>
              <c:tx>
                <c:rich>
                  <a:bodyPr/>
                  <a:lstStyle/>
                  <a:p>
                    <a:fld id="{B49611F1-5BB3-4913-A383-35DA53742CA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499F-4374-933C-119751F7B1D3}"/>
                </c:ext>
              </c:extLst>
            </c:dLbl>
            <c:dLbl>
              <c:idx val="22"/>
              <c:tx>
                <c:rich>
                  <a:bodyPr/>
                  <a:lstStyle/>
                  <a:p>
                    <a:fld id="{BDD78C1F-1053-4433-82D1-6B20EE723C2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499F-4374-933C-119751F7B1D3}"/>
                </c:ext>
              </c:extLst>
            </c:dLbl>
            <c:dLbl>
              <c:idx val="23"/>
              <c:tx>
                <c:rich>
                  <a:bodyPr/>
                  <a:lstStyle/>
                  <a:p>
                    <a:fld id="{E10E7A47-4994-4D71-83AD-881463A8E35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499F-4374-933C-119751F7B1D3}"/>
                </c:ext>
              </c:extLst>
            </c:dLbl>
            <c:dLbl>
              <c:idx val="24"/>
              <c:tx>
                <c:rich>
                  <a:bodyPr/>
                  <a:lstStyle/>
                  <a:p>
                    <a:fld id="{4320931B-A60E-48B4-82D7-73FB3DC1580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499F-4374-933C-119751F7B1D3}"/>
                </c:ext>
              </c:extLst>
            </c:dLbl>
            <c:dLbl>
              <c:idx val="25"/>
              <c:tx>
                <c:rich>
                  <a:bodyPr/>
                  <a:lstStyle/>
                  <a:p>
                    <a:fld id="{EB1E4049-B966-4DFD-9C38-8404303A67E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499F-4374-933C-119751F7B1D3}"/>
                </c:ext>
              </c:extLst>
            </c:dLbl>
            <c:dLbl>
              <c:idx val="26"/>
              <c:tx>
                <c:rich>
                  <a:bodyPr/>
                  <a:lstStyle/>
                  <a:p>
                    <a:fld id="{77FF6A0E-4EE6-4234-9EA5-CA21702FC2F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499F-4374-933C-119751F7B1D3}"/>
                </c:ext>
              </c:extLst>
            </c:dLbl>
            <c:dLbl>
              <c:idx val="27"/>
              <c:tx>
                <c:rich>
                  <a:bodyPr/>
                  <a:lstStyle/>
                  <a:p>
                    <a:fld id="{50F874CC-407F-4DEE-8C24-69B2BD5DF4B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499F-4374-933C-119751F7B1D3}"/>
                </c:ext>
              </c:extLst>
            </c:dLbl>
            <c:dLbl>
              <c:idx val="28"/>
              <c:tx>
                <c:rich>
                  <a:bodyPr/>
                  <a:lstStyle/>
                  <a:p>
                    <a:fld id="{2BF244DD-9648-4A83-8111-81F514A5960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499F-4374-933C-119751F7B1D3}"/>
                </c:ext>
              </c:extLst>
            </c:dLbl>
            <c:dLbl>
              <c:idx val="29"/>
              <c:tx>
                <c:rich>
                  <a:bodyPr/>
                  <a:lstStyle/>
                  <a:p>
                    <a:fld id="{4B4CDB51-3915-44A3-85B6-0C0CB8BF8FB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499F-4374-933C-119751F7B1D3}"/>
                </c:ext>
              </c:extLst>
            </c:dLbl>
            <c:dLbl>
              <c:idx val="30"/>
              <c:tx>
                <c:rich>
                  <a:bodyPr/>
                  <a:lstStyle/>
                  <a:p>
                    <a:fld id="{DC7B61BE-7360-4AC3-816E-C94E7D2EB07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499F-4374-933C-119751F7B1D3}"/>
                </c:ext>
              </c:extLst>
            </c:dLbl>
            <c:dLbl>
              <c:idx val="31"/>
              <c:tx>
                <c:rich>
                  <a:bodyPr/>
                  <a:lstStyle/>
                  <a:p>
                    <a:fld id="{28F245DB-9062-4C97-85B5-73212379309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99F-4374-933C-119751F7B1D3}"/>
                </c:ext>
              </c:extLst>
            </c:dLbl>
            <c:dLbl>
              <c:idx val="32"/>
              <c:tx>
                <c:rich>
                  <a:bodyPr/>
                  <a:lstStyle/>
                  <a:p>
                    <a:fld id="{FB972777-75EE-4570-8CF5-C3BD71D845E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499F-4374-933C-119751F7B1D3}"/>
                </c:ext>
              </c:extLst>
            </c:dLbl>
            <c:dLbl>
              <c:idx val="33"/>
              <c:tx>
                <c:rich>
                  <a:bodyPr/>
                  <a:lstStyle/>
                  <a:p>
                    <a:fld id="{3732FD8A-EDA7-4B98-B2AD-0215BC7ADDC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499F-4374-933C-119751F7B1D3}"/>
                </c:ext>
              </c:extLst>
            </c:dLbl>
            <c:dLbl>
              <c:idx val="34"/>
              <c:tx>
                <c:rich>
                  <a:bodyPr/>
                  <a:lstStyle/>
                  <a:p>
                    <a:fld id="{44267828-5992-4795-9845-7244C6479F4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499F-4374-933C-119751F7B1D3}"/>
                </c:ext>
              </c:extLst>
            </c:dLbl>
            <c:dLbl>
              <c:idx val="35"/>
              <c:tx>
                <c:rich>
                  <a:bodyPr/>
                  <a:lstStyle/>
                  <a:p>
                    <a:fld id="{F0843BDE-6860-4A31-9E97-951C7F5FD22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499F-4374-933C-119751F7B1D3}"/>
                </c:ext>
              </c:extLst>
            </c:dLbl>
            <c:dLbl>
              <c:idx val="36"/>
              <c:tx>
                <c:rich>
                  <a:bodyPr/>
                  <a:lstStyle/>
                  <a:p>
                    <a:fld id="{937EE2AD-3533-46F3-993F-869044E5889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499F-4374-933C-119751F7B1D3}"/>
                </c:ext>
              </c:extLst>
            </c:dLbl>
            <c:dLbl>
              <c:idx val="37"/>
              <c:tx>
                <c:rich>
                  <a:bodyPr/>
                  <a:lstStyle/>
                  <a:p>
                    <a:fld id="{B6E1C20C-45A5-46E0-A0FF-FC1E8E288B6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499F-4374-933C-119751F7B1D3}"/>
                </c:ext>
              </c:extLst>
            </c:dLbl>
            <c:dLbl>
              <c:idx val="38"/>
              <c:tx>
                <c:rich>
                  <a:bodyPr/>
                  <a:lstStyle/>
                  <a:p>
                    <a:fld id="{2078CB8C-A087-4193-9486-4D1888A2B29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499F-4374-933C-119751F7B1D3}"/>
                </c:ext>
              </c:extLst>
            </c:dLbl>
            <c:dLbl>
              <c:idx val="39"/>
              <c:tx>
                <c:rich>
                  <a:bodyPr/>
                  <a:lstStyle/>
                  <a:p>
                    <a:fld id="{971EE0DA-FAA5-45B4-849F-7D30BB4A7B5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499F-4374-933C-119751F7B1D3}"/>
                </c:ext>
              </c:extLst>
            </c:dLbl>
            <c:dLbl>
              <c:idx val="40"/>
              <c:tx>
                <c:rich>
                  <a:bodyPr/>
                  <a:lstStyle/>
                  <a:p>
                    <a:fld id="{87CBC1F8-282F-4D3E-9FB5-8F58132EFBB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499F-4374-933C-119751F7B1D3}"/>
                </c:ext>
              </c:extLst>
            </c:dLbl>
            <c:dLbl>
              <c:idx val="41"/>
              <c:tx>
                <c:rich>
                  <a:bodyPr/>
                  <a:lstStyle/>
                  <a:p>
                    <a:fld id="{65AAFDDC-EE52-45E9-9473-C5A12CAB734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499F-4374-933C-119751F7B1D3}"/>
                </c:ext>
              </c:extLst>
            </c:dLbl>
            <c:dLbl>
              <c:idx val="42"/>
              <c:tx>
                <c:rich>
                  <a:bodyPr/>
                  <a:lstStyle/>
                  <a:p>
                    <a:fld id="{8AC3FAB8-6D15-4CFA-9E62-E282B3BD6AA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499F-4374-933C-119751F7B1D3}"/>
                </c:ext>
              </c:extLst>
            </c:dLbl>
            <c:dLbl>
              <c:idx val="43"/>
              <c:tx>
                <c:rich>
                  <a:bodyPr/>
                  <a:lstStyle/>
                  <a:p>
                    <a:fld id="{3B8B99D4-527A-45E1-AEBD-827072016EB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499F-4374-933C-119751F7B1D3}"/>
                </c:ext>
              </c:extLst>
            </c:dLbl>
            <c:dLbl>
              <c:idx val="44"/>
              <c:tx>
                <c:rich>
                  <a:bodyPr/>
                  <a:lstStyle/>
                  <a:p>
                    <a:fld id="{8910EA2B-E7B7-43EE-99F7-71BFD94AD1D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499F-4374-933C-119751F7B1D3}"/>
                </c:ext>
              </c:extLst>
            </c:dLbl>
            <c:dLbl>
              <c:idx val="45"/>
              <c:tx>
                <c:rich>
                  <a:bodyPr/>
                  <a:lstStyle/>
                  <a:p>
                    <a:fld id="{6C3375F9-FB08-4435-8AEE-9B34120A9C5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499F-4374-933C-119751F7B1D3}"/>
                </c:ext>
              </c:extLst>
            </c:dLbl>
            <c:dLbl>
              <c:idx val="46"/>
              <c:tx>
                <c:rich>
                  <a:bodyPr/>
                  <a:lstStyle/>
                  <a:p>
                    <a:fld id="{5CD2C3C0-68B6-4151-9DAF-D480C5123F9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499F-4374-933C-119751F7B1D3}"/>
                </c:ext>
              </c:extLst>
            </c:dLbl>
            <c:dLbl>
              <c:idx val="47"/>
              <c:tx>
                <c:rich>
                  <a:bodyPr/>
                  <a:lstStyle/>
                  <a:p>
                    <a:fld id="{A7A611F9-03DD-472B-AA2A-0AFD1DA975E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8</c:f>
              <c:numCache>
                <c:formatCode>General</c:formatCode>
                <c:ptCount val="7"/>
                <c:pt idx="0">
                  <c:v>0.09</c:v>
                </c:pt>
                <c:pt idx="1">
                  <c:v>0.19</c:v>
                </c:pt>
                <c:pt idx="2">
                  <c:v>0.11</c:v>
                </c:pt>
                <c:pt idx="3">
                  <c:v>0.13</c:v>
                </c:pt>
                <c:pt idx="4">
                  <c:v>0.14000000000000001</c:v>
                </c:pt>
                <c:pt idx="5">
                  <c:v>0.19</c:v>
                </c:pt>
                <c:pt idx="6">
                  <c:v>0.17</c:v>
                </c:pt>
              </c:numCache>
            </c:numRef>
          </c:xVal>
          <c:yVal>
            <c:numRef>
              <c:f>Sheet1!$B$2:$B$8</c:f>
              <c:numCache>
                <c:formatCode>General</c:formatCode>
                <c:ptCount val="7"/>
                <c:pt idx="0">
                  <c:v>0.36277329371209649</c:v>
                </c:pt>
                <c:pt idx="1">
                  <c:v>0.52921708306887005</c:v>
                </c:pt>
                <c:pt idx="2">
                  <c:v>0.64009917186930121</c:v>
                </c:pt>
                <c:pt idx="3">
                  <c:v>0.25939355305945577</c:v>
                </c:pt>
                <c:pt idx="4">
                  <c:v>0.44598121117037659</c:v>
                </c:pt>
                <c:pt idx="5">
                  <c:v>0.68008821676118458</c:v>
                </c:pt>
                <c:pt idx="6">
                  <c:v>0.27878787878787881</c:v>
                </c:pt>
              </c:numCache>
            </c:numRef>
          </c:yVal>
          <c:smooth val="0"/>
          <c:extLst>
            <c:ext xmlns:c15="http://schemas.microsoft.com/office/drawing/2012/chart" uri="{02D57815-91ED-43cb-92C2-25804820EDAC}">
              <c15:datalabelsRange>
                <c15:f>Sheet1!$E$2:$E$51</c15:f>
                <c15:dlblRangeCache>
                  <c:ptCount val="50"/>
                  <c:pt idx="0">
                    <c:v>GILLETTE SENSOR 2 PLUS PIVOT 2 BLADE DISPOSABLE NORMAL 52CT</c:v>
                  </c:pt>
                  <c:pt idx="1">
                    <c:v>SCHICK XTREME 3 SENSITIVE BLACK GREEN 3 BLADE DISPOSABLE SENSITIVE 20CT</c:v>
                  </c:pt>
                  <c:pt idx="2">
                    <c:v>GILLETTE SENSOR 3 SENSITIVE BLUE GREEN 3 BLADE DISPOSABLE SENSITIVE 24CT</c:v>
                  </c:pt>
                  <c:pt idx="3">
                    <c:v>SCHICK XTREME 3 SENSITIVE BLACK 3 BLADE DISPOSABLE SENSITIVE 20CT</c:v>
                  </c:pt>
                  <c:pt idx="4">
                    <c:v>BIC FLEX 5 BLACK WHITE 5 BLADE DISPOSABLE NORMAL 9CT</c:v>
                  </c:pt>
                  <c:pt idx="5">
                    <c:v>BIC 3 SENSITIVE BLUE GRAY 3 BLADE DISPOSABLE SENSITIVE 21CT</c:v>
                  </c:pt>
                  <c:pt idx="6">
                    <c:v>SCHICK XTREME 3 SENSITIVE 3 BLADE DISPOSABLE SENSITIVE 25CT</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max val="0.22799999999999998"/>
          <c:min val="7.1999999999999995E-2"/>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0.81610586011342146"/>
          <c:min val="0.20751484244756463"/>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r>
                      <a:t>GILLETTE FUSION 5 BLACK HOLIDAY GIFT PACK 5 BLADE RAZOR NORMAL 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99F-4374-933C-119751F7B1D3}"/>
                </c:ext>
              </c:extLst>
            </c:dLbl>
            <c:dLbl>
              <c:idx val="1"/>
              <c:tx>
                <c:rich>
                  <a:bodyPr/>
                  <a:lstStyle/>
                  <a:p>
                    <a:r>
                      <a:t>BIC COMFORT 3 BLACK HOLIDAY GIFT PACK 3 BLADE HYBRID NORMAL 15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99F-4374-933C-119751F7B1D3}"/>
                </c:ext>
              </c:extLst>
            </c:dLbl>
            <c:dLbl>
              <c:idx val="2"/>
              <c:tx>
                <c:rich>
                  <a:bodyPr/>
                  <a:lstStyle/>
                  <a:p>
                    <a:r>
                      <a:t>GILLETTE FUSION 5 PROGLIDE 5 BLADE REFILL NORMAL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99F-4374-933C-119751F7B1D3}"/>
                </c:ext>
              </c:extLst>
            </c:dLbl>
            <c:dLbl>
              <c:idx val="3"/>
              <c:tx>
                <c:rich>
                  <a:bodyPr/>
                  <a:lstStyle/>
                  <a:p>
                    <a:r>
                      <a:t>HYDRO 5 SENSITIVE 5 BLADE REFILL SENSITIVE 6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99F-4374-933C-119751F7B1D3}"/>
                </c:ext>
              </c:extLst>
            </c:dLbl>
            <c:dLbl>
              <c:idx val="4"/>
              <c:tx>
                <c:rich>
                  <a:bodyPr/>
                  <a:lstStyle/>
                  <a:p>
                    <a:r>
                      <a:t>HYDRO 5 SENSITIVE GRAY HOLIDAY GIFT PACK 5 BLADE RAZOR SENSITIVE 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99F-4374-933C-119751F7B1D3}"/>
                </c:ext>
              </c:extLst>
            </c:dLbl>
            <c:dLbl>
              <c:idx val="5"/>
              <c:tx>
                <c:rich>
                  <a:bodyPr/>
                  <a:lstStyle/>
                  <a:p>
                    <a:r>
                      <a:t>GILLETTE FUSION 5 PROGLIDE 5 BLADE REFILL NORMAL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499F-4374-933C-119751F7B1D3}"/>
                </c:ext>
              </c:extLst>
            </c:dLbl>
            <c:dLbl>
              <c:idx val="6"/>
              <c:tx>
                <c:rich>
                  <a:bodyPr/>
                  <a:lstStyle/>
                  <a:p>
                    <a:r>
                      <a:t>BIC FLEX 5 HYBRID BLACK WHITE HOLIDAY GIFT PACK 5 BLADE HYBRID NORMAL 7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499F-4374-933C-119751F7B1D3}"/>
                </c:ext>
              </c:extLst>
            </c:dLbl>
            <c:dLbl>
              <c:idx val="7"/>
              <c:tx>
                <c:rich>
                  <a:bodyPr/>
                  <a:lstStyle/>
                  <a:p>
                    <a:r>
                      <a:t>HYDRO 5 SENSITIVE 5 BLADE REFILL SENSITIVE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499F-4374-933C-119751F7B1D3}"/>
                </c:ext>
              </c:extLst>
            </c:dLbl>
            <c:dLbl>
              <c:idx val="8"/>
              <c:tx>
                <c:rich>
                  <a:bodyPr/>
                  <a:lstStyle/>
                  <a:p>
                    <a:r>
                      <a:t>GILLETTE LABS ARCTIC CAMO HOLIDAY GIFT PACK 5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8-499F-4374-933C-119751F7B1D3}"/>
                </c:ext>
              </c:extLst>
            </c:dLbl>
            <c:dLbl>
              <c:idx val="9"/>
              <c:tx>
                <c:rich>
                  <a:bodyPr/>
                  <a:lstStyle/>
                  <a:p>
                    <a:r>
                      <a:t>DOLLAR SHAVE CLUB BLACK 6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499F-4374-933C-119751F7B1D3}"/>
                </c:ext>
              </c:extLst>
            </c:dLbl>
            <c:dLbl>
              <c:idx val="10"/>
              <c:tx>
                <c:rich>
                  <a:bodyPr/>
                  <a:lstStyle/>
                  <a:p>
                    <a:r>
                      <a:t>GILLETTE FUSION 5 PROGLIDE 5 BLADE RAZOR NORMAL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499F-4374-933C-119751F7B1D3}"/>
                </c:ext>
              </c:extLst>
            </c:dLbl>
            <c:dLbl>
              <c:idx val="11"/>
              <c:tx>
                <c:rich>
                  <a:bodyPr/>
                  <a:lstStyle/>
                  <a:p>
                    <a:r>
                      <a:t>DOLLAR SHAVE CLUB 6 BLADE REFILL NORMAL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499F-4374-933C-119751F7B1D3}"/>
                </c:ext>
              </c:extLst>
            </c:dLbl>
            <c:dLbl>
              <c:idx val="12"/>
              <c:tx>
                <c:rich>
                  <a:bodyPr/>
                  <a:lstStyle/>
                  <a:p>
                    <a:r>
                      <a:t>BIC COMFORT 3 HYBRID 3 BLADE HYBRID SENSITIVE 6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499F-4374-933C-119751F7B1D3}"/>
                </c:ext>
              </c:extLst>
            </c:dLbl>
            <c:dLbl>
              <c:idx val="13"/>
              <c:tx>
                <c:rich>
                  <a:bodyPr/>
                  <a:lstStyle/>
                  <a:p>
                    <a:r>
                      <a:t>GILLETTE FUSION 5 5 BLADE RAZOR NORMAL 5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D-499F-4374-933C-119751F7B1D3}"/>
                </c:ext>
              </c:extLst>
            </c:dLbl>
            <c:dLbl>
              <c:idx val="14"/>
              <c:tx>
                <c:rich>
                  <a:bodyPr/>
                  <a:lstStyle/>
                  <a:p>
                    <a:r>
                      <a:t>GILLETTE LABS 5 BLADE RAZOR NORMAL 1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E-499F-4374-933C-119751F7B1D3}"/>
                </c:ext>
              </c:extLst>
            </c:dLbl>
            <c:dLbl>
              <c:idx val="15"/>
              <c:tx>
                <c:rich>
                  <a:bodyPr/>
                  <a:lstStyle/>
                  <a:p>
                    <a:r>
                      <a:t>GILLETTE FUSION 5 5 BLADE REFILL NORMAL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F-499F-4374-933C-119751F7B1D3}"/>
                </c:ext>
              </c:extLst>
            </c:dLbl>
            <c:dLbl>
              <c:idx val="16"/>
              <c:tx>
                <c:rich>
                  <a:bodyPr/>
                  <a:lstStyle/>
                  <a:p>
                    <a:r>
                      <a:t>GILLETTE MACH 3 3 BLADE REFILL NORMAL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17EC-4EE8-A064-668E05F5E5BB}"/>
                </c:ext>
              </c:extLst>
            </c:dLbl>
            <c:dLbl>
              <c:idx val="17"/>
              <c:tx>
                <c:rich>
                  <a:bodyPr/>
                  <a:lstStyle/>
                  <a:p>
                    <a:r>
                      <a:t>GILLETTE LABS 5 BLADE REFILL NORMAL 6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499F-4374-933C-119751F7B1D3}"/>
                </c:ext>
              </c:extLst>
            </c:dLbl>
            <c:dLbl>
              <c:idx val="18"/>
              <c:tx>
                <c:rich>
                  <a:bodyPr/>
                  <a:lstStyle/>
                  <a:p>
                    <a:r>
                      <a:t>HYDRO 5 SENSITIVE 5 BLADE RAZOR SENSITIVE 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E05C-4186-8239-DC3766495C90}"/>
                </c:ext>
              </c:extLst>
            </c:dLbl>
            <c:dLbl>
              <c:idx val="19"/>
              <c:tx>
                <c:rich>
                  <a:bodyPr/>
                  <a:lstStyle/>
                  <a:p>
                    <a:r>
                      <a:t>DOLLAR SHAVE CLUB 6 BLADE REFILL NORMAL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499F-4374-933C-119751F7B1D3}"/>
                </c:ext>
              </c:extLst>
            </c:dLbl>
            <c:dLbl>
              <c:idx val="20"/>
              <c:tx>
                <c:rich>
                  <a:bodyPr/>
                  <a:lstStyle/>
                  <a:p>
                    <a:r>
                      <a:t>GILLETTE FUSION 5 5 BLADE RAZOR NORMAL 1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499F-4374-933C-119751F7B1D3}"/>
                </c:ext>
              </c:extLst>
            </c:dLbl>
            <c:dLbl>
              <c:idx val="21"/>
              <c:tx>
                <c:rich>
                  <a:bodyPr/>
                  <a:lstStyle/>
                  <a:p>
                    <a:r>
                      <a:t>HARRY'S 5 BLADE REFILL NORMAL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3-499F-4374-933C-119751F7B1D3}"/>
                </c:ext>
              </c:extLst>
            </c:dLbl>
            <c:dLbl>
              <c:idx val="22"/>
              <c:tx>
                <c:rich>
                  <a:bodyPr/>
                  <a:lstStyle/>
                  <a:p>
                    <a:r>
                      <a:t>GILLETTE LABS 5 BLADE RAZOR NORMAL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4-499F-4374-933C-119751F7B1D3}"/>
                </c:ext>
              </c:extLst>
            </c:dLbl>
            <c:dLbl>
              <c:idx val="23"/>
              <c:tx>
                <c:rich>
                  <a:bodyPr/>
                  <a:lstStyle/>
                  <a:p>
                    <a:r>
                      <a:t>GILLETTE FUSION 5 PROSHIELD GRAY 5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499F-4374-933C-119751F7B1D3}"/>
                </c:ext>
              </c:extLst>
            </c:dLbl>
            <c:dLbl>
              <c:idx val="24"/>
              <c:tx>
                <c:rich>
                  <a:bodyPr/>
                  <a:lstStyle/>
                  <a:p>
                    <a:r>
                      <a:t>EQUATE EASY FIT 5 5 BLADE REFILL NORMAL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499F-4374-933C-119751F7B1D3}"/>
                </c:ext>
              </c:extLst>
            </c:dLbl>
            <c:dLbl>
              <c:idx val="25"/>
              <c:tx>
                <c:rich>
                  <a:bodyPr/>
                  <a:lstStyle/>
                  <a:p>
                    <a:r>
                      <a:t>GILLETTE LABS 5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499F-4374-933C-119751F7B1D3}"/>
                </c:ext>
              </c:extLst>
            </c:dLbl>
            <c:dLbl>
              <c:idx val="26"/>
              <c:tx>
                <c:rich>
                  <a:bodyPr/>
                  <a:lstStyle/>
                  <a:p>
                    <a:r>
                      <a:t>GILLETTE FUSION 5 PROGLIDE STYLER REM BLADES RAZOR 1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499F-4374-933C-119751F7B1D3}"/>
                </c:ext>
              </c:extLst>
            </c:dLbl>
            <c:dLbl>
              <c:idx val="27"/>
              <c:tx>
                <c:rich>
                  <a:bodyPr/>
                  <a:lstStyle/>
                  <a:p>
                    <a:r>
                      <a:t>GILLETTE MACH 3 3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499F-4374-933C-119751F7B1D3}"/>
                </c:ext>
              </c:extLst>
            </c:dLbl>
            <c:dLbl>
              <c:idx val="28"/>
              <c:tx>
                <c:rich>
                  <a:bodyPr/>
                  <a:lstStyle/>
                  <a:p>
                    <a:r>
                      <a:t>GILLETTE FUSION 5 5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A-499F-4374-933C-119751F7B1D3}"/>
                </c:ext>
              </c:extLst>
            </c:dLbl>
            <c:dLbl>
              <c:idx val="29"/>
              <c:tx>
                <c:rich>
                  <a:bodyPr/>
                  <a:lstStyle/>
                  <a:p>
                    <a:r>
                      <a:t>BIC FLEX 5 HYBRID 5 BLADE HYBRID NORMAL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B-499F-4374-933C-119751F7B1D3}"/>
                </c:ext>
              </c:extLst>
            </c:dLbl>
            <c:dLbl>
              <c:idx val="30"/>
              <c:tx>
                <c:rich>
                  <a:bodyPr/>
                  <a:lstStyle/>
                  <a:p>
                    <a:r>
                      <a:t>GILLETTE FUSION 5 5 BLADE RAZOR NORMAL 7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C-499F-4374-933C-119751F7B1D3}"/>
                </c:ext>
              </c:extLst>
            </c:dLbl>
            <c:dLbl>
              <c:idx val="31"/>
              <c:tx>
                <c:rich>
                  <a:bodyPr/>
                  <a:lstStyle/>
                  <a:p>
                    <a:r>
                      <a:t>GILLETTE FUSION 5 PROGLIDE 5 BLADE RAZOR NORMAL 1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499F-4374-933C-119751F7B1D3}"/>
                </c:ext>
              </c:extLst>
            </c:dLbl>
            <c:dLbl>
              <c:idx val="32"/>
              <c:tx>
                <c:rich>
                  <a:bodyPr/>
                  <a:lstStyle/>
                  <a:p>
                    <a:r>
                      <a:t>GILLETTE INTIMATE BLACK 5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E-499F-4374-933C-119751F7B1D3}"/>
                </c:ext>
              </c:extLst>
            </c:dLbl>
            <c:dLbl>
              <c:idx val="33"/>
              <c:tx>
                <c:rich>
                  <a:bodyPr/>
                  <a:lstStyle/>
                  <a:p>
                    <a:r>
                      <a:t>BIC EASYRINSE 4 BLADE HYBRID NORMAL 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F-499F-4374-933C-119751F7B1D3}"/>
                </c:ext>
              </c:extLst>
            </c:dLbl>
            <c:dLbl>
              <c:idx val="34"/>
              <c:tx>
                <c:rich>
                  <a:bodyPr/>
                  <a:lstStyle/>
                  <a:p>
                    <a:r>
                      <a:t>GILLETTE FUSION 5 PROGLIDE 5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0-499F-4374-933C-119751F7B1D3}"/>
                </c:ext>
              </c:extLst>
            </c:dLbl>
            <c:dLbl>
              <c:idx val="35"/>
              <c:tx>
                <c:rich>
                  <a:bodyPr/>
                  <a:lstStyle/>
                  <a:p>
                    <a:r>
                      <a:t>EQUATE EASY FIT 5 5 BLADE REFILL NORMAL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1-499F-4374-933C-119751F7B1D3}"/>
                </c:ext>
              </c:extLst>
            </c:dLbl>
            <c:dLbl>
              <c:idx val="36"/>
              <c:tx>
                <c:rich>
                  <a:bodyPr/>
                  <a:lstStyle/>
                  <a:p>
                    <a:r>
                      <a:t>HARRY'S 5 BLADE REFILL NORMAL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499F-4374-933C-119751F7B1D3}"/>
                </c:ext>
              </c:extLst>
            </c:dLbl>
            <c:dLbl>
              <c:idx val="37"/>
              <c:tx>
                <c:rich>
                  <a:bodyPr/>
                  <a:lstStyle/>
                  <a:p>
                    <a:r>
                      <a:t>GILLETTE MACH 3 3 BLADE REFILL NORMAL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499F-4374-933C-119751F7B1D3}"/>
                </c:ext>
              </c:extLst>
            </c:dLbl>
            <c:dLbl>
              <c:idx val="38"/>
              <c:tx>
                <c:rich>
                  <a:bodyPr/>
                  <a:lstStyle/>
                  <a:p>
                    <a:r>
                      <a:t>HARRY'S SURF BLUE 5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499F-4374-933C-119751F7B1D3}"/>
                </c:ext>
              </c:extLst>
            </c:dLbl>
            <c:dLbl>
              <c:idx val="39"/>
              <c:tx>
                <c:rich>
                  <a:bodyPr/>
                  <a:lstStyle/>
                  <a:p>
                    <a:r>
                      <a:t>EQUATE EASY FIT 5 5 BLADE REFILL NORMAL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5-499F-4374-933C-119751F7B1D3}"/>
                </c:ext>
              </c:extLst>
            </c:dLbl>
            <c:dLbl>
              <c:idx val="40"/>
              <c:tx>
                <c:rich>
                  <a:bodyPr/>
                  <a:lstStyle/>
                  <a:p>
                    <a:r>
                      <a:t>EQUATE EASY FIT 5 5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6-499F-4374-933C-119751F7B1D3}"/>
                </c:ext>
              </c:extLst>
            </c:dLbl>
            <c:dLbl>
              <c:idx val="41"/>
              <c:tx>
                <c:rich>
                  <a:bodyPr/>
                  <a:lstStyle/>
                  <a:p>
                    <a:r>
                      <a:t>HARRY'S SILVER 5 BLADE RAZOR NORMAL 5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7-499F-4374-933C-119751F7B1D3}"/>
                </c:ext>
              </c:extLst>
            </c:dLbl>
            <c:dLbl>
              <c:idx val="42"/>
              <c:tx>
                <c:rich>
                  <a:bodyPr/>
                  <a:lstStyle/>
                  <a:p>
                    <a:r>
                      <a:t>GILLETTE FUSION 5 5 BLADE REFILL NORMAL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8-499F-4374-933C-119751F7B1D3}"/>
                </c:ext>
              </c:extLst>
            </c:dLbl>
            <c:dLbl>
              <c:idx val="43"/>
              <c:tx>
                <c:rich>
                  <a:bodyPr/>
                  <a:lstStyle/>
                  <a:p>
                    <a:r>
                      <a:t>GILLETTE INTIMATE 5 BLADE REFILL NORMAL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9-499F-4374-933C-119751F7B1D3}"/>
                </c:ext>
              </c:extLst>
            </c:dLbl>
            <c:dLbl>
              <c:idx val="44"/>
              <c:tx>
                <c:rich>
                  <a:bodyPr/>
                  <a:lstStyle/>
                  <a:p>
                    <a:r>
                      <a:t>BIC FLEX 5 HYBRID 5 BLADE HYBRID NORMAL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499F-4374-933C-119751F7B1D3}"/>
                </c:ext>
              </c:extLst>
            </c:dLbl>
            <c:dLbl>
              <c:idx val="45"/>
              <c:tx>
                <c:rich>
                  <a:bodyPr/>
                  <a:lstStyle/>
                  <a:p>
                    <a:r>
                      <a:t>BIC FLEX 5 HYBRID 5 BLADE HYBRID NORMAL 7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B-499F-4374-933C-119751F7B1D3}"/>
                </c:ext>
              </c:extLst>
            </c:dLbl>
            <c:dLbl>
              <c:idx val="46"/>
              <c:tx>
                <c:rich>
                  <a:bodyPr/>
                  <a:lstStyle/>
                  <a:p>
                    <a:r>
                      <a:t>GILLETTE FUSION 5 5 BLADE REFILL NORMAL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C-499F-4374-933C-119751F7B1D3}"/>
                </c:ext>
              </c:extLst>
            </c:dLbl>
            <c:dLbl>
              <c:idx val="47"/>
              <c:tx>
                <c:rich>
                  <a:bodyPr/>
                  <a:lstStyle/>
                  <a:p>
                    <a:r>
                      <a:t>HARRY'S 5 BLADE REFILL NORMAL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D-499F-4374-933C-119751F7B1D3}"/>
                </c:ext>
              </c:extLst>
            </c:dLbl>
            <c:dLbl>
              <c:idx val="48"/>
              <c:tx>
                <c:rich>
                  <a:bodyPr/>
                  <a:lstStyle/>
                  <a:p>
                    <a:r>
                      <a:t>GILLETTE SKINGUARD 2 BLADE REFILL SENSITIVE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E-499F-4374-933C-119751F7B1D3}"/>
                </c:ext>
              </c:extLst>
            </c:dLbl>
            <c:dLbl>
              <c:idx val="49"/>
              <c:tx>
                <c:rich>
                  <a:bodyPr/>
                  <a:lstStyle/>
                  <a:p>
                    <a:r>
                      <a:t>BIC COMFORT 3 HYBRID 3 BLADE HYBRID NORMAL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F-499F-4374-933C-119751F7B1D3}"/>
                </c:ext>
              </c:extLst>
            </c:dLbl>
            <c:dLbl>
              <c:idx val="50"/>
              <c:tx>
                <c:rich>
                  <a:bodyPr/>
                  <a:lstStyle/>
                  <a:p>
                    <a:r>
                      <a:t>GILLETTE MACH 3 3 BLADE REFILL NORMAL 4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E07-4BA3-A7CB-F726815E1537}"/>
                </c:ext>
              </c:extLst>
            </c:dLbl>
            <c:dLbl>
              <c:idx val="51"/>
              <c:tx>
                <c:rich>
                  <a:bodyPr/>
                  <a:lstStyle/>
                  <a:p>
                    <a:r>
                      <a:t>GILLETTE MACH 3 3 BLADE REFILL NORMAL 15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E07-4BA3-A7CB-F726815E1537}"/>
                </c:ext>
              </c:extLst>
            </c:dLbl>
            <c:dLbl>
              <c:idx val="52"/>
              <c:tx>
                <c:rich>
                  <a:bodyPr/>
                  <a:lstStyle/>
                  <a:p>
                    <a:r>
                      <a:t>GILLETTE MACH 3 3 BLADE RAZOR NORMAL 6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E07-4BA3-A7CB-F726815E1537}"/>
                </c:ext>
              </c:extLst>
            </c:dLbl>
            <c:dLbl>
              <c:idx val="53"/>
              <c:tx>
                <c:rich>
                  <a:bodyPr/>
                  <a:lstStyle/>
                  <a:p>
                    <a:r>
                      <a:t>HARRY'S ORANGE 5 BLADE RAZOR NORMAL 5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E07-4BA3-A7CB-F726815E1537}"/>
                </c:ext>
              </c:extLst>
            </c:dLbl>
            <c:dLbl>
              <c:idx val="54"/>
              <c:tx>
                <c:rich>
                  <a:bodyPr/>
                  <a:lstStyle/>
                  <a:p>
                    <a:r>
                      <a:t>SCHICK HYDRO 3 SENSITIVE 3 BLADE REFILL SENSITIVE 5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E07-4BA3-A7CB-F726815E1537}"/>
                </c:ext>
              </c:extLst>
            </c:dLbl>
            <c:dLbl>
              <c:idx val="55"/>
              <c:tx>
                <c:rich>
                  <a:bodyPr/>
                  <a:lstStyle/>
                  <a:p>
                    <a:r>
                      <a:t>GILLETTE SKINGUARD 2 BLADE RAZOR SENSITIVE 2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E07-4BA3-A7CB-F726815E1537}"/>
                </c:ext>
              </c:extLst>
            </c:dLbl>
            <c:dLbl>
              <c:idx val="56"/>
              <c:tx>
                <c:rich>
                  <a:bodyPr/>
                  <a:lstStyle/>
                  <a:p>
                    <a:r>
                      <a:t>DOLLAR SHAVE CLUB RED BLUE WHITE 6 BLADE RAZOR NORMAL 2CT</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E07-4BA3-A7CB-F726815E1537}"/>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8</c:f>
              <c:numCache>
                <c:formatCode>General</c:formatCode>
                <c:ptCount val="57"/>
                <c:pt idx="0">
                  <c:v>0.16</c:v>
                </c:pt>
                <c:pt idx="1">
                  <c:v>0.11</c:v>
                </c:pt>
                <c:pt idx="2">
                  <c:v>0.1</c:v>
                </c:pt>
                <c:pt idx="3">
                  <c:v>7.0000000000000007E-2</c:v>
                </c:pt>
                <c:pt idx="4">
                  <c:v>0.14000000000000001</c:v>
                </c:pt>
                <c:pt idx="5">
                  <c:v>0.14000000000000001</c:v>
                </c:pt>
                <c:pt idx="6">
                  <c:v>0.06</c:v>
                </c:pt>
                <c:pt idx="7">
                  <c:v>0.11</c:v>
                </c:pt>
                <c:pt idx="8">
                  <c:v>0.18</c:v>
                </c:pt>
                <c:pt idx="9">
                  <c:v>0.03</c:v>
                </c:pt>
                <c:pt idx="10">
                  <c:v>0.45</c:v>
                </c:pt>
                <c:pt idx="11">
                  <c:v>0.03</c:v>
                </c:pt>
                <c:pt idx="12">
                  <c:v>0.11</c:v>
                </c:pt>
                <c:pt idx="13">
                  <c:v>0.02</c:v>
                </c:pt>
                <c:pt idx="14">
                  <c:v>0.14000000000000001</c:v>
                </c:pt>
                <c:pt idx="15">
                  <c:v>0.04</c:v>
                </c:pt>
                <c:pt idx="16">
                  <c:v>0.35</c:v>
                </c:pt>
                <c:pt idx="17">
                  <c:v>0.1</c:v>
                </c:pt>
                <c:pt idx="18">
                  <c:v>0.12</c:v>
                </c:pt>
                <c:pt idx="19">
                  <c:v>0.04</c:v>
                </c:pt>
                <c:pt idx="20">
                  <c:v>0.39</c:v>
                </c:pt>
                <c:pt idx="21">
                  <c:v>0.01</c:v>
                </c:pt>
                <c:pt idx="22">
                  <c:v>0.47</c:v>
                </c:pt>
                <c:pt idx="23">
                  <c:v>0.47</c:v>
                </c:pt>
                <c:pt idx="24">
                  <c:v>0.39</c:v>
                </c:pt>
                <c:pt idx="25">
                  <c:v>0.46</c:v>
                </c:pt>
                <c:pt idx="26">
                  <c:v>0.54</c:v>
                </c:pt>
                <c:pt idx="27">
                  <c:v>0.28999999999999998</c:v>
                </c:pt>
                <c:pt idx="28">
                  <c:v>0.03</c:v>
                </c:pt>
                <c:pt idx="29">
                  <c:v>0.01</c:v>
                </c:pt>
                <c:pt idx="30">
                  <c:v>0.09</c:v>
                </c:pt>
                <c:pt idx="31">
                  <c:v>0.45</c:v>
                </c:pt>
                <c:pt idx="32">
                  <c:v>0.65</c:v>
                </c:pt>
                <c:pt idx="33">
                  <c:v>0.4</c:v>
                </c:pt>
                <c:pt idx="34">
                  <c:v>0.39</c:v>
                </c:pt>
                <c:pt idx="35">
                  <c:v>0.1</c:v>
                </c:pt>
                <c:pt idx="36">
                  <c:v>0.09</c:v>
                </c:pt>
                <c:pt idx="37">
                  <c:v>0.11</c:v>
                </c:pt>
                <c:pt idx="38">
                  <c:v>0.03</c:v>
                </c:pt>
                <c:pt idx="39">
                  <c:v>0.2</c:v>
                </c:pt>
                <c:pt idx="40">
                  <c:v>0.12</c:v>
                </c:pt>
                <c:pt idx="41">
                  <c:v>0.01</c:v>
                </c:pt>
                <c:pt idx="42">
                  <c:v>0.04</c:v>
                </c:pt>
                <c:pt idx="43">
                  <c:v>0.66</c:v>
                </c:pt>
                <c:pt idx="44">
                  <c:v>0.36</c:v>
                </c:pt>
                <c:pt idx="45">
                  <c:v>0.11</c:v>
                </c:pt>
                <c:pt idx="46">
                  <c:v>0.28000000000000003</c:v>
                </c:pt>
                <c:pt idx="47">
                  <c:v>0.12</c:v>
                </c:pt>
                <c:pt idx="48">
                  <c:v>0.54</c:v>
                </c:pt>
                <c:pt idx="49">
                  <c:v>0.26</c:v>
                </c:pt>
                <c:pt idx="50">
                  <c:v>0.08</c:v>
                </c:pt>
                <c:pt idx="51">
                  <c:v>0.18</c:v>
                </c:pt>
                <c:pt idx="52">
                  <c:v>0.16</c:v>
                </c:pt>
                <c:pt idx="53">
                  <c:v>0.14000000000000001</c:v>
                </c:pt>
                <c:pt idx="54">
                  <c:v>0.57999999999999996</c:v>
                </c:pt>
                <c:pt idx="55">
                  <c:v>0.08</c:v>
                </c:pt>
                <c:pt idx="56">
                  <c:v>0.01</c:v>
                </c:pt>
              </c:numCache>
            </c:numRef>
          </c:xVal>
          <c:yVal>
            <c:numRef>
              <c:f>Sheet1!$B$2:$B$58</c:f>
              <c:numCache>
                <c:formatCode>General</c:formatCode>
                <c:ptCount val="57"/>
                <c:pt idx="0">
                  <c:v>1.3119708832656181</c:v>
                </c:pt>
                <c:pt idx="1">
                  <c:v>0.67605853091284962</c:v>
                </c:pt>
                <c:pt idx="2">
                  <c:v>-3.1501648634580971E-3</c:v>
                </c:pt>
                <c:pt idx="3">
                  <c:v>2.3241114910371979E-2</c:v>
                </c:pt>
                <c:pt idx="4">
                  <c:v>1.3101286880523451</c:v>
                </c:pt>
                <c:pt idx="5">
                  <c:v>7.466806448024518E-3</c:v>
                </c:pt>
                <c:pt idx="6">
                  <c:v>0.41562477310680318</c:v>
                </c:pt>
                <c:pt idx="7">
                  <c:v>8.8668748995684499E-2</c:v>
                </c:pt>
                <c:pt idx="8">
                  <c:v>6.5288302995339862</c:v>
                </c:pt>
                <c:pt idx="9">
                  <c:v>0.10431911848574631</c:v>
                </c:pt>
                <c:pt idx="10">
                  <c:v>1.204885994489759</c:v>
                </c:pt>
                <c:pt idx="11">
                  <c:v>5.2774064766489763E-2</c:v>
                </c:pt>
                <c:pt idx="12">
                  <c:v>0.21814468265494</c:v>
                </c:pt>
                <c:pt idx="13">
                  <c:v>0</c:v>
                </c:pt>
                <c:pt idx="14">
                  <c:v>0.32118849431593649</c:v>
                </c:pt>
                <c:pt idx="15">
                  <c:v>0</c:v>
                </c:pt>
                <c:pt idx="16">
                  <c:v>0.30761969864448191</c:v>
                </c:pt>
                <c:pt idx="17">
                  <c:v>0.51574226266527767</c:v>
                </c:pt>
                <c:pt idx="18">
                  <c:v>0</c:v>
                </c:pt>
                <c:pt idx="19">
                  <c:v>2.544677609624418E-2</c:v>
                </c:pt>
                <c:pt idx="20">
                  <c:v>0.78197778851671429</c:v>
                </c:pt>
                <c:pt idx="21">
                  <c:v>0</c:v>
                </c:pt>
                <c:pt idx="22">
                  <c:v>0.98578130079380677</c:v>
                </c:pt>
                <c:pt idx="23">
                  <c:v>8.2770582371391871E-2</c:v>
                </c:pt>
                <c:pt idx="24">
                  <c:v>0.34414640922837508</c:v>
                </c:pt>
                <c:pt idx="25">
                  <c:v>1.263749795886099</c:v>
                </c:pt>
                <c:pt idx="26">
                  <c:v>1.7794925098213989</c:v>
                </c:pt>
                <c:pt idx="27">
                  <c:v>0</c:v>
                </c:pt>
                <c:pt idx="28">
                  <c:v>0</c:v>
                </c:pt>
                <c:pt idx="29">
                  <c:v>0</c:v>
                </c:pt>
                <c:pt idx="30">
                  <c:v>0</c:v>
                </c:pt>
                <c:pt idx="31">
                  <c:v>4.2783905901359963E-2</c:v>
                </c:pt>
                <c:pt idx="32">
                  <c:v>2.2979412931887571</c:v>
                </c:pt>
                <c:pt idx="33">
                  <c:v>0.53313948311403347</c:v>
                </c:pt>
                <c:pt idx="34">
                  <c:v>0.34220564187012381</c:v>
                </c:pt>
                <c:pt idx="35">
                  <c:v>2.1416509932592909E-3</c:v>
                </c:pt>
                <c:pt idx="36">
                  <c:v>0</c:v>
                </c:pt>
                <c:pt idx="37">
                  <c:v>0</c:v>
                </c:pt>
                <c:pt idx="38">
                  <c:v>0</c:v>
                </c:pt>
                <c:pt idx="39">
                  <c:v>0.44487093777620862</c:v>
                </c:pt>
                <c:pt idx="40">
                  <c:v>0</c:v>
                </c:pt>
                <c:pt idx="41">
                  <c:v>0</c:v>
                </c:pt>
                <c:pt idx="42">
                  <c:v>0</c:v>
                </c:pt>
                <c:pt idx="43">
                  <c:v>2.6263570540763248</c:v>
                </c:pt>
                <c:pt idx="44">
                  <c:v>0</c:v>
                </c:pt>
                <c:pt idx="45">
                  <c:v>0</c:v>
                </c:pt>
                <c:pt idx="46">
                  <c:v>0</c:v>
                </c:pt>
                <c:pt idx="47">
                  <c:v>0</c:v>
                </c:pt>
                <c:pt idx="48">
                  <c:v>0.47733985130868722</c:v>
                </c:pt>
                <c:pt idx="49">
                  <c:v>0</c:v>
                </c:pt>
                <c:pt idx="50">
                  <c:v>0</c:v>
                </c:pt>
                <c:pt idx="51">
                  <c:v>0</c:v>
                </c:pt>
                <c:pt idx="52">
                  <c:v>0</c:v>
                </c:pt>
                <c:pt idx="53">
                  <c:v>0</c:v>
                </c:pt>
                <c:pt idx="54">
                  <c:v>0.73606328906378093</c:v>
                </c:pt>
                <c:pt idx="55">
                  <c:v>0</c:v>
                </c:pt>
                <c:pt idx="56">
                  <c:v>0</c:v>
                </c:pt>
              </c:numCache>
            </c:numRef>
          </c:yVal>
          <c:smooth val="0"/>
          <c:extLst>
            <c:ext xmlns:c15="http://schemas.microsoft.com/office/drawing/2012/chart" uri="{02D57815-91ED-43cb-92C2-25804820EDAC}">
              <c15:datalabelsRange>
                <c15:f>Sheet1!$E$2:$E$51</c15:f>
                <c15:dlblRangeCache>
                  <c:ptCount val="50"/>
                  <c:pt idx="0">
                    <c:v>GILLETTE FUSION 5 BLACK HOLIDAY GIFT PACK 5 BLADE RAZOR NORMAL 3CT</c:v>
                  </c:pt>
                  <c:pt idx="1">
                    <c:v>BIC COMFORT 3 BLACK HOLIDAY GIFT PACK 3 BLADE HYBRID NORMAL 15CT</c:v>
                  </c:pt>
                  <c:pt idx="2">
                    <c:v>GILLETTE FUSION 5 PROGLIDE 5 BLADE REFILL NORMAL 12CT</c:v>
                  </c:pt>
                  <c:pt idx="3">
                    <c:v>HYDRO 5 SENSITIVE 5 BLADE REFILL SENSITIVE 6CT</c:v>
                  </c:pt>
                  <c:pt idx="4">
                    <c:v>HYDRO 5 SENSITIVE GRAY HOLIDAY GIFT PACK 5 BLADE RAZOR SENSITIVE 3CT</c:v>
                  </c:pt>
                  <c:pt idx="5">
                    <c:v>GILLETTE FUSION 5 PROGLIDE 5 BLADE REFILL NORMAL 8CT</c:v>
                  </c:pt>
                  <c:pt idx="6">
                    <c:v>BIC FLEX 5 HYBRID BLACK WHITE HOLIDAY GIFT PACK 5 BLADE HYBRID NORMAL 7CT</c:v>
                  </c:pt>
                  <c:pt idx="7">
                    <c:v>HYDRO 5 SENSITIVE 5 BLADE REFILL SENSITIVE 12CT</c:v>
                  </c:pt>
                  <c:pt idx="8">
                    <c:v>GILLETTE LABS ARCTIC CAMO HOLIDAY GIFT PACK 5 BLADE RAZOR NORMAL 2CT</c:v>
                  </c:pt>
                  <c:pt idx="9">
                    <c:v>DOLLAR SHAVE CLUB BLACK 6 BLADE RAZOR NORMAL 2CT</c:v>
                  </c:pt>
                  <c:pt idx="10">
                    <c:v>GILLETTE FUSION 5 PROGLIDE 5 BLADE RAZOR NORMAL 4CT</c:v>
                  </c:pt>
                  <c:pt idx="11">
                    <c:v>DOLLAR SHAVE CLUB 6 BLADE REFILL NORMAL 4CT</c:v>
                  </c:pt>
                  <c:pt idx="12">
                    <c:v>BIC COMFORT 3 HYBRID 3 BLADE HYBRID SENSITIVE 6CT</c:v>
                  </c:pt>
                  <c:pt idx="13">
                    <c:v>GILLETTE FUSION 5 5 BLADE RAZOR NORMAL 5CT</c:v>
                  </c:pt>
                  <c:pt idx="14">
                    <c:v>GILLETTE LABS 5 BLADE RAZOR NORMAL 1CT</c:v>
                  </c:pt>
                  <c:pt idx="15">
                    <c:v>GILLETTE FUSION 5 5 BLADE REFILL NORMAL 8CT</c:v>
                  </c:pt>
                  <c:pt idx="16">
                    <c:v>GILLETTE MACH 3 3 BLADE REFILL NORMAL 12CT</c:v>
                  </c:pt>
                  <c:pt idx="17">
                    <c:v>GILLETTE LABS 5 BLADE REFILL NORMAL 6CT</c:v>
                  </c:pt>
                  <c:pt idx="18">
                    <c:v>HYDRO 5 SENSITIVE 5 BLADE RAZOR SENSITIVE 3CT</c:v>
                  </c:pt>
                  <c:pt idx="19">
                    <c:v>DOLLAR SHAVE CLUB 6 BLADE REFILL NORMAL 8CT</c:v>
                  </c:pt>
                  <c:pt idx="20">
                    <c:v>GILLETTE FUSION 5 5 BLADE RAZOR NORMAL 1CT</c:v>
                  </c:pt>
                  <c:pt idx="21">
                    <c:v>HARRY'S 5 BLADE REFILL NORMAL 4CT</c:v>
                  </c:pt>
                  <c:pt idx="22">
                    <c:v>GILLETTE LABS 5 BLADE RAZOR NORMAL 4CT</c:v>
                  </c:pt>
                  <c:pt idx="23">
                    <c:v>GILLETTE FUSION 5 PROSHIELD GRAY 5 BLADE RAZOR NORMAL 2CT</c:v>
                  </c:pt>
                  <c:pt idx="24">
                    <c:v>EQUATE EASY FIT 5 5 BLADE REFILL NORMAL 8CT</c:v>
                  </c:pt>
                  <c:pt idx="25">
                    <c:v>GILLETTE LABS 5 BLADE RAZOR NORMAL 2CT</c:v>
                  </c:pt>
                  <c:pt idx="26">
                    <c:v>GILLETTE FUSION 5 PROGLIDE STYLER REM BLADES RAZOR 1CT</c:v>
                  </c:pt>
                  <c:pt idx="27">
                    <c:v>GILLETTE MACH 3 3 BLADE RAZOR NORMAL 2CT</c:v>
                  </c:pt>
                  <c:pt idx="28">
                    <c:v>GILLETTE FUSION 5 5 BLADE RAZOR NORMAL 2CT</c:v>
                  </c:pt>
                  <c:pt idx="29">
                    <c:v>BIC FLEX 5 HYBRID 5 BLADE HYBRID NORMAL 4CT</c:v>
                  </c:pt>
                  <c:pt idx="30">
                    <c:v>GILLETTE FUSION 5 5 BLADE RAZOR NORMAL 7CT</c:v>
                  </c:pt>
                  <c:pt idx="31">
                    <c:v>GILLETTE FUSION 5 PROGLIDE 5 BLADE RAZOR NORMAL 1CT</c:v>
                  </c:pt>
                  <c:pt idx="32">
                    <c:v>GILLETTE INTIMATE BLACK 5 BLADE RAZOR NORMAL 2CT</c:v>
                  </c:pt>
                  <c:pt idx="33">
                    <c:v>BIC EASYRINSE 4 BLADE HYBRID NORMAL 3CT</c:v>
                  </c:pt>
                  <c:pt idx="34">
                    <c:v>GILLETTE FUSION 5 PROGLIDE 5 BLADE RAZOR NORMAL 2CT</c:v>
                  </c:pt>
                  <c:pt idx="35">
                    <c:v>EQUATE EASY FIT 5 5 BLADE REFILL NORMAL 4CT</c:v>
                  </c:pt>
                  <c:pt idx="36">
                    <c:v>HARRY'S 5 BLADE REFILL NORMAL 8CT</c:v>
                  </c:pt>
                  <c:pt idx="37">
                    <c:v>GILLETTE MACH 3 3 BLADE REFILL NORMAL 8CT</c:v>
                  </c:pt>
                  <c:pt idx="38">
                    <c:v>HARRY'S SURF BLUE 5 BLADE RAZOR NORMAL 2CT</c:v>
                  </c:pt>
                  <c:pt idx="39">
                    <c:v>EQUATE EASY FIT 5 5 BLADE REFILL NORMAL 12CT</c:v>
                  </c:pt>
                  <c:pt idx="40">
                    <c:v>EQUATE EASY FIT 5 5 BLADE RAZOR NORMAL 2CT</c:v>
                  </c:pt>
                  <c:pt idx="41">
                    <c:v>HARRY'S SILVER 5 BLADE RAZOR NORMAL 5CT</c:v>
                  </c:pt>
                  <c:pt idx="42">
                    <c:v>GILLETTE FUSION 5 5 BLADE REFILL NORMAL 4CT</c:v>
                  </c:pt>
                  <c:pt idx="43">
                    <c:v>GILLETTE INTIMATE 5 BLADE REFILL NORMAL 4CT</c:v>
                  </c:pt>
                  <c:pt idx="44">
                    <c:v>BIC FLEX 5 HYBRID 5 BLADE HYBRID NORMAL 12CT</c:v>
                  </c:pt>
                  <c:pt idx="45">
                    <c:v>BIC FLEX 5 HYBRID 5 BLADE HYBRID NORMAL 7CT</c:v>
                  </c:pt>
                  <c:pt idx="46">
                    <c:v>GILLETTE FUSION 5 5 BLADE REFILL NORMAL 12CT</c:v>
                  </c:pt>
                  <c:pt idx="47">
                    <c:v>HARRY'S 5 BLADE REFILL NORMAL 12CT</c:v>
                  </c:pt>
                  <c:pt idx="48">
                    <c:v>GILLETTE SKINGUARD 2 BLADE REFILL SENSITIVE 8CT</c:v>
                  </c:pt>
                  <c:pt idx="49">
                    <c:v>BIC COMFORT 3 HYBRID 3 BLADE HYBRID NORMAL 12CT</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max val="0.79200000000000004"/>
          <c:min val="8.0000000000000002E-3"/>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7.8345963594407833"/>
          <c:min val="-2.5201318907664776E-3"/>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r>
                      <a:t>SCHICK XTREME 3 SENSITIVE GREEN HOLIDAY GIFT PACK 3 BLADE DISPOSABLE SENSITIVE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99F-4374-933C-119751F7B1D3}"/>
                </c:ext>
              </c:extLst>
            </c:dLbl>
            <c:dLbl>
              <c:idx val="1"/>
              <c:tx>
                <c:rich>
                  <a:bodyPr/>
                  <a:lstStyle/>
                  <a:p>
                    <a:r>
                      <a:t>BIC FLEX 5 WHITE BLACK HOLIDAY GIFT PACK 5 BLADE DISPOSABLE NORMAL 6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99F-4374-933C-119751F7B1D3}"/>
                </c:ext>
              </c:extLst>
            </c:dLbl>
            <c:dLbl>
              <c:idx val="2"/>
              <c:tx>
                <c:rich>
                  <a:bodyPr/>
                  <a:lstStyle/>
                  <a:p>
                    <a:r>
                      <a:t>BIC FLEX 3 3 BLADE DISPOSABLE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99F-4374-933C-119751F7B1D3}"/>
                </c:ext>
              </c:extLst>
            </c:dLbl>
            <c:dLbl>
              <c:idx val="3"/>
              <c:tx>
                <c:rich>
                  <a:bodyPr/>
                  <a:lstStyle/>
                  <a:p>
                    <a:r>
                      <a:t>EQUATE CALIBER 5 5 BLADE DISPOSABLE NORMAL 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99F-4374-933C-119751F7B1D3}"/>
                </c:ext>
              </c:extLst>
            </c:dLbl>
            <c:dLbl>
              <c:idx val="4"/>
              <c:tx>
                <c:rich>
                  <a:bodyPr/>
                  <a:lstStyle/>
                  <a:p>
                    <a:r>
                      <a:t>EQUATE TB (TWIN BLADE) BLUE 2 BLADE DISPOSABLE NORMAL 5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99F-4374-933C-119751F7B1D3}"/>
                </c:ext>
              </c:extLst>
            </c:dLbl>
            <c:dLbl>
              <c:idx val="5"/>
              <c:tx>
                <c:rich>
                  <a:bodyPr/>
                  <a:lstStyle/>
                  <a:p>
                    <a:r>
                      <a:t>SCHICK XTREME 3 SENSITIVE GREEN 3 BLADE DISPOSABLE SENSITIVE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499F-4374-933C-119751F7B1D3}"/>
                </c:ext>
              </c:extLst>
            </c:dLbl>
            <c:dLbl>
              <c:idx val="6"/>
              <c:tx>
                <c:rich>
                  <a:bodyPr/>
                  <a:lstStyle/>
                  <a:p>
                    <a:r>
                      <a:t>SCHICK XTREME 3 SENSITIVE BLACK 3 BLADE DISPOSABLE SENSITIVE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499F-4374-933C-119751F7B1D3}"/>
                </c:ext>
              </c:extLst>
            </c:dLbl>
            <c:dLbl>
              <c:idx val="7"/>
              <c:tx>
                <c:rich>
                  <a:bodyPr/>
                  <a:lstStyle/>
                  <a:p>
                    <a:r>
                      <a:t>SCHICK XTREME 2 SENSITIVE 2 BLADE DISPOSABLE NORMAL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499F-4374-933C-119751F7B1D3}"/>
                </c:ext>
              </c:extLst>
            </c:dLbl>
            <c:dLbl>
              <c:idx val="8"/>
              <c:tx>
                <c:rich>
                  <a:bodyPr/>
                  <a:lstStyle/>
                  <a:p>
                    <a:r>
                      <a:t>GILLETTE MACH 3 3 BLADE DISPOSABLE SENSITIVE 6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8-499F-4374-933C-119751F7B1D3}"/>
                </c:ext>
              </c:extLst>
            </c:dLbl>
            <c:dLbl>
              <c:idx val="9"/>
              <c:tx>
                <c:rich>
                  <a:bodyPr/>
                  <a:lstStyle/>
                  <a:p>
                    <a:r>
                      <a:t>SCHICK XTREME 3 SENSITIVE BLACK GREEN 3 BLADE DISPOSABLE SENSITIVE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499F-4374-933C-119751F7B1D3}"/>
                </c:ext>
              </c:extLst>
            </c:dLbl>
            <c:dLbl>
              <c:idx val="10"/>
              <c:tx>
                <c:rich>
                  <a:bodyPr/>
                  <a:lstStyle/>
                  <a:p>
                    <a:r>
                      <a:t>BIC EASYRINSE BLUE 4 BLADE DISPOSABLE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499F-4374-933C-119751F7B1D3}"/>
                </c:ext>
              </c:extLst>
            </c:dLbl>
            <c:dLbl>
              <c:idx val="11"/>
              <c:tx>
                <c:rich>
                  <a:bodyPr/>
                  <a:lstStyle/>
                  <a:p>
                    <a:r>
                      <a:t>BIC FLEX 5 BLACK WHITE 5 BLADE DISPOSABLE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499F-4374-933C-119751F7B1D3}"/>
                </c:ext>
              </c:extLst>
            </c:dLbl>
            <c:dLbl>
              <c:idx val="12"/>
              <c:tx>
                <c:rich>
                  <a:bodyPr/>
                  <a:lstStyle/>
                  <a:p>
                    <a:r>
                      <a:t>EQUATE TB (TWIN BLADE) BLUE 2 BLADE DISPOSABLE NORMAL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499F-4374-933C-119751F7B1D3}"/>
                </c:ext>
              </c:extLst>
            </c:dLbl>
            <c:dLbl>
              <c:idx val="13"/>
              <c:tx>
                <c:rich>
                  <a:bodyPr/>
                  <a:lstStyle/>
                  <a:p>
                    <a:r>
                      <a:t>BIC SENSITIVE 2 2 BLADE DISPOSABLE NORMAL 10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D-499F-4374-933C-119751F7B1D3}"/>
                </c:ext>
              </c:extLst>
            </c:dLbl>
            <c:dLbl>
              <c:idx val="14"/>
              <c:tx>
                <c:rich>
                  <a:bodyPr/>
                  <a:lstStyle/>
                  <a:p>
                    <a:r>
                      <a:t>BIC FLEX 5 5 BLADE DISPOSABLE NORMAL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E-499F-4374-933C-119751F7B1D3}"/>
                </c:ext>
              </c:extLst>
            </c:dLbl>
            <c:dLbl>
              <c:idx val="15"/>
              <c:tx>
                <c:rich>
                  <a:bodyPr/>
                  <a:lstStyle/>
                  <a:p>
                    <a:r>
                      <a:t>GILLETTE MACH 3 MULTI COLOR 3 BLADE DISPOSABLE SENSITIVE 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F-499F-4374-933C-119751F7B1D3}"/>
                </c:ext>
              </c:extLst>
            </c:dLbl>
            <c:dLbl>
              <c:idx val="16"/>
              <c:tx>
                <c:rich>
                  <a:bodyPr/>
                  <a:lstStyle/>
                  <a:p>
                    <a:r>
                      <a:t>BIC COMFORT 3 MULTI COLOR 3 BLADE DISPOSABLE SENSITIVE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17EC-4EE8-A064-668E05F5E5BB}"/>
                </c:ext>
              </c:extLst>
            </c:dLbl>
            <c:dLbl>
              <c:idx val="17"/>
              <c:tx>
                <c:rich>
                  <a:bodyPr/>
                  <a:lstStyle/>
                  <a:p>
                    <a:r>
                      <a:t>EQUATE SPEED 3 SENSITIVE GREEN 3 BLADE DISPOSABLE SENSITIVE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499F-4374-933C-119751F7B1D3}"/>
                </c:ext>
              </c:extLst>
            </c:dLbl>
            <c:dLbl>
              <c:idx val="18"/>
              <c:tx>
                <c:rich>
                  <a:bodyPr/>
                  <a:lstStyle/>
                  <a:p>
                    <a:r>
                      <a:t>GILLETTE SENSOR 2 PLUS PIVOT 2 BLADE DISPOSABLE NORMAL 15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E05C-4186-8239-DC3766495C90}"/>
                </c:ext>
              </c:extLst>
            </c:dLbl>
            <c:dLbl>
              <c:idx val="19"/>
              <c:tx>
                <c:rich>
                  <a:bodyPr/>
                  <a:lstStyle/>
                  <a:p>
                    <a:r>
                      <a:t>BIC SINGLE SENSITIVE 1 BLADE DISPOSABLE SENSITIVE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499F-4374-933C-119751F7B1D3}"/>
                </c:ext>
              </c:extLst>
            </c:dLbl>
            <c:dLbl>
              <c:idx val="20"/>
              <c:tx>
                <c:rich>
                  <a:bodyPr/>
                  <a:lstStyle/>
                  <a:p>
                    <a:r>
                      <a:t>GILLETTE SENSOR 2 FIXED 2 BLADE DISPOSABLE NORMAL 1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499F-4374-933C-119751F7B1D3}"/>
                </c:ext>
              </c:extLst>
            </c:dLbl>
            <c:dLbl>
              <c:idx val="21"/>
              <c:tx>
                <c:rich>
                  <a:bodyPr/>
                  <a:lstStyle/>
                  <a:p>
                    <a:r>
                      <a:t>SCHICK XTREME 3 SENSITIVE GREEN BLACK 3 BLADE DISPOSABLE SENSITIVE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3-499F-4374-933C-119751F7B1D3}"/>
                </c:ext>
              </c:extLst>
            </c:dLbl>
            <c:dLbl>
              <c:idx val="22"/>
              <c:tx>
                <c:rich>
                  <a:bodyPr/>
                  <a:lstStyle/>
                  <a:p>
                    <a:r>
                      <a:t>EQUATE CALIBER 3 3 BLADE DISPOSABLE NORMAL 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4-499F-4374-933C-119751F7B1D3}"/>
                </c:ext>
              </c:extLst>
            </c:dLbl>
            <c:dLbl>
              <c:idx val="23"/>
              <c:tx>
                <c:rich>
                  <a:bodyPr/>
                  <a:lstStyle/>
                  <a:p>
                    <a:r>
                      <a:t>GILLETTE SENSOR 2 PLUS 2 BLADE DISPOSABLE NORMAL 21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499F-4374-933C-119751F7B1D3}"/>
                </c:ext>
              </c:extLst>
            </c:dLbl>
            <c:dLbl>
              <c:idx val="24"/>
              <c:tx>
                <c:rich>
                  <a:bodyPr/>
                  <a:lstStyle/>
                  <a:p>
                    <a:r>
                      <a:t>EQUATE SPEED 3 SENSITIVE GREEN 3 BLADE DISPOSABLE SENSITIVE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499F-4374-933C-119751F7B1D3}"/>
                </c:ext>
              </c:extLst>
            </c:dLbl>
            <c:dLbl>
              <c:idx val="25"/>
              <c:tx>
                <c:rich>
                  <a:bodyPr/>
                  <a:lstStyle/>
                  <a:p>
                    <a:fld id="{ABCDB089-E335-4BD6-B43B-4EA960AB9CF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499F-4374-933C-119751F7B1D3}"/>
                </c:ext>
              </c:extLst>
            </c:dLbl>
            <c:dLbl>
              <c:idx val="26"/>
              <c:tx>
                <c:rich>
                  <a:bodyPr/>
                  <a:lstStyle/>
                  <a:p>
                    <a:fld id="{83204A3C-5320-4D47-9E09-70262F7F694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499F-4374-933C-119751F7B1D3}"/>
                </c:ext>
              </c:extLst>
            </c:dLbl>
            <c:dLbl>
              <c:idx val="27"/>
              <c:tx>
                <c:rich>
                  <a:bodyPr/>
                  <a:lstStyle/>
                  <a:p>
                    <a:fld id="{A601E79D-175A-4AC7-A899-2B497A46AB4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499F-4374-933C-119751F7B1D3}"/>
                </c:ext>
              </c:extLst>
            </c:dLbl>
            <c:dLbl>
              <c:idx val="28"/>
              <c:tx>
                <c:rich>
                  <a:bodyPr/>
                  <a:lstStyle/>
                  <a:p>
                    <a:fld id="{2A46CAF7-1AAA-4A5A-A0CC-D26943F0074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499F-4374-933C-119751F7B1D3}"/>
                </c:ext>
              </c:extLst>
            </c:dLbl>
            <c:dLbl>
              <c:idx val="29"/>
              <c:tx>
                <c:rich>
                  <a:bodyPr/>
                  <a:lstStyle/>
                  <a:p>
                    <a:fld id="{AF2AFA3B-3486-42F8-BF5E-0798F66726A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499F-4374-933C-119751F7B1D3}"/>
                </c:ext>
              </c:extLst>
            </c:dLbl>
            <c:dLbl>
              <c:idx val="30"/>
              <c:tx>
                <c:rich>
                  <a:bodyPr/>
                  <a:lstStyle/>
                  <a:p>
                    <a:fld id="{6B4CADEE-7F86-4EEA-9015-25571F0DEBD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499F-4374-933C-119751F7B1D3}"/>
                </c:ext>
              </c:extLst>
            </c:dLbl>
            <c:dLbl>
              <c:idx val="31"/>
              <c:tx>
                <c:rich>
                  <a:bodyPr/>
                  <a:lstStyle/>
                  <a:p>
                    <a:fld id="{01D97307-B8CA-48C7-B054-6C4CED9513B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99F-4374-933C-119751F7B1D3}"/>
                </c:ext>
              </c:extLst>
            </c:dLbl>
            <c:dLbl>
              <c:idx val="32"/>
              <c:tx>
                <c:rich>
                  <a:bodyPr/>
                  <a:lstStyle/>
                  <a:p>
                    <a:fld id="{06AC2527-9B91-44D8-93FD-3CE33DAE473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499F-4374-933C-119751F7B1D3}"/>
                </c:ext>
              </c:extLst>
            </c:dLbl>
            <c:dLbl>
              <c:idx val="33"/>
              <c:tx>
                <c:rich>
                  <a:bodyPr/>
                  <a:lstStyle/>
                  <a:p>
                    <a:fld id="{F4F91479-00FB-4A36-8660-AFE5A69CF9F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499F-4374-933C-119751F7B1D3}"/>
                </c:ext>
              </c:extLst>
            </c:dLbl>
            <c:dLbl>
              <c:idx val="34"/>
              <c:tx>
                <c:rich>
                  <a:bodyPr/>
                  <a:lstStyle/>
                  <a:p>
                    <a:fld id="{7B3B83FA-E7C3-41B2-B774-C4E52BBADAC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499F-4374-933C-119751F7B1D3}"/>
                </c:ext>
              </c:extLst>
            </c:dLbl>
            <c:dLbl>
              <c:idx val="35"/>
              <c:tx>
                <c:rich>
                  <a:bodyPr/>
                  <a:lstStyle/>
                  <a:p>
                    <a:fld id="{9C1A1677-782F-44F1-A4DC-EF595D11864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499F-4374-933C-119751F7B1D3}"/>
                </c:ext>
              </c:extLst>
            </c:dLbl>
            <c:dLbl>
              <c:idx val="36"/>
              <c:tx>
                <c:rich>
                  <a:bodyPr/>
                  <a:lstStyle/>
                  <a:p>
                    <a:fld id="{434E8DA0-BA8A-43DB-B51B-DE31E6A9F8A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499F-4374-933C-119751F7B1D3}"/>
                </c:ext>
              </c:extLst>
            </c:dLbl>
            <c:dLbl>
              <c:idx val="37"/>
              <c:tx>
                <c:rich>
                  <a:bodyPr/>
                  <a:lstStyle/>
                  <a:p>
                    <a:fld id="{F39B5DB2-A4A3-4E1F-9A85-27F9A799334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499F-4374-933C-119751F7B1D3}"/>
                </c:ext>
              </c:extLst>
            </c:dLbl>
            <c:dLbl>
              <c:idx val="38"/>
              <c:tx>
                <c:rich>
                  <a:bodyPr/>
                  <a:lstStyle/>
                  <a:p>
                    <a:fld id="{215307A5-27F8-4704-AB74-B95DD996DEA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499F-4374-933C-119751F7B1D3}"/>
                </c:ext>
              </c:extLst>
            </c:dLbl>
            <c:dLbl>
              <c:idx val="39"/>
              <c:tx>
                <c:rich>
                  <a:bodyPr/>
                  <a:lstStyle/>
                  <a:p>
                    <a:fld id="{CC38BC8F-A228-4363-B33E-CDBC2EE78A9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499F-4374-933C-119751F7B1D3}"/>
                </c:ext>
              </c:extLst>
            </c:dLbl>
            <c:dLbl>
              <c:idx val="40"/>
              <c:tx>
                <c:rich>
                  <a:bodyPr/>
                  <a:lstStyle/>
                  <a:p>
                    <a:fld id="{20BAC124-2EDE-490A-BBCE-36E966B344A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499F-4374-933C-119751F7B1D3}"/>
                </c:ext>
              </c:extLst>
            </c:dLbl>
            <c:dLbl>
              <c:idx val="41"/>
              <c:tx>
                <c:rich>
                  <a:bodyPr/>
                  <a:lstStyle/>
                  <a:p>
                    <a:fld id="{79014374-7302-493B-A86F-26859EFB7F6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499F-4374-933C-119751F7B1D3}"/>
                </c:ext>
              </c:extLst>
            </c:dLbl>
            <c:dLbl>
              <c:idx val="42"/>
              <c:tx>
                <c:rich>
                  <a:bodyPr/>
                  <a:lstStyle/>
                  <a:p>
                    <a:fld id="{9E371A0A-CA9B-468A-A0CC-F1E41553D65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499F-4374-933C-119751F7B1D3}"/>
                </c:ext>
              </c:extLst>
            </c:dLbl>
            <c:dLbl>
              <c:idx val="43"/>
              <c:tx>
                <c:rich>
                  <a:bodyPr/>
                  <a:lstStyle/>
                  <a:p>
                    <a:fld id="{21D68B5E-CE16-436E-A199-79CCB8FEFD4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499F-4374-933C-119751F7B1D3}"/>
                </c:ext>
              </c:extLst>
            </c:dLbl>
            <c:dLbl>
              <c:idx val="44"/>
              <c:tx>
                <c:rich>
                  <a:bodyPr/>
                  <a:lstStyle/>
                  <a:p>
                    <a:fld id="{2B3D251E-F5D6-47AD-9BF9-44F09CE8945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499F-4374-933C-119751F7B1D3}"/>
                </c:ext>
              </c:extLst>
            </c:dLbl>
            <c:dLbl>
              <c:idx val="45"/>
              <c:tx>
                <c:rich>
                  <a:bodyPr/>
                  <a:lstStyle/>
                  <a:p>
                    <a:fld id="{84892564-265B-47AA-999A-4FB214DBDA6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499F-4374-933C-119751F7B1D3}"/>
                </c:ext>
              </c:extLst>
            </c:dLbl>
            <c:dLbl>
              <c:idx val="46"/>
              <c:tx>
                <c:rich>
                  <a:bodyPr/>
                  <a:lstStyle/>
                  <a:p>
                    <a:fld id="{43FE3521-E46A-4EFE-9147-410E3B584A9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499F-4374-933C-119751F7B1D3}"/>
                </c:ext>
              </c:extLst>
            </c:dLbl>
            <c:dLbl>
              <c:idx val="47"/>
              <c:tx>
                <c:rich>
                  <a:bodyPr/>
                  <a:lstStyle/>
                  <a:p>
                    <a:fld id="{51508D75-B617-4612-A808-5DC1B940477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6</c:f>
              <c:numCache>
                <c:formatCode>General</c:formatCode>
                <c:ptCount val="25"/>
                <c:pt idx="0">
                  <c:v>0.11</c:v>
                </c:pt>
                <c:pt idx="1">
                  <c:v>0.05</c:v>
                </c:pt>
                <c:pt idx="2">
                  <c:v>0.16</c:v>
                </c:pt>
                <c:pt idx="3">
                  <c:v>0.01</c:v>
                </c:pt>
                <c:pt idx="4">
                  <c:v>0.04</c:v>
                </c:pt>
                <c:pt idx="5">
                  <c:v>0.1</c:v>
                </c:pt>
                <c:pt idx="6">
                  <c:v>7.0000000000000007E-2</c:v>
                </c:pt>
                <c:pt idx="7">
                  <c:v>7.0000000000000007E-2</c:v>
                </c:pt>
                <c:pt idx="8">
                  <c:v>0.28000000000000003</c:v>
                </c:pt>
                <c:pt idx="9">
                  <c:v>0.14000000000000001</c:v>
                </c:pt>
                <c:pt idx="10">
                  <c:v>0.52</c:v>
                </c:pt>
                <c:pt idx="11">
                  <c:v>0.02</c:v>
                </c:pt>
                <c:pt idx="12">
                  <c:v>0.04</c:v>
                </c:pt>
                <c:pt idx="13">
                  <c:v>0.39</c:v>
                </c:pt>
                <c:pt idx="14">
                  <c:v>0.06</c:v>
                </c:pt>
                <c:pt idx="15">
                  <c:v>0.02</c:v>
                </c:pt>
                <c:pt idx="16">
                  <c:v>0.42</c:v>
                </c:pt>
                <c:pt idx="17">
                  <c:v>0.06</c:v>
                </c:pt>
                <c:pt idx="18">
                  <c:v>0.14000000000000001</c:v>
                </c:pt>
                <c:pt idx="19">
                  <c:v>0.08</c:v>
                </c:pt>
                <c:pt idx="20">
                  <c:v>0.11</c:v>
                </c:pt>
                <c:pt idx="21">
                  <c:v>0.04</c:v>
                </c:pt>
                <c:pt idx="22">
                  <c:v>0.06</c:v>
                </c:pt>
                <c:pt idx="23">
                  <c:v>0.22</c:v>
                </c:pt>
                <c:pt idx="24">
                  <c:v>0.06</c:v>
                </c:pt>
              </c:numCache>
            </c:numRef>
          </c:xVal>
          <c:yVal>
            <c:numRef>
              <c:f>Sheet1!$B$2:$B$26</c:f>
              <c:numCache>
                <c:formatCode>General</c:formatCode>
                <c:ptCount val="25"/>
                <c:pt idx="0">
                  <c:v>0.77516643814356723</c:v>
                </c:pt>
                <c:pt idx="1">
                  <c:v>0.40112174838023401</c:v>
                </c:pt>
                <c:pt idx="2">
                  <c:v>0.2460658540715559</c:v>
                </c:pt>
                <c:pt idx="3">
                  <c:v>0</c:v>
                </c:pt>
                <c:pt idx="4">
                  <c:v>0.20391147894407641</c:v>
                </c:pt>
                <c:pt idx="5">
                  <c:v>0</c:v>
                </c:pt>
                <c:pt idx="6">
                  <c:v>0</c:v>
                </c:pt>
                <c:pt idx="7">
                  <c:v>0</c:v>
                </c:pt>
                <c:pt idx="8">
                  <c:v>9.6800836958317274E-2</c:v>
                </c:pt>
                <c:pt idx="9">
                  <c:v>0</c:v>
                </c:pt>
                <c:pt idx="10">
                  <c:v>2.2919815165608202</c:v>
                </c:pt>
                <c:pt idx="11">
                  <c:v>0</c:v>
                </c:pt>
                <c:pt idx="12">
                  <c:v>5.518309598668393E-2</c:v>
                </c:pt>
                <c:pt idx="13">
                  <c:v>6.0292315442044407E-2</c:v>
                </c:pt>
                <c:pt idx="14">
                  <c:v>0.9364548494983278</c:v>
                </c:pt>
                <c:pt idx="15">
                  <c:v>0</c:v>
                </c:pt>
                <c:pt idx="16">
                  <c:v>-0.19095100089640099</c:v>
                </c:pt>
                <c:pt idx="17">
                  <c:v>0</c:v>
                </c:pt>
                <c:pt idx="18">
                  <c:v>0</c:v>
                </c:pt>
                <c:pt idx="19">
                  <c:v>0</c:v>
                </c:pt>
                <c:pt idx="20">
                  <c:v>0</c:v>
                </c:pt>
                <c:pt idx="21">
                  <c:v>0</c:v>
                </c:pt>
                <c:pt idx="22">
                  <c:v>0</c:v>
                </c:pt>
                <c:pt idx="23">
                  <c:v>0</c:v>
                </c:pt>
                <c:pt idx="24">
                  <c:v>0</c:v>
                </c:pt>
              </c:numCache>
            </c:numRef>
          </c:yVal>
          <c:smooth val="0"/>
          <c:extLst>
            <c:ext xmlns:c15="http://schemas.microsoft.com/office/drawing/2012/chart" uri="{02D57815-91ED-43cb-92C2-25804820EDAC}">
              <c15:datalabelsRange>
                <c15:f>Sheet1!$E$2:$E$51</c15:f>
                <c15:dlblRangeCache>
                  <c:ptCount val="50"/>
                  <c:pt idx="0">
                    <c:v>SCHICK XTREME 3 SENSITIVE GREEN HOLIDAY GIFT PACK 3 BLADE DISPOSABLE SENSITIVE 8CT</c:v>
                  </c:pt>
                  <c:pt idx="1">
                    <c:v>BIC FLEX 5 WHITE BLACK HOLIDAY GIFT PACK 5 BLADE DISPOSABLE NORMAL 6CT</c:v>
                  </c:pt>
                  <c:pt idx="2">
                    <c:v>BIC FLEX 3 3 BLADE DISPOSABLE NORMAL 2CT</c:v>
                  </c:pt>
                  <c:pt idx="3">
                    <c:v>EQUATE CALIBER 5 5 BLADE DISPOSABLE NORMAL 3CT</c:v>
                  </c:pt>
                  <c:pt idx="4">
                    <c:v>EQUATE TB (TWIN BLADE) BLUE 2 BLADE DISPOSABLE NORMAL 5CT</c:v>
                  </c:pt>
                  <c:pt idx="5">
                    <c:v>SCHICK XTREME 3 SENSITIVE GREEN 3 BLADE DISPOSABLE SENSITIVE 8CT</c:v>
                  </c:pt>
                  <c:pt idx="6">
                    <c:v>SCHICK XTREME 3 SENSITIVE BLACK 3 BLADE DISPOSABLE SENSITIVE 4CT</c:v>
                  </c:pt>
                  <c:pt idx="7">
                    <c:v>SCHICK XTREME 2 SENSITIVE 2 BLADE DISPOSABLE NORMAL 12CT</c:v>
                  </c:pt>
                  <c:pt idx="8">
                    <c:v>GILLETTE MACH 3 3 BLADE DISPOSABLE SENSITIVE 6CT</c:v>
                  </c:pt>
                  <c:pt idx="9">
                    <c:v>SCHICK XTREME 3 SENSITIVE BLACK GREEN 3 BLADE DISPOSABLE SENSITIVE 12CT</c:v>
                  </c:pt>
                  <c:pt idx="10">
                    <c:v>BIC EASYRINSE BLUE 4 BLADE DISPOSABLE NORMAL 2CT</c:v>
                  </c:pt>
                  <c:pt idx="11">
                    <c:v>BIC FLEX 5 BLACK WHITE 5 BLADE DISPOSABLE NORMAL 2CT</c:v>
                  </c:pt>
                  <c:pt idx="12">
                    <c:v>EQUATE TB (TWIN BLADE) BLUE 2 BLADE DISPOSABLE NORMAL 12CT</c:v>
                  </c:pt>
                  <c:pt idx="13">
                    <c:v>BIC SENSITIVE 2 2 BLADE DISPOSABLE NORMAL 10CT</c:v>
                  </c:pt>
                  <c:pt idx="14">
                    <c:v>BIC FLEX 5 5 BLADE DISPOSABLE NORMAL 4CT</c:v>
                  </c:pt>
                  <c:pt idx="15">
                    <c:v>GILLETTE MACH 3 MULTI COLOR 3 BLADE DISPOSABLE SENSITIVE 3CT</c:v>
                  </c:pt>
                  <c:pt idx="16">
                    <c:v>BIC COMFORT 3 MULTI COLOR 3 BLADE DISPOSABLE SENSITIVE 8CT</c:v>
                  </c:pt>
                  <c:pt idx="17">
                    <c:v>EQUATE SPEED 3 SENSITIVE GREEN 3 BLADE DISPOSABLE SENSITIVE 8CT</c:v>
                  </c:pt>
                  <c:pt idx="18">
                    <c:v>GILLETTE SENSOR 2 PLUS PIVOT 2 BLADE DISPOSABLE NORMAL 15CT</c:v>
                  </c:pt>
                  <c:pt idx="19">
                    <c:v>BIC SINGLE SENSITIVE 1 BLADE DISPOSABLE SENSITIVE 12CT</c:v>
                  </c:pt>
                  <c:pt idx="20">
                    <c:v>GILLETTE SENSOR 2 FIXED 2 BLADE DISPOSABLE NORMAL 18CT</c:v>
                  </c:pt>
                  <c:pt idx="21">
                    <c:v>SCHICK XTREME 3 SENSITIVE GREEN BLACK 3 BLADE DISPOSABLE SENSITIVE 4CT</c:v>
                  </c:pt>
                  <c:pt idx="22">
                    <c:v>EQUATE CALIBER 3 3 BLADE DISPOSABLE NORMAL 3CT</c:v>
                  </c:pt>
                  <c:pt idx="23">
                    <c:v>GILLETTE SENSOR 2 PLUS 2 BLADE DISPOSABLE NORMAL 21CT</c:v>
                  </c:pt>
                  <c:pt idx="24">
                    <c:v>EQUATE SPEED 3 SENSITIVE GREEN 3 BLADE DISPOSABLE SENSITIVE 4CT</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max val="0.624"/>
          <c:min val="8.0000000000000002E-3"/>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2.750377819872984"/>
          <c:min val="-0.15276080071712081"/>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r>
                      <a:t>GILLETTE SENSOR 2 PLUS PIVOT 2 BLADE DISPOSABLE NORMAL 5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99F-4374-933C-119751F7B1D3}"/>
                </c:ext>
              </c:extLst>
            </c:dLbl>
            <c:dLbl>
              <c:idx val="1"/>
              <c:tx>
                <c:rich>
                  <a:bodyPr/>
                  <a:lstStyle/>
                  <a:p>
                    <a:r>
                      <a:t>SCHICK XTREME 3 SENSITIVE BLACK GREEN 3 BLADE DISPOSABLE SENSITIVE 20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99F-4374-933C-119751F7B1D3}"/>
                </c:ext>
              </c:extLst>
            </c:dLbl>
            <c:dLbl>
              <c:idx val="2"/>
              <c:tx>
                <c:rich>
                  <a:bodyPr/>
                  <a:lstStyle/>
                  <a:p>
                    <a:r>
                      <a:t>GILLETTE SENSOR 3 SENSITIVE BLUE GREEN 3 BLADE DISPOSABLE SENSITIVE 2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99F-4374-933C-119751F7B1D3}"/>
                </c:ext>
              </c:extLst>
            </c:dLbl>
            <c:dLbl>
              <c:idx val="3"/>
              <c:tx>
                <c:rich>
                  <a:bodyPr/>
                  <a:lstStyle/>
                  <a:p>
                    <a:r>
                      <a:t>SCHICK XTREME 3 SENSITIVE BLACK 3 BLADE DISPOSABLE SENSITIVE 20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99F-4374-933C-119751F7B1D3}"/>
                </c:ext>
              </c:extLst>
            </c:dLbl>
            <c:dLbl>
              <c:idx val="4"/>
              <c:tx>
                <c:rich>
                  <a:bodyPr/>
                  <a:lstStyle/>
                  <a:p>
                    <a:r>
                      <a:t>BIC FLEX 5 BLACK WHITE 5 BLADE DISPOSABLE NORMAL 9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99F-4374-933C-119751F7B1D3}"/>
                </c:ext>
              </c:extLst>
            </c:dLbl>
            <c:dLbl>
              <c:idx val="5"/>
              <c:tx>
                <c:rich>
                  <a:bodyPr/>
                  <a:lstStyle/>
                  <a:p>
                    <a:r>
                      <a:t>BIC 3 SENSITIVE BLUE GRAY 3 BLADE DISPOSABLE SENSITIVE 21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499F-4374-933C-119751F7B1D3}"/>
                </c:ext>
              </c:extLst>
            </c:dLbl>
            <c:dLbl>
              <c:idx val="6"/>
              <c:tx>
                <c:rich>
                  <a:bodyPr/>
                  <a:lstStyle/>
                  <a:p>
                    <a:r>
                      <a:t>SCHICK XTREME 3 SENSITIVE 3 BLADE DISPOSABLE SENSITIVE 25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499F-4374-933C-119751F7B1D3}"/>
                </c:ext>
              </c:extLst>
            </c:dLbl>
            <c:dLbl>
              <c:idx val="7"/>
              <c:tx>
                <c:rich>
                  <a:bodyPr/>
                  <a:lstStyle/>
                  <a:p>
                    <a:fld id="{B7A97F70-FB19-4B20-A047-9C4A9C1FE2F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99F-4374-933C-119751F7B1D3}"/>
                </c:ext>
              </c:extLst>
            </c:dLbl>
            <c:dLbl>
              <c:idx val="8"/>
              <c:tx>
                <c:rich>
                  <a:bodyPr/>
                  <a:lstStyle/>
                  <a:p>
                    <a:fld id="{A6B97E04-3CE5-4E3A-B171-C78DA3F24EB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99F-4374-933C-119751F7B1D3}"/>
                </c:ext>
              </c:extLst>
            </c:dLbl>
            <c:dLbl>
              <c:idx val="9"/>
              <c:tx>
                <c:rich>
                  <a:bodyPr/>
                  <a:lstStyle/>
                  <a:p>
                    <a:fld id="{B0B49AE3-3AC5-4B38-B93A-6495A2D6540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499F-4374-933C-119751F7B1D3}"/>
                </c:ext>
              </c:extLst>
            </c:dLbl>
            <c:dLbl>
              <c:idx val="10"/>
              <c:tx>
                <c:rich>
                  <a:bodyPr/>
                  <a:lstStyle/>
                  <a:p>
                    <a:fld id="{CDF30B71-C83E-46C2-9C5C-9AA8BE560E7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499F-4374-933C-119751F7B1D3}"/>
                </c:ext>
              </c:extLst>
            </c:dLbl>
            <c:dLbl>
              <c:idx val="11"/>
              <c:tx>
                <c:rich>
                  <a:bodyPr/>
                  <a:lstStyle/>
                  <a:p>
                    <a:fld id="{9FDE5307-BB3A-49AB-A15C-33AD1EB2ADD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499F-4374-933C-119751F7B1D3}"/>
                </c:ext>
              </c:extLst>
            </c:dLbl>
            <c:dLbl>
              <c:idx val="12"/>
              <c:tx>
                <c:rich>
                  <a:bodyPr/>
                  <a:lstStyle/>
                  <a:p>
                    <a:fld id="{047B73DC-3373-43B9-8DD3-C43DEE6DB05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499F-4374-933C-119751F7B1D3}"/>
                </c:ext>
              </c:extLst>
            </c:dLbl>
            <c:dLbl>
              <c:idx val="13"/>
              <c:tx>
                <c:rich>
                  <a:bodyPr/>
                  <a:lstStyle/>
                  <a:p>
                    <a:fld id="{8248DE64-7033-42A9-8A19-6E5D176259E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499F-4374-933C-119751F7B1D3}"/>
                </c:ext>
              </c:extLst>
            </c:dLbl>
            <c:dLbl>
              <c:idx val="14"/>
              <c:tx>
                <c:rich>
                  <a:bodyPr/>
                  <a:lstStyle/>
                  <a:p>
                    <a:fld id="{6E109FA6-D9ED-4A89-BBD6-B230330865A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499F-4374-933C-119751F7B1D3}"/>
                </c:ext>
              </c:extLst>
            </c:dLbl>
            <c:dLbl>
              <c:idx val="15"/>
              <c:tx>
                <c:rich>
                  <a:bodyPr/>
                  <a:lstStyle/>
                  <a:p>
                    <a:fld id="{73EF5BD3-E27B-4C26-8C7A-70107FEE3BD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499F-4374-933C-119751F7B1D3}"/>
                </c:ext>
              </c:extLst>
            </c:dLbl>
            <c:dLbl>
              <c:idx val="16"/>
              <c:tx>
                <c:rich>
                  <a:bodyPr/>
                  <a:lstStyle/>
                  <a:p>
                    <a:fld id="{D166F025-5DE7-4F1C-9DDB-4F2C03438F9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17EC-4EE8-A064-668E05F5E5BB}"/>
                </c:ext>
              </c:extLst>
            </c:dLbl>
            <c:dLbl>
              <c:idx val="17"/>
              <c:tx>
                <c:rich>
                  <a:bodyPr/>
                  <a:lstStyle/>
                  <a:p>
                    <a:fld id="{37F3F131-0BF8-4CE0-8B17-BEF5B1ACB09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499F-4374-933C-119751F7B1D3}"/>
                </c:ext>
              </c:extLst>
            </c:dLbl>
            <c:dLbl>
              <c:idx val="18"/>
              <c:tx>
                <c:rich>
                  <a:bodyPr/>
                  <a:lstStyle/>
                  <a:p>
                    <a:fld id="{193F8D2A-0C91-413C-993F-D6C0EA14D7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05C-4186-8239-DC3766495C90}"/>
                </c:ext>
              </c:extLst>
            </c:dLbl>
            <c:dLbl>
              <c:idx val="19"/>
              <c:tx>
                <c:rich>
                  <a:bodyPr/>
                  <a:lstStyle/>
                  <a:p>
                    <a:fld id="{B92AB38D-E36B-4697-AA04-0587A278B65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499F-4374-933C-119751F7B1D3}"/>
                </c:ext>
              </c:extLst>
            </c:dLbl>
            <c:dLbl>
              <c:idx val="20"/>
              <c:tx>
                <c:rich>
                  <a:bodyPr/>
                  <a:lstStyle/>
                  <a:p>
                    <a:fld id="{8B3A1A28-CA54-43BD-8FC5-11AA5540A2C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499F-4374-933C-119751F7B1D3}"/>
                </c:ext>
              </c:extLst>
            </c:dLbl>
            <c:dLbl>
              <c:idx val="21"/>
              <c:tx>
                <c:rich>
                  <a:bodyPr/>
                  <a:lstStyle/>
                  <a:p>
                    <a:fld id="{6E1E88F5-A6B9-4281-8A33-91355DA09AD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499F-4374-933C-119751F7B1D3}"/>
                </c:ext>
              </c:extLst>
            </c:dLbl>
            <c:dLbl>
              <c:idx val="22"/>
              <c:tx>
                <c:rich>
                  <a:bodyPr/>
                  <a:lstStyle/>
                  <a:p>
                    <a:fld id="{994FD9E0-C43E-4F67-90D7-4D839876436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499F-4374-933C-119751F7B1D3}"/>
                </c:ext>
              </c:extLst>
            </c:dLbl>
            <c:dLbl>
              <c:idx val="23"/>
              <c:tx>
                <c:rich>
                  <a:bodyPr/>
                  <a:lstStyle/>
                  <a:p>
                    <a:fld id="{060C5254-620C-42AA-AB7F-067353CF50D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499F-4374-933C-119751F7B1D3}"/>
                </c:ext>
              </c:extLst>
            </c:dLbl>
            <c:dLbl>
              <c:idx val="24"/>
              <c:tx>
                <c:rich>
                  <a:bodyPr/>
                  <a:lstStyle/>
                  <a:p>
                    <a:fld id="{8B20EBAA-DF7A-4947-860F-51DCBA5BE43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499F-4374-933C-119751F7B1D3}"/>
                </c:ext>
              </c:extLst>
            </c:dLbl>
            <c:dLbl>
              <c:idx val="25"/>
              <c:tx>
                <c:rich>
                  <a:bodyPr/>
                  <a:lstStyle/>
                  <a:p>
                    <a:fld id="{378C4E33-B744-4CA7-AFFB-3C3B69D8F14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499F-4374-933C-119751F7B1D3}"/>
                </c:ext>
              </c:extLst>
            </c:dLbl>
            <c:dLbl>
              <c:idx val="26"/>
              <c:tx>
                <c:rich>
                  <a:bodyPr/>
                  <a:lstStyle/>
                  <a:p>
                    <a:fld id="{C16F55FA-D8D0-4643-A49F-CDE535E31AC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499F-4374-933C-119751F7B1D3}"/>
                </c:ext>
              </c:extLst>
            </c:dLbl>
            <c:dLbl>
              <c:idx val="27"/>
              <c:tx>
                <c:rich>
                  <a:bodyPr/>
                  <a:lstStyle/>
                  <a:p>
                    <a:fld id="{3091B713-4811-4282-BEBC-CF7A4376638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499F-4374-933C-119751F7B1D3}"/>
                </c:ext>
              </c:extLst>
            </c:dLbl>
            <c:dLbl>
              <c:idx val="28"/>
              <c:tx>
                <c:rich>
                  <a:bodyPr/>
                  <a:lstStyle/>
                  <a:p>
                    <a:fld id="{840FBE73-8B38-4662-91D8-C452767CAB6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499F-4374-933C-119751F7B1D3}"/>
                </c:ext>
              </c:extLst>
            </c:dLbl>
            <c:dLbl>
              <c:idx val="29"/>
              <c:tx>
                <c:rich>
                  <a:bodyPr/>
                  <a:lstStyle/>
                  <a:p>
                    <a:fld id="{46156D61-4207-4C8E-94C6-2ECD216F68E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499F-4374-933C-119751F7B1D3}"/>
                </c:ext>
              </c:extLst>
            </c:dLbl>
            <c:dLbl>
              <c:idx val="30"/>
              <c:tx>
                <c:rich>
                  <a:bodyPr/>
                  <a:lstStyle/>
                  <a:p>
                    <a:fld id="{B14B8732-08DF-4799-ABE4-B47DFF15897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499F-4374-933C-119751F7B1D3}"/>
                </c:ext>
              </c:extLst>
            </c:dLbl>
            <c:dLbl>
              <c:idx val="31"/>
              <c:tx>
                <c:rich>
                  <a:bodyPr/>
                  <a:lstStyle/>
                  <a:p>
                    <a:fld id="{F88FC778-C668-4E3E-A08F-0989193579F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99F-4374-933C-119751F7B1D3}"/>
                </c:ext>
              </c:extLst>
            </c:dLbl>
            <c:dLbl>
              <c:idx val="32"/>
              <c:tx>
                <c:rich>
                  <a:bodyPr/>
                  <a:lstStyle/>
                  <a:p>
                    <a:fld id="{E9656A34-97E2-46C4-BCDE-7A0A3239E78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499F-4374-933C-119751F7B1D3}"/>
                </c:ext>
              </c:extLst>
            </c:dLbl>
            <c:dLbl>
              <c:idx val="33"/>
              <c:tx>
                <c:rich>
                  <a:bodyPr/>
                  <a:lstStyle/>
                  <a:p>
                    <a:fld id="{7A730CC1-BDF2-43BC-8C85-C63E74C24DA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499F-4374-933C-119751F7B1D3}"/>
                </c:ext>
              </c:extLst>
            </c:dLbl>
            <c:dLbl>
              <c:idx val="34"/>
              <c:tx>
                <c:rich>
                  <a:bodyPr/>
                  <a:lstStyle/>
                  <a:p>
                    <a:fld id="{2252B5AA-CA2F-46F4-8429-5D816EBB224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499F-4374-933C-119751F7B1D3}"/>
                </c:ext>
              </c:extLst>
            </c:dLbl>
            <c:dLbl>
              <c:idx val="35"/>
              <c:tx>
                <c:rich>
                  <a:bodyPr/>
                  <a:lstStyle/>
                  <a:p>
                    <a:fld id="{BFC69313-B264-4ED5-84FA-B973455A0E2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499F-4374-933C-119751F7B1D3}"/>
                </c:ext>
              </c:extLst>
            </c:dLbl>
            <c:dLbl>
              <c:idx val="36"/>
              <c:tx>
                <c:rich>
                  <a:bodyPr/>
                  <a:lstStyle/>
                  <a:p>
                    <a:fld id="{469C6A4A-85DE-46A6-9607-3D0394A7994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499F-4374-933C-119751F7B1D3}"/>
                </c:ext>
              </c:extLst>
            </c:dLbl>
            <c:dLbl>
              <c:idx val="37"/>
              <c:tx>
                <c:rich>
                  <a:bodyPr/>
                  <a:lstStyle/>
                  <a:p>
                    <a:fld id="{E550CB4F-5436-4363-8F71-BA6E3E125D5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499F-4374-933C-119751F7B1D3}"/>
                </c:ext>
              </c:extLst>
            </c:dLbl>
            <c:dLbl>
              <c:idx val="38"/>
              <c:tx>
                <c:rich>
                  <a:bodyPr/>
                  <a:lstStyle/>
                  <a:p>
                    <a:fld id="{EE77A683-7D3B-450A-A20C-05308D4B47F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499F-4374-933C-119751F7B1D3}"/>
                </c:ext>
              </c:extLst>
            </c:dLbl>
            <c:dLbl>
              <c:idx val="39"/>
              <c:tx>
                <c:rich>
                  <a:bodyPr/>
                  <a:lstStyle/>
                  <a:p>
                    <a:fld id="{B3D8D1FF-4ABA-4779-9A53-22680D6D65C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499F-4374-933C-119751F7B1D3}"/>
                </c:ext>
              </c:extLst>
            </c:dLbl>
            <c:dLbl>
              <c:idx val="40"/>
              <c:tx>
                <c:rich>
                  <a:bodyPr/>
                  <a:lstStyle/>
                  <a:p>
                    <a:fld id="{BFA67031-5A94-4C4D-B653-6D9B5F5956E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499F-4374-933C-119751F7B1D3}"/>
                </c:ext>
              </c:extLst>
            </c:dLbl>
            <c:dLbl>
              <c:idx val="41"/>
              <c:tx>
                <c:rich>
                  <a:bodyPr/>
                  <a:lstStyle/>
                  <a:p>
                    <a:fld id="{7BEBA01B-8820-401D-9EE1-EE3B8840E2F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499F-4374-933C-119751F7B1D3}"/>
                </c:ext>
              </c:extLst>
            </c:dLbl>
            <c:dLbl>
              <c:idx val="42"/>
              <c:tx>
                <c:rich>
                  <a:bodyPr/>
                  <a:lstStyle/>
                  <a:p>
                    <a:fld id="{6E32405A-34F1-4CDB-94D9-12AD3702084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499F-4374-933C-119751F7B1D3}"/>
                </c:ext>
              </c:extLst>
            </c:dLbl>
            <c:dLbl>
              <c:idx val="43"/>
              <c:tx>
                <c:rich>
                  <a:bodyPr/>
                  <a:lstStyle/>
                  <a:p>
                    <a:fld id="{D42F7441-4886-4CC1-8884-A8EF6049068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499F-4374-933C-119751F7B1D3}"/>
                </c:ext>
              </c:extLst>
            </c:dLbl>
            <c:dLbl>
              <c:idx val="44"/>
              <c:tx>
                <c:rich>
                  <a:bodyPr/>
                  <a:lstStyle/>
                  <a:p>
                    <a:fld id="{1D0E5A24-3F53-4479-9485-53C604670A7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499F-4374-933C-119751F7B1D3}"/>
                </c:ext>
              </c:extLst>
            </c:dLbl>
            <c:dLbl>
              <c:idx val="45"/>
              <c:tx>
                <c:rich>
                  <a:bodyPr/>
                  <a:lstStyle/>
                  <a:p>
                    <a:fld id="{07DF1C7C-FEED-4618-8C4D-7246C623FFA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499F-4374-933C-119751F7B1D3}"/>
                </c:ext>
              </c:extLst>
            </c:dLbl>
            <c:dLbl>
              <c:idx val="46"/>
              <c:tx>
                <c:rich>
                  <a:bodyPr/>
                  <a:lstStyle/>
                  <a:p>
                    <a:fld id="{DB5D4290-A9F6-4F88-9526-5753D646BBF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499F-4374-933C-119751F7B1D3}"/>
                </c:ext>
              </c:extLst>
            </c:dLbl>
            <c:dLbl>
              <c:idx val="47"/>
              <c:tx>
                <c:rich>
                  <a:bodyPr/>
                  <a:lstStyle/>
                  <a:p>
                    <a:fld id="{B6742538-F431-4410-8F15-7A4800E7BD0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8</c:f>
              <c:numCache>
                <c:formatCode>General</c:formatCode>
                <c:ptCount val="7"/>
                <c:pt idx="0">
                  <c:v>0.09</c:v>
                </c:pt>
                <c:pt idx="1">
                  <c:v>0.19</c:v>
                </c:pt>
                <c:pt idx="2">
                  <c:v>0.11</c:v>
                </c:pt>
                <c:pt idx="3">
                  <c:v>0.13</c:v>
                </c:pt>
                <c:pt idx="4">
                  <c:v>0.14000000000000001</c:v>
                </c:pt>
                <c:pt idx="5">
                  <c:v>0.19</c:v>
                </c:pt>
                <c:pt idx="6">
                  <c:v>0.17</c:v>
                </c:pt>
              </c:numCache>
            </c:numRef>
          </c:xVal>
          <c:yVal>
            <c:numRef>
              <c:f>Sheet1!$B$2:$B$8</c:f>
              <c:numCache>
                <c:formatCode>General</c:formatCode>
                <c:ptCount val="7"/>
                <c:pt idx="0">
                  <c:v>0.36277329371209649</c:v>
                </c:pt>
                <c:pt idx="1">
                  <c:v>0.52921708306887005</c:v>
                </c:pt>
                <c:pt idx="2">
                  <c:v>0.64009917186930121</c:v>
                </c:pt>
                <c:pt idx="3">
                  <c:v>0.25939355305945577</c:v>
                </c:pt>
                <c:pt idx="4">
                  <c:v>0.44598121117037659</c:v>
                </c:pt>
                <c:pt idx="5">
                  <c:v>0.68008821676118458</c:v>
                </c:pt>
                <c:pt idx="6">
                  <c:v>0.27878787878787881</c:v>
                </c:pt>
              </c:numCache>
            </c:numRef>
          </c:yVal>
          <c:smooth val="0"/>
          <c:extLst>
            <c:ext xmlns:c15="http://schemas.microsoft.com/office/drawing/2012/chart" uri="{02D57815-91ED-43cb-92C2-25804820EDAC}">
              <c15:datalabelsRange>
                <c15:f>Sheet1!$E$2:$E$51</c15:f>
                <c15:dlblRangeCache>
                  <c:ptCount val="50"/>
                  <c:pt idx="0">
                    <c:v>GILLETTE SENSOR 2 PLUS PIVOT 2 BLADE DISPOSABLE NORMAL 52CT</c:v>
                  </c:pt>
                  <c:pt idx="1">
                    <c:v>SCHICK XTREME 3 SENSITIVE BLACK GREEN 3 BLADE DISPOSABLE SENSITIVE 20CT</c:v>
                  </c:pt>
                  <c:pt idx="2">
                    <c:v>GILLETTE SENSOR 3 SENSITIVE BLUE GREEN 3 BLADE DISPOSABLE SENSITIVE 24CT</c:v>
                  </c:pt>
                  <c:pt idx="3">
                    <c:v>SCHICK XTREME 3 SENSITIVE BLACK 3 BLADE DISPOSABLE SENSITIVE 20CT</c:v>
                  </c:pt>
                  <c:pt idx="4">
                    <c:v>BIC FLEX 5 BLACK WHITE 5 BLADE DISPOSABLE NORMAL 9CT</c:v>
                  </c:pt>
                  <c:pt idx="5">
                    <c:v>BIC 3 SENSITIVE BLUE GRAY 3 BLADE DISPOSABLE SENSITIVE 21CT</c:v>
                  </c:pt>
                  <c:pt idx="6">
                    <c:v>SCHICK XTREME 3 SENSITIVE 3 BLADE DISPOSABLE SENSITIVE 25CT</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max val="0.22799999999999998"/>
          <c:min val="7.1999999999999995E-2"/>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0.81610586011342146"/>
          <c:min val="0.20751484244756463"/>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r>
                      <a:t>SCHICK XTREME 3 SENSITIVE GREEN HOLIDAY GIFT PACK 3 BLADE DISPOSABLE SENSITIVE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99F-4374-933C-119751F7B1D3}"/>
                </c:ext>
              </c:extLst>
            </c:dLbl>
            <c:dLbl>
              <c:idx val="1"/>
              <c:tx>
                <c:rich>
                  <a:bodyPr/>
                  <a:lstStyle/>
                  <a:p>
                    <a:r>
                      <a:t>BIC FLEX 5 WHITE BLACK HOLIDAY GIFT PACK 5 BLADE DISPOSABLE NORMAL 6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99F-4374-933C-119751F7B1D3}"/>
                </c:ext>
              </c:extLst>
            </c:dLbl>
            <c:dLbl>
              <c:idx val="2"/>
              <c:tx>
                <c:rich>
                  <a:bodyPr/>
                  <a:lstStyle/>
                  <a:p>
                    <a:r>
                      <a:t>BIC FLEX 3 3 BLADE DISPOSABLE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99F-4374-933C-119751F7B1D3}"/>
                </c:ext>
              </c:extLst>
            </c:dLbl>
            <c:dLbl>
              <c:idx val="3"/>
              <c:tx>
                <c:rich>
                  <a:bodyPr/>
                  <a:lstStyle/>
                  <a:p>
                    <a:r>
                      <a:t>EQUATE CALIBER 5 5 BLADE DISPOSABLE NORMAL 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99F-4374-933C-119751F7B1D3}"/>
                </c:ext>
              </c:extLst>
            </c:dLbl>
            <c:dLbl>
              <c:idx val="4"/>
              <c:tx>
                <c:rich>
                  <a:bodyPr/>
                  <a:lstStyle/>
                  <a:p>
                    <a:r>
                      <a:t>EQUATE TB (TWIN BLADE) BLUE 2 BLADE DISPOSABLE NORMAL 5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99F-4374-933C-119751F7B1D3}"/>
                </c:ext>
              </c:extLst>
            </c:dLbl>
            <c:dLbl>
              <c:idx val="5"/>
              <c:tx>
                <c:rich>
                  <a:bodyPr/>
                  <a:lstStyle/>
                  <a:p>
                    <a:r>
                      <a:t>SCHICK XTREME 3 SENSITIVE GREEN 3 BLADE DISPOSABLE SENSITIVE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499F-4374-933C-119751F7B1D3}"/>
                </c:ext>
              </c:extLst>
            </c:dLbl>
            <c:dLbl>
              <c:idx val="6"/>
              <c:tx>
                <c:rich>
                  <a:bodyPr/>
                  <a:lstStyle/>
                  <a:p>
                    <a:r>
                      <a:t>SCHICK XTREME 3 SENSITIVE BLACK 3 BLADE DISPOSABLE SENSITIVE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499F-4374-933C-119751F7B1D3}"/>
                </c:ext>
              </c:extLst>
            </c:dLbl>
            <c:dLbl>
              <c:idx val="7"/>
              <c:tx>
                <c:rich>
                  <a:bodyPr/>
                  <a:lstStyle/>
                  <a:p>
                    <a:r>
                      <a:t>SCHICK XTREME 2 SENSITIVE 2 BLADE DISPOSABLE NORMAL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499F-4374-933C-119751F7B1D3}"/>
                </c:ext>
              </c:extLst>
            </c:dLbl>
            <c:dLbl>
              <c:idx val="8"/>
              <c:tx>
                <c:rich>
                  <a:bodyPr/>
                  <a:lstStyle/>
                  <a:p>
                    <a:r>
                      <a:t>GILLETTE MACH 3 3 BLADE DISPOSABLE SENSITIVE 6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8-499F-4374-933C-119751F7B1D3}"/>
                </c:ext>
              </c:extLst>
            </c:dLbl>
            <c:dLbl>
              <c:idx val="9"/>
              <c:tx>
                <c:rich>
                  <a:bodyPr/>
                  <a:lstStyle/>
                  <a:p>
                    <a:r>
                      <a:t>SCHICK XTREME 3 SENSITIVE BLACK GREEN 3 BLADE DISPOSABLE SENSITIVE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499F-4374-933C-119751F7B1D3}"/>
                </c:ext>
              </c:extLst>
            </c:dLbl>
            <c:dLbl>
              <c:idx val="10"/>
              <c:tx>
                <c:rich>
                  <a:bodyPr/>
                  <a:lstStyle/>
                  <a:p>
                    <a:r>
                      <a:t>BIC EASYRINSE BLUE 4 BLADE DISPOSABLE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499F-4374-933C-119751F7B1D3}"/>
                </c:ext>
              </c:extLst>
            </c:dLbl>
            <c:dLbl>
              <c:idx val="11"/>
              <c:tx>
                <c:rich>
                  <a:bodyPr/>
                  <a:lstStyle/>
                  <a:p>
                    <a:r>
                      <a:t>BIC FLEX 5 BLACK WHITE 5 BLADE DISPOSABLE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499F-4374-933C-119751F7B1D3}"/>
                </c:ext>
              </c:extLst>
            </c:dLbl>
            <c:dLbl>
              <c:idx val="12"/>
              <c:tx>
                <c:rich>
                  <a:bodyPr/>
                  <a:lstStyle/>
                  <a:p>
                    <a:r>
                      <a:t>EQUATE TB (TWIN BLADE) BLUE 2 BLADE DISPOSABLE NORMAL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499F-4374-933C-119751F7B1D3}"/>
                </c:ext>
              </c:extLst>
            </c:dLbl>
            <c:dLbl>
              <c:idx val="13"/>
              <c:tx>
                <c:rich>
                  <a:bodyPr/>
                  <a:lstStyle/>
                  <a:p>
                    <a:r>
                      <a:t>BIC SENSITIVE 2 2 BLADE DISPOSABLE NORMAL 10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D-499F-4374-933C-119751F7B1D3}"/>
                </c:ext>
              </c:extLst>
            </c:dLbl>
            <c:dLbl>
              <c:idx val="14"/>
              <c:tx>
                <c:rich>
                  <a:bodyPr/>
                  <a:lstStyle/>
                  <a:p>
                    <a:r>
                      <a:t>BIC FLEX 5 5 BLADE DISPOSABLE NORMAL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E-499F-4374-933C-119751F7B1D3}"/>
                </c:ext>
              </c:extLst>
            </c:dLbl>
            <c:dLbl>
              <c:idx val="15"/>
              <c:tx>
                <c:rich>
                  <a:bodyPr/>
                  <a:lstStyle/>
                  <a:p>
                    <a:r>
                      <a:t>GILLETTE MACH 3 MULTI COLOR 3 BLADE DISPOSABLE SENSITIVE 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F-499F-4374-933C-119751F7B1D3}"/>
                </c:ext>
              </c:extLst>
            </c:dLbl>
            <c:dLbl>
              <c:idx val="16"/>
              <c:tx>
                <c:rich>
                  <a:bodyPr/>
                  <a:lstStyle/>
                  <a:p>
                    <a:r>
                      <a:t>BIC COMFORT 3 MULTI COLOR 3 BLADE DISPOSABLE SENSITIVE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17EC-4EE8-A064-668E05F5E5BB}"/>
                </c:ext>
              </c:extLst>
            </c:dLbl>
            <c:dLbl>
              <c:idx val="17"/>
              <c:tx>
                <c:rich>
                  <a:bodyPr/>
                  <a:lstStyle/>
                  <a:p>
                    <a:r>
                      <a:t>EQUATE SPEED 3 SENSITIVE GREEN 3 BLADE DISPOSABLE SENSITIVE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499F-4374-933C-119751F7B1D3}"/>
                </c:ext>
              </c:extLst>
            </c:dLbl>
            <c:dLbl>
              <c:idx val="18"/>
              <c:tx>
                <c:rich>
                  <a:bodyPr/>
                  <a:lstStyle/>
                  <a:p>
                    <a:r>
                      <a:t>GILLETTE SENSOR 2 PLUS PIVOT 2 BLADE DISPOSABLE NORMAL 15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E05C-4186-8239-DC3766495C90}"/>
                </c:ext>
              </c:extLst>
            </c:dLbl>
            <c:dLbl>
              <c:idx val="19"/>
              <c:tx>
                <c:rich>
                  <a:bodyPr/>
                  <a:lstStyle/>
                  <a:p>
                    <a:r>
                      <a:t>BIC SINGLE SENSITIVE 1 BLADE DISPOSABLE SENSITIVE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499F-4374-933C-119751F7B1D3}"/>
                </c:ext>
              </c:extLst>
            </c:dLbl>
            <c:dLbl>
              <c:idx val="20"/>
              <c:tx>
                <c:rich>
                  <a:bodyPr/>
                  <a:lstStyle/>
                  <a:p>
                    <a:r>
                      <a:t>GILLETTE SENSOR 2 FIXED 2 BLADE DISPOSABLE NORMAL 1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499F-4374-933C-119751F7B1D3}"/>
                </c:ext>
              </c:extLst>
            </c:dLbl>
            <c:dLbl>
              <c:idx val="21"/>
              <c:tx>
                <c:rich>
                  <a:bodyPr/>
                  <a:lstStyle/>
                  <a:p>
                    <a:r>
                      <a:t>SCHICK XTREME 3 SENSITIVE GREEN BLACK 3 BLADE DISPOSABLE SENSITIVE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3-499F-4374-933C-119751F7B1D3}"/>
                </c:ext>
              </c:extLst>
            </c:dLbl>
            <c:dLbl>
              <c:idx val="22"/>
              <c:tx>
                <c:rich>
                  <a:bodyPr/>
                  <a:lstStyle/>
                  <a:p>
                    <a:r>
                      <a:t>EQUATE CALIBER 3 3 BLADE DISPOSABLE NORMAL 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4-499F-4374-933C-119751F7B1D3}"/>
                </c:ext>
              </c:extLst>
            </c:dLbl>
            <c:dLbl>
              <c:idx val="23"/>
              <c:tx>
                <c:rich>
                  <a:bodyPr/>
                  <a:lstStyle/>
                  <a:p>
                    <a:r>
                      <a:t>GILLETTE SENSOR 2 PLUS 2 BLADE DISPOSABLE NORMAL 21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499F-4374-933C-119751F7B1D3}"/>
                </c:ext>
              </c:extLst>
            </c:dLbl>
            <c:dLbl>
              <c:idx val="24"/>
              <c:tx>
                <c:rich>
                  <a:bodyPr/>
                  <a:lstStyle/>
                  <a:p>
                    <a:r>
                      <a:t>EQUATE SPEED 3 SENSITIVE GREEN 3 BLADE DISPOSABLE SENSITIVE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499F-4374-933C-119751F7B1D3}"/>
                </c:ext>
              </c:extLst>
            </c:dLbl>
            <c:dLbl>
              <c:idx val="25"/>
              <c:tx>
                <c:rich>
                  <a:bodyPr/>
                  <a:lstStyle/>
                  <a:p>
                    <a:fld id="{02D9EA68-E71A-4D7B-A073-CE2CBD21064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499F-4374-933C-119751F7B1D3}"/>
                </c:ext>
              </c:extLst>
            </c:dLbl>
            <c:dLbl>
              <c:idx val="26"/>
              <c:tx>
                <c:rich>
                  <a:bodyPr/>
                  <a:lstStyle/>
                  <a:p>
                    <a:fld id="{A663678F-8721-4CD6-A43D-DC032D9671D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499F-4374-933C-119751F7B1D3}"/>
                </c:ext>
              </c:extLst>
            </c:dLbl>
            <c:dLbl>
              <c:idx val="27"/>
              <c:tx>
                <c:rich>
                  <a:bodyPr/>
                  <a:lstStyle/>
                  <a:p>
                    <a:fld id="{CE66BCC8-F522-4884-8EBA-6294B3AF2E3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499F-4374-933C-119751F7B1D3}"/>
                </c:ext>
              </c:extLst>
            </c:dLbl>
            <c:dLbl>
              <c:idx val="28"/>
              <c:tx>
                <c:rich>
                  <a:bodyPr/>
                  <a:lstStyle/>
                  <a:p>
                    <a:fld id="{205FFE8B-9F78-4F08-BC98-E8E911A32B3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499F-4374-933C-119751F7B1D3}"/>
                </c:ext>
              </c:extLst>
            </c:dLbl>
            <c:dLbl>
              <c:idx val="29"/>
              <c:tx>
                <c:rich>
                  <a:bodyPr/>
                  <a:lstStyle/>
                  <a:p>
                    <a:fld id="{42799E40-6229-45FE-96BD-F38EEFA11AF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499F-4374-933C-119751F7B1D3}"/>
                </c:ext>
              </c:extLst>
            </c:dLbl>
            <c:dLbl>
              <c:idx val="30"/>
              <c:tx>
                <c:rich>
                  <a:bodyPr/>
                  <a:lstStyle/>
                  <a:p>
                    <a:fld id="{86422B50-09E6-482D-A661-51E6F9A9EBD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499F-4374-933C-119751F7B1D3}"/>
                </c:ext>
              </c:extLst>
            </c:dLbl>
            <c:dLbl>
              <c:idx val="31"/>
              <c:tx>
                <c:rich>
                  <a:bodyPr/>
                  <a:lstStyle/>
                  <a:p>
                    <a:fld id="{00FADD53-E4D9-4E96-8595-2121EE6AA54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99F-4374-933C-119751F7B1D3}"/>
                </c:ext>
              </c:extLst>
            </c:dLbl>
            <c:dLbl>
              <c:idx val="32"/>
              <c:tx>
                <c:rich>
                  <a:bodyPr/>
                  <a:lstStyle/>
                  <a:p>
                    <a:fld id="{7FF04F5B-4DF6-463D-AAEC-478DC06D104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499F-4374-933C-119751F7B1D3}"/>
                </c:ext>
              </c:extLst>
            </c:dLbl>
            <c:dLbl>
              <c:idx val="33"/>
              <c:tx>
                <c:rich>
                  <a:bodyPr/>
                  <a:lstStyle/>
                  <a:p>
                    <a:fld id="{07CEA05F-29F9-4AC9-92AD-2F6E82D522D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499F-4374-933C-119751F7B1D3}"/>
                </c:ext>
              </c:extLst>
            </c:dLbl>
            <c:dLbl>
              <c:idx val="34"/>
              <c:tx>
                <c:rich>
                  <a:bodyPr/>
                  <a:lstStyle/>
                  <a:p>
                    <a:fld id="{86E018EE-67C2-46C2-A24A-49CEBFEB312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499F-4374-933C-119751F7B1D3}"/>
                </c:ext>
              </c:extLst>
            </c:dLbl>
            <c:dLbl>
              <c:idx val="35"/>
              <c:tx>
                <c:rich>
                  <a:bodyPr/>
                  <a:lstStyle/>
                  <a:p>
                    <a:fld id="{FD094A8C-1E71-47BC-ABB3-766A830DFCC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499F-4374-933C-119751F7B1D3}"/>
                </c:ext>
              </c:extLst>
            </c:dLbl>
            <c:dLbl>
              <c:idx val="36"/>
              <c:tx>
                <c:rich>
                  <a:bodyPr/>
                  <a:lstStyle/>
                  <a:p>
                    <a:fld id="{7F93A581-C48B-4BC2-8718-EF6D4B7065A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499F-4374-933C-119751F7B1D3}"/>
                </c:ext>
              </c:extLst>
            </c:dLbl>
            <c:dLbl>
              <c:idx val="37"/>
              <c:tx>
                <c:rich>
                  <a:bodyPr/>
                  <a:lstStyle/>
                  <a:p>
                    <a:fld id="{26F38CBE-6E2A-46E8-8F67-12ECA7CA6A0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499F-4374-933C-119751F7B1D3}"/>
                </c:ext>
              </c:extLst>
            </c:dLbl>
            <c:dLbl>
              <c:idx val="38"/>
              <c:tx>
                <c:rich>
                  <a:bodyPr/>
                  <a:lstStyle/>
                  <a:p>
                    <a:fld id="{939E1C32-A810-4AAD-B922-51DC0C03005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499F-4374-933C-119751F7B1D3}"/>
                </c:ext>
              </c:extLst>
            </c:dLbl>
            <c:dLbl>
              <c:idx val="39"/>
              <c:tx>
                <c:rich>
                  <a:bodyPr/>
                  <a:lstStyle/>
                  <a:p>
                    <a:fld id="{CFDD1FF4-8367-4CE7-B2D9-77C80C7B366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499F-4374-933C-119751F7B1D3}"/>
                </c:ext>
              </c:extLst>
            </c:dLbl>
            <c:dLbl>
              <c:idx val="40"/>
              <c:tx>
                <c:rich>
                  <a:bodyPr/>
                  <a:lstStyle/>
                  <a:p>
                    <a:fld id="{0F9F23F6-D77D-4897-A3AB-95B37902FC5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499F-4374-933C-119751F7B1D3}"/>
                </c:ext>
              </c:extLst>
            </c:dLbl>
            <c:dLbl>
              <c:idx val="41"/>
              <c:tx>
                <c:rich>
                  <a:bodyPr/>
                  <a:lstStyle/>
                  <a:p>
                    <a:fld id="{0C0C12EF-C2AC-4321-A46F-521DD84EB80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499F-4374-933C-119751F7B1D3}"/>
                </c:ext>
              </c:extLst>
            </c:dLbl>
            <c:dLbl>
              <c:idx val="42"/>
              <c:tx>
                <c:rich>
                  <a:bodyPr/>
                  <a:lstStyle/>
                  <a:p>
                    <a:fld id="{0169EBAB-E3C6-408D-B646-E64D106A8B2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499F-4374-933C-119751F7B1D3}"/>
                </c:ext>
              </c:extLst>
            </c:dLbl>
            <c:dLbl>
              <c:idx val="43"/>
              <c:tx>
                <c:rich>
                  <a:bodyPr/>
                  <a:lstStyle/>
                  <a:p>
                    <a:fld id="{EFBE21AA-2FCC-43E4-8C93-EDF616D1E57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499F-4374-933C-119751F7B1D3}"/>
                </c:ext>
              </c:extLst>
            </c:dLbl>
            <c:dLbl>
              <c:idx val="44"/>
              <c:tx>
                <c:rich>
                  <a:bodyPr/>
                  <a:lstStyle/>
                  <a:p>
                    <a:fld id="{68D2A040-5B75-4605-A6F0-CB3FB3259C8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499F-4374-933C-119751F7B1D3}"/>
                </c:ext>
              </c:extLst>
            </c:dLbl>
            <c:dLbl>
              <c:idx val="45"/>
              <c:tx>
                <c:rich>
                  <a:bodyPr/>
                  <a:lstStyle/>
                  <a:p>
                    <a:fld id="{79CDFB1E-AA76-40ED-A427-9D88DEA1B84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499F-4374-933C-119751F7B1D3}"/>
                </c:ext>
              </c:extLst>
            </c:dLbl>
            <c:dLbl>
              <c:idx val="46"/>
              <c:tx>
                <c:rich>
                  <a:bodyPr/>
                  <a:lstStyle/>
                  <a:p>
                    <a:fld id="{39C29069-5776-4FF6-A0A9-C6227D11CE0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499F-4374-933C-119751F7B1D3}"/>
                </c:ext>
              </c:extLst>
            </c:dLbl>
            <c:dLbl>
              <c:idx val="47"/>
              <c:tx>
                <c:rich>
                  <a:bodyPr/>
                  <a:lstStyle/>
                  <a:p>
                    <a:fld id="{218AD17B-24DB-4C7F-9E96-64EA69501B0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6</c:f>
              <c:numCache>
                <c:formatCode>General</c:formatCode>
                <c:ptCount val="25"/>
                <c:pt idx="0">
                  <c:v>0.11</c:v>
                </c:pt>
                <c:pt idx="1">
                  <c:v>0.05</c:v>
                </c:pt>
                <c:pt idx="2">
                  <c:v>0.16</c:v>
                </c:pt>
                <c:pt idx="3">
                  <c:v>0.01</c:v>
                </c:pt>
                <c:pt idx="4">
                  <c:v>0.04</c:v>
                </c:pt>
                <c:pt idx="5">
                  <c:v>0.1</c:v>
                </c:pt>
                <c:pt idx="6">
                  <c:v>7.0000000000000007E-2</c:v>
                </c:pt>
                <c:pt idx="7">
                  <c:v>7.0000000000000007E-2</c:v>
                </c:pt>
                <c:pt idx="8">
                  <c:v>0.28000000000000003</c:v>
                </c:pt>
                <c:pt idx="9">
                  <c:v>0.14000000000000001</c:v>
                </c:pt>
                <c:pt idx="10">
                  <c:v>0.52</c:v>
                </c:pt>
                <c:pt idx="11">
                  <c:v>0.02</c:v>
                </c:pt>
                <c:pt idx="12">
                  <c:v>0.04</c:v>
                </c:pt>
                <c:pt idx="13">
                  <c:v>0.39</c:v>
                </c:pt>
                <c:pt idx="14">
                  <c:v>0.06</c:v>
                </c:pt>
                <c:pt idx="15">
                  <c:v>0.02</c:v>
                </c:pt>
                <c:pt idx="16">
                  <c:v>0.42</c:v>
                </c:pt>
                <c:pt idx="17">
                  <c:v>0.06</c:v>
                </c:pt>
                <c:pt idx="18">
                  <c:v>0.14000000000000001</c:v>
                </c:pt>
                <c:pt idx="19">
                  <c:v>0.08</c:v>
                </c:pt>
                <c:pt idx="20">
                  <c:v>0.11</c:v>
                </c:pt>
                <c:pt idx="21">
                  <c:v>0.04</c:v>
                </c:pt>
                <c:pt idx="22">
                  <c:v>0.06</c:v>
                </c:pt>
                <c:pt idx="23">
                  <c:v>0.22</c:v>
                </c:pt>
                <c:pt idx="24">
                  <c:v>0.06</c:v>
                </c:pt>
              </c:numCache>
            </c:numRef>
          </c:xVal>
          <c:yVal>
            <c:numRef>
              <c:f>Sheet1!$B$2:$B$26</c:f>
              <c:numCache>
                <c:formatCode>General</c:formatCode>
                <c:ptCount val="25"/>
                <c:pt idx="0">
                  <c:v>0.77516643814356723</c:v>
                </c:pt>
                <c:pt idx="1">
                  <c:v>0.40112174838023401</c:v>
                </c:pt>
                <c:pt idx="2">
                  <c:v>0.2460658540715559</c:v>
                </c:pt>
                <c:pt idx="3">
                  <c:v>0</c:v>
                </c:pt>
                <c:pt idx="4">
                  <c:v>0.20391147894407641</c:v>
                </c:pt>
                <c:pt idx="5">
                  <c:v>0</c:v>
                </c:pt>
                <c:pt idx="6">
                  <c:v>0</c:v>
                </c:pt>
                <c:pt idx="7">
                  <c:v>0</c:v>
                </c:pt>
                <c:pt idx="8">
                  <c:v>9.6800836958317274E-2</c:v>
                </c:pt>
                <c:pt idx="9">
                  <c:v>0</c:v>
                </c:pt>
                <c:pt idx="10">
                  <c:v>2.2919815165608202</c:v>
                </c:pt>
                <c:pt idx="11">
                  <c:v>0</c:v>
                </c:pt>
                <c:pt idx="12">
                  <c:v>5.518309598668393E-2</c:v>
                </c:pt>
                <c:pt idx="13">
                  <c:v>6.0292315442044407E-2</c:v>
                </c:pt>
                <c:pt idx="14">
                  <c:v>0.9364548494983278</c:v>
                </c:pt>
                <c:pt idx="15">
                  <c:v>0</c:v>
                </c:pt>
                <c:pt idx="16">
                  <c:v>-0.19095100089640099</c:v>
                </c:pt>
                <c:pt idx="17">
                  <c:v>0</c:v>
                </c:pt>
                <c:pt idx="18">
                  <c:v>0</c:v>
                </c:pt>
                <c:pt idx="19">
                  <c:v>0</c:v>
                </c:pt>
                <c:pt idx="20">
                  <c:v>0</c:v>
                </c:pt>
                <c:pt idx="21">
                  <c:v>0</c:v>
                </c:pt>
                <c:pt idx="22">
                  <c:v>0</c:v>
                </c:pt>
                <c:pt idx="23">
                  <c:v>0</c:v>
                </c:pt>
                <c:pt idx="24">
                  <c:v>0</c:v>
                </c:pt>
              </c:numCache>
            </c:numRef>
          </c:yVal>
          <c:smooth val="0"/>
          <c:extLst>
            <c:ext xmlns:c15="http://schemas.microsoft.com/office/drawing/2012/chart" uri="{02D57815-91ED-43cb-92C2-25804820EDAC}">
              <c15:datalabelsRange>
                <c15:f>Sheet1!$E$2:$E$51</c15:f>
                <c15:dlblRangeCache>
                  <c:ptCount val="50"/>
                  <c:pt idx="0">
                    <c:v>SCHICK XTREME 3 SENSITIVE GREEN HOLIDAY GIFT PACK 3 BLADE DISPOSABLE SENSITIVE 8CT</c:v>
                  </c:pt>
                  <c:pt idx="1">
                    <c:v>BIC FLEX 5 WHITE BLACK HOLIDAY GIFT PACK 5 BLADE DISPOSABLE NORMAL 6CT</c:v>
                  </c:pt>
                  <c:pt idx="2">
                    <c:v>BIC FLEX 3 3 BLADE DISPOSABLE NORMAL 2CT</c:v>
                  </c:pt>
                  <c:pt idx="3">
                    <c:v>EQUATE CALIBER 5 5 BLADE DISPOSABLE NORMAL 3CT</c:v>
                  </c:pt>
                  <c:pt idx="4">
                    <c:v>EQUATE TB (TWIN BLADE) BLUE 2 BLADE DISPOSABLE NORMAL 5CT</c:v>
                  </c:pt>
                  <c:pt idx="5">
                    <c:v>SCHICK XTREME 3 SENSITIVE GREEN 3 BLADE DISPOSABLE SENSITIVE 8CT</c:v>
                  </c:pt>
                  <c:pt idx="6">
                    <c:v>SCHICK XTREME 3 SENSITIVE BLACK 3 BLADE DISPOSABLE SENSITIVE 4CT</c:v>
                  </c:pt>
                  <c:pt idx="7">
                    <c:v>SCHICK XTREME 2 SENSITIVE 2 BLADE DISPOSABLE NORMAL 12CT</c:v>
                  </c:pt>
                  <c:pt idx="8">
                    <c:v>GILLETTE MACH 3 3 BLADE DISPOSABLE SENSITIVE 6CT</c:v>
                  </c:pt>
                  <c:pt idx="9">
                    <c:v>SCHICK XTREME 3 SENSITIVE BLACK GREEN 3 BLADE DISPOSABLE SENSITIVE 12CT</c:v>
                  </c:pt>
                  <c:pt idx="10">
                    <c:v>BIC EASYRINSE BLUE 4 BLADE DISPOSABLE NORMAL 2CT</c:v>
                  </c:pt>
                  <c:pt idx="11">
                    <c:v>BIC FLEX 5 BLACK WHITE 5 BLADE DISPOSABLE NORMAL 2CT</c:v>
                  </c:pt>
                  <c:pt idx="12">
                    <c:v>EQUATE TB (TWIN BLADE) BLUE 2 BLADE DISPOSABLE NORMAL 12CT</c:v>
                  </c:pt>
                  <c:pt idx="13">
                    <c:v>BIC SENSITIVE 2 2 BLADE DISPOSABLE NORMAL 10CT</c:v>
                  </c:pt>
                  <c:pt idx="14">
                    <c:v>BIC FLEX 5 5 BLADE DISPOSABLE NORMAL 4CT</c:v>
                  </c:pt>
                  <c:pt idx="15">
                    <c:v>GILLETTE MACH 3 MULTI COLOR 3 BLADE DISPOSABLE SENSITIVE 3CT</c:v>
                  </c:pt>
                  <c:pt idx="16">
                    <c:v>BIC COMFORT 3 MULTI COLOR 3 BLADE DISPOSABLE SENSITIVE 8CT</c:v>
                  </c:pt>
                  <c:pt idx="17">
                    <c:v>EQUATE SPEED 3 SENSITIVE GREEN 3 BLADE DISPOSABLE SENSITIVE 8CT</c:v>
                  </c:pt>
                  <c:pt idx="18">
                    <c:v>GILLETTE SENSOR 2 PLUS PIVOT 2 BLADE DISPOSABLE NORMAL 15CT</c:v>
                  </c:pt>
                  <c:pt idx="19">
                    <c:v>BIC SINGLE SENSITIVE 1 BLADE DISPOSABLE SENSITIVE 12CT</c:v>
                  </c:pt>
                  <c:pt idx="20">
                    <c:v>GILLETTE SENSOR 2 FIXED 2 BLADE DISPOSABLE NORMAL 18CT</c:v>
                  </c:pt>
                  <c:pt idx="21">
                    <c:v>SCHICK XTREME 3 SENSITIVE GREEN BLACK 3 BLADE DISPOSABLE SENSITIVE 4CT</c:v>
                  </c:pt>
                  <c:pt idx="22">
                    <c:v>EQUATE CALIBER 3 3 BLADE DISPOSABLE NORMAL 3CT</c:v>
                  </c:pt>
                  <c:pt idx="23">
                    <c:v>GILLETTE SENSOR 2 PLUS 2 BLADE DISPOSABLE NORMAL 21CT</c:v>
                  </c:pt>
                  <c:pt idx="24">
                    <c:v>EQUATE SPEED 3 SENSITIVE GREEN 3 BLADE DISPOSABLE SENSITIVE 4CT</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max val="0.624"/>
          <c:min val="8.0000000000000002E-3"/>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2.750377819872984"/>
          <c:min val="-0.15276080071712081"/>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r>
                      <a:t>GILLETTE FUSION 5 PROGLIDE 5 BLADE RAZOR NORMAL 1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99F-4374-933C-119751F7B1D3}"/>
                </c:ext>
              </c:extLst>
            </c:dLbl>
            <c:dLbl>
              <c:idx val="1"/>
              <c:tx>
                <c:rich>
                  <a:bodyPr/>
                  <a:lstStyle/>
                  <a:p>
                    <a:r>
                      <a:t>GILLETTE FUSION 5 5 BLADE RAZOR NORMAL 9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99F-4374-933C-119751F7B1D3}"/>
                </c:ext>
              </c:extLst>
            </c:dLbl>
            <c:dLbl>
              <c:idx val="2"/>
              <c:tx>
                <c:rich>
                  <a:bodyPr/>
                  <a:lstStyle/>
                  <a:p>
                    <a:r>
                      <a:t>HARRY'S ORANGE 5 BLADE RAZOR NORMAL 11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99F-4374-933C-119751F7B1D3}"/>
                </c:ext>
              </c:extLst>
            </c:dLbl>
            <c:dLbl>
              <c:idx val="3"/>
              <c:tx>
                <c:rich>
                  <a:bodyPr/>
                  <a:lstStyle/>
                  <a:p>
                    <a:r>
                      <a:t>GILLETTE INTIMATE BLACK 5 BLADE RAZOR 9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99F-4374-933C-119751F7B1D3}"/>
                </c:ext>
              </c:extLst>
            </c:dLbl>
            <c:dLbl>
              <c:idx val="4"/>
              <c:tx>
                <c:rich>
                  <a:bodyPr/>
                  <a:lstStyle/>
                  <a:p>
                    <a:r>
                      <a:t>GILLETTE LABS 5 BLADE RAZOR NORMAL 6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99F-4374-933C-119751F7B1D3}"/>
                </c:ext>
              </c:extLst>
            </c:dLbl>
            <c:dLbl>
              <c:idx val="5"/>
              <c:tx>
                <c:rich>
                  <a:bodyPr/>
                  <a:lstStyle/>
                  <a:p>
                    <a:fld id="{F9C582A8-B8E6-45C0-8FEE-71046DE48E2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99F-4374-933C-119751F7B1D3}"/>
                </c:ext>
              </c:extLst>
            </c:dLbl>
            <c:dLbl>
              <c:idx val="6"/>
              <c:tx>
                <c:rich>
                  <a:bodyPr/>
                  <a:lstStyle/>
                  <a:p>
                    <a:fld id="{3B85D6D7-945B-458C-BB03-06402E9F2F8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99F-4374-933C-119751F7B1D3}"/>
                </c:ext>
              </c:extLst>
            </c:dLbl>
            <c:dLbl>
              <c:idx val="7"/>
              <c:tx>
                <c:rich>
                  <a:bodyPr/>
                  <a:lstStyle/>
                  <a:p>
                    <a:fld id="{944F7655-6D4E-4FE9-88AD-03ADEDE5A53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99F-4374-933C-119751F7B1D3}"/>
                </c:ext>
              </c:extLst>
            </c:dLbl>
            <c:dLbl>
              <c:idx val="8"/>
              <c:tx>
                <c:rich>
                  <a:bodyPr/>
                  <a:lstStyle/>
                  <a:p>
                    <a:fld id="{2A7F9D96-4817-424A-803F-4ECDDBAC6C0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99F-4374-933C-119751F7B1D3}"/>
                </c:ext>
              </c:extLst>
            </c:dLbl>
            <c:dLbl>
              <c:idx val="9"/>
              <c:tx>
                <c:rich>
                  <a:bodyPr/>
                  <a:lstStyle/>
                  <a:p>
                    <a:fld id="{F40F06BD-A998-45B4-9D89-9FB75F091F8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499F-4374-933C-119751F7B1D3}"/>
                </c:ext>
              </c:extLst>
            </c:dLbl>
            <c:dLbl>
              <c:idx val="10"/>
              <c:tx>
                <c:rich>
                  <a:bodyPr/>
                  <a:lstStyle/>
                  <a:p>
                    <a:fld id="{46C876B5-36FA-4148-AB33-6FB59E297EE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499F-4374-933C-119751F7B1D3}"/>
                </c:ext>
              </c:extLst>
            </c:dLbl>
            <c:dLbl>
              <c:idx val="11"/>
              <c:tx>
                <c:rich>
                  <a:bodyPr/>
                  <a:lstStyle/>
                  <a:p>
                    <a:fld id="{BD57430F-6216-46A4-AB20-9E839996BD7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499F-4374-933C-119751F7B1D3}"/>
                </c:ext>
              </c:extLst>
            </c:dLbl>
            <c:dLbl>
              <c:idx val="12"/>
              <c:tx>
                <c:rich>
                  <a:bodyPr/>
                  <a:lstStyle/>
                  <a:p>
                    <a:fld id="{27D75522-85B8-441C-B36C-65CB5DDDBDD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499F-4374-933C-119751F7B1D3}"/>
                </c:ext>
              </c:extLst>
            </c:dLbl>
            <c:dLbl>
              <c:idx val="13"/>
              <c:tx>
                <c:rich>
                  <a:bodyPr/>
                  <a:lstStyle/>
                  <a:p>
                    <a:fld id="{2C2FF51A-F27A-4C86-BF65-C0649FDB6B4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499F-4374-933C-119751F7B1D3}"/>
                </c:ext>
              </c:extLst>
            </c:dLbl>
            <c:dLbl>
              <c:idx val="14"/>
              <c:tx>
                <c:rich>
                  <a:bodyPr/>
                  <a:lstStyle/>
                  <a:p>
                    <a:fld id="{2277000C-8B99-4B83-BBDC-0F37C8C7AA0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499F-4374-933C-119751F7B1D3}"/>
                </c:ext>
              </c:extLst>
            </c:dLbl>
            <c:dLbl>
              <c:idx val="15"/>
              <c:tx>
                <c:rich>
                  <a:bodyPr/>
                  <a:lstStyle/>
                  <a:p>
                    <a:fld id="{A4BC0DE6-48CC-424D-A634-958E117742E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499F-4374-933C-119751F7B1D3}"/>
                </c:ext>
              </c:extLst>
            </c:dLbl>
            <c:dLbl>
              <c:idx val="16"/>
              <c:tx>
                <c:rich>
                  <a:bodyPr/>
                  <a:lstStyle/>
                  <a:p>
                    <a:fld id="{22802102-5A2F-4D99-BA8D-DE5DD9C8C00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17EC-4EE8-A064-668E05F5E5BB}"/>
                </c:ext>
              </c:extLst>
            </c:dLbl>
            <c:dLbl>
              <c:idx val="17"/>
              <c:tx>
                <c:rich>
                  <a:bodyPr/>
                  <a:lstStyle/>
                  <a:p>
                    <a:fld id="{B9B55DFB-1488-4A93-B9D3-1AB55D54B8F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499F-4374-933C-119751F7B1D3}"/>
                </c:ext>
              </c:extLst>
            </c:dLbl>
            <c:dLbl>
              <c:idx val="18"/>
              <c:tx>
                <c:rich>
                  <a:bodyPr/>
                  <a:lstStyle/>
                  <a:p>
                    <a:fld id="{279AA005-9026-466F-B6E9-FACCE00DBA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05C-4186-8239-DC3766495C90}"/>
                </c:ext>
              </c:extLst>
            </c:dLbl>
            <c:dLbl>
              <c:idx val="19"/>
              <c:tx>
                <c:rich>
                  <a:bodyPr/>
                  <a:lstStyle/>
                  <a:p>
                    <a:fld id="{07897093-762B-4BE0-A7B7-94A5436BFDD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499F-4374-933C-119751F7B1D3}"/>
                </c:ext>
              </c:extLst>
            </c:dLbl>
            <c:dLbl>
              <c:idx val="20"/>
              <c:tx>
                <c:rich>
                  <a:bodyPr/>
                  <a:lstStyle/>
                  <a:p>
                    <a:fld id="{C71D7A17-C388-4ACC-9B48-799597D2EFD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499F-4374-933C-119751F7B1D3}"/>
                </c:ext>
              </c:extLst>
            </c:dLbl>
            <c:dLbl>
              <c:idx val="21"/>
              <c:tx>
                <c:rich>
                  <a:bodyPr/>
                  <a:lstStyle/>
                  <a:p>
                    <a:fld id="{6BFE0CFA-48EC-4B54-A7BF-5F827C8A053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499F-4374-933C-119751F7B1D3}"/>
                </c:ext>
              </c:extLst>
            </c:dLbl>
            <c:dLbl>
              <c:idx val="22"/>
              <c:tx>
                <c:rich>
                  <a:bodyPr/>
                  <a:lstStyle/>
                  <a:p>
                    <a:fld id="{9B4E1877-95EB-44CD-929A-54A9AE25C9C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499F-4374-933C-119751F7B1D3}"/>
                </c:ext>
              </c:extLst>
            </c:dLbl>
            <c:dLbl>
              <c:idx val="23"/>
              <c:tx>
                <c:rich>
                  <a:bodyPr/>
                  <a:lstStyle/>
                  <a:p>
                    <a:fld id="{EDFB0F75-F328-48ED-990B-98A8CEA2971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499F-4374-933C-119751F7B1D3}"/>
                </c:ext>
              </c:extLst>
            </c:dLbl>
            <c:dLbl>
              <c:idx val="24"/>
              <c:tx>
                <c:rich>
                  <a:bodyPr/>
                  <a:lstStyle/>
                  <a:p>
                    <a:fld id="{E17FFD1E-0001-4BB4-A8BE-4E4553371F5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499F-4374-933C-119751F7B1D3}"/>
                </c:ext>
              </c:extLst>
            </c:dLbl>
            <c:dLbl>
              <c:idx val="25"/>
              <c:tx>
                <c:rich>
                  <a:bodyPr/>
                  <a:lstStyle/>
                  <a:p>
                    <a:fld id="{9E878D28-649F-408D-92AD-8789BA80CF2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499F-4374-933C-119751F7B1D3}"/>
                </c:ext>
              </c:extLst>
            </c:dLbl>
            <c:dLbl>
              <c:idx val="26"/>
              <c:tx>
                <c:rich>
                  <a:bodyPr/>
                  <a:lstStyle/>
                  <a:p>
                    <a:fld id="{C1DC9EE9-6698-4E81-9CBC-5111B971E15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499F-4374-933C-119751F7B1D3}"/>
                </c:ext>
              </c:extLst>
            </c:dLbl>
            <c:dLbl>
              <c:idx val="27"/>
              <c:tx>
                <c:rich>
                  <a:bodyPr/>
                  <a:lstStyle/>
                  <a:p>
                    <a:fld id="{CCB2A7DA-9B76-48A4-A216-541840A3635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499F-4374-933C-119751F7B1D3}"/>
                </c:ext>
              </c:extLst>
            </c:dLbl>
            <c:dLbl>
              <c:idx val="28"/>
              <c:tx>
                <c:rich>
                  <a:bodyPr/>
                  <a:lstStyle/>
                  <a:p>
                    <a:fld id="{29F57329-46B5-4B91-B8AC-5552BD4DC4B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499F-4374-933C-119751F7B1D3}"/>
                </c:ext>
              </c:extLst>
            </c:dLbl>
            <c:dLbl>
              <c:idx val="29"/>
              <c:tx>
                <c:rich>
                  <a:bodyPr/>
                  <a:lstStyle/>
                  <a:p>
                    <a:fld id="{95F095D9-9704-4512-8F67-FD8C94CA070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499F-4374-933C-119751F7B1D3}"/>
                </c:ext>
              </c:extLst>
            </c:dLbl>
            <c:dLbl>
              <c:idx val="30"/>
              <c:tx>
                <c:rich>
                  <a:bodyPr/>
                  <a:lstStyle/>
                  <a:p>
                    <a:fld id="{24AFCF90-5B0A-43EC-94D0-0998DCDAABE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499F-4374-933C-119751F7B1D3}"/>
                </c:ext>
              </c:extLst>
            </c:dLbl>
            <c:dLbl>
              <c:idx val="31"/>
              <c:tx>
                <c:rich>
                  <a:bodyPr/>
                  <a:lstStyle/>
                  <a:p>
                    <a:fld id="{E737D971-07CA-492E-81F3-C9F44AE0450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99F-4374-933C-119751F7B1D3}"/>
                </c:ext>
              </c:extLst>
            </c:dLbl>
            <c:dLbl>
              <c:idx val="32"/>
              <c:tx>
                <c:rich>
                  <a:bodyPr/>
                  <a:lstStyle/>
                  <a:p>
                    <a:fld id="{9111EC7D-4462-4741-9613-CEB8A01B20C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499F-4374-933C-119751F7B1D3}"/>
                </c:ext>
              </c:extLst>
            </c:dLbl>
            <c:dLbl>
              <c:idx val="33"/>
              <c:tx>
                <c:rich>
                  <a:bodyPr/>
                  <a:lstStyle/>
                  <a:p>
                    <a:fld id="{A6402FFE-CC61-4E26-ADC3-23BBB7F0232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499F-4374-933C-119751F7B1D3}"/>
                </c:ext>
              </c:extLst>
            </c:dLbl>
            <c:dLbl>
              <c:idx val="34"/>
              <c:tx>
                <c:rich>
                  <a:bodyPr/>
                  <a:lstStyle/>
                  <a:p>
                    <a:fld id="{A19F3CF9-B49A-4E72-A70D-C46587D3271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499F-4374-933C-119751F7B1D3}"/>
                </c:ext>
              </c:extLst>
            </c:dLbl>
            <c:dLbl>
              <c:idx val="35"/>
              <c:tx>
                <c:rich>
                  <a:bodyPr/>
                  <a:lstStyle/>
                  <a:p>
                    <a:fld id="{A5F3C27B-3A27-4BB2-AEC9-3F3F1F55D8C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499F-4374-933C-119751F7B1D3}"/>
                </c:ext>
              </c:extLst>
            </c:dLbl>
            <c:dLbl>
              <c:idx val="36"/>
              <c:tx>
                <c:rich>
                  <a:bodyPr/>
                  <a:lstStyle/>
                  <a:p>
                    <a:fld id="{C907DC06-86A8-4EFD-A3AA-CE2F03DFA9B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499F-4374-933C-119751F7B1D3}"/>
                </c:ext>
              </c:extLst>
            </c:dLbl>
            <c:dLbl>
              <c:idx val="37"/>
              <c:tx>
                <c:rich>
                  <a:bodyPr/>
                  <a:lstStyle/>
                  <a:p>
                    <a:fld id="{F68BF2DB-EFC3-4D7C-BCBD-3C4903F14DE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499F-4374-933C-119751F7B1D3}"/>
                </c:ext>
              </c:extLst>
            </c:dLbl>
            <c:dLbl>
              <c:idx val="38"/>
              <c:tx>
                <c:rich>
                  <a:bodyPr/>
                  <a:lstStyle/>
                  <a:p>
                    <a:fld id="{20065769-9F6E-4D7B-9004-92735D5BF60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499F-4374-933C-119751F7B1D3}"/>
                </c:ext>
              </c:extLst>
            </c:dLbl>
            <c:dLbl>
              <c:idx val="39"/>
              <c:tx>
                <c:rich>
                  <a:bodyPr/>
                  <a:lstStyle/>
                  <a:p>
                    <a:fld id="{DBF6F470-360E-4493-BC59-CBD4CF00064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499F-4374-933C-119751F7B1D3}"/>
                </c:ext>
              </c:extLst>
            </c:dLbl>
            <c:dLbl>
              <c:idx val="40"/>
              <c:tx>
                <c:rich>
                  <a:bodyPr/>
                  <a:lstStyle/>
                  <a:p>
                    <a:fld id="{BBAF9D00-F9AE-47FD-A53E-873CCD6EF36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499F-4374-933C-119751F7B1D3}"/>
                </c:ext>
              </c:extLst>
            </c:dLbl>
            <c:dLbl>
              <c:idx val="41"/>
              <c:tx>
                <c:rich>
                  <a:bodyPr/>
                  <a:lstStyle/>
                  <a:p>
                    <a:fld id="{9D78A8CB-4AB4-497C-BBEC-DD57104E590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499F-4374-933C-119751F7B1D3}"/>
                </c:ext>
              </c:extLst>
            </c:dLbl>
            <c:dLbl>
              <c:idx val="42"/>
              <c:tx>
                <c:rich>
                  <a:bodyPr/>
                  <a:lstStyle/>
                  <a:p>
                    <a:fld id="{4A5E8C4A-732A-4F45-980E-ADDAB1130E7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499F-4374-933C-119751F7B1D3}"/>
                </c:ext>
              </c:extLst>
            </c:dLbl>
            <c:dLbl>
              <c:idx val="43"/>
              <c:tx>
                <c:rich>
                  <a:bodyPr/>
                  <a:lstStyle/>
                  <a:p>
                    <a:fld id="{2CB58F94-F178-4EB7-BD1F-3D16AE78EF8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499F-4374-933C-119751F7B1D3}"/>
                </c:ext>
              </c:extLst>
            </c:dLbl>
            <c:dLbl>
              <c:idx val="44"/>
              <c:tx>
                <c:rich>
                  <a:bodyPr/>
                  <a:lstStyle/>
                  <a:p>
                    <a:fld id="{0A7ED5E6-2E31-4CF5-94DE-62C0C3B7FFF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499F-4374-933C-119751F7B1D3}"/>
                </c:ext>
              </c:extLst>
            </c:dLbl>
            <c:dLbl>
              <c:idx val="45"/>
              <c:tx>
                <c:rich>
                  <a:bodyPr/>
                  <a:lstStyle/>
                  <a:p>
                    <a:fld id="{3B5D8A97-DA53-42CC-9027-47AFC26490B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499F-4374-933C-119751F7B1D3}"/>
                </c:ext>
              </c:extLst>
            </c:dLbl>
            <c:dLbl>
              <c:idx val="46"/>
              <c:tx>
                <c:rich>
                  <a:bodyPr/>
                  <a:lstStyle/>
                  <a:p>
                    <a:fld id="{1E589616-7BAC-4D8F-96B8-2991C0003FB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499F-4374-933C-119751F7B1D3}"/>
                </c:ext>
              </c:extLst>
            </c:dLbl>
            <c:dLbl>
              <c:idx val="47"/>
              <c:tx>
                <c:rich>
                  <a:bodyPr/>
                  <a:lstStyle/>
                  <a:p>
                    <a:fld id="{3DD9B397-B123-4D86-A7B4-8C49EED317C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6</c:f>
              <c:numCache>
                <c:formatCode>General</c:formatCode>
                <c:ptCount val="5"/>
                <c:pt idx="0">
                  <c:v>0.09</c:v>
                </c:pt>
                <c:pt idx="1">
                  <c:v>0.16</c:v>
                </c:pt>
                <c:pt idx="2">
                  <c:v>0.15</c:v>
                </c:pt>
                <c:pt idx="3">
                  <c:v>0.63</c:v>
                </c:pt>
                <c:pt idx="4">
                  <c:v>0.18</c:v>
                </c:pt>
              </c:numCache>
            </c:numRef>
          </c:xVal>
          <c:yVal>
            <c:numRef>
              <c:f>Sheet1!$B$2:$B$6</c:f>
              <c:numCache>
                <c:formatCode>General</c:formatCode>
                <c:ptCount val="5"/>
                <c:pt idx="0">
                  <c:v>0.23922403546093141</c:v>
                </c:pt>
                <c:pt idx="1">
                  <c:v>0.57079318111289845</c:v>
                </c:pt>
                <c:pt idx="2">
                  <c:v>0.81178606152356747</c:v>
                </c:pt>
                <c:pt idx="3">
                  <c:v>0.83815836216272344</c:v>
                </c:pt>
                <c:pt idx="4">
                  <c:v>1.579525116803479</c:v>
                </c:pt>
              </c:numCache>
            </c:numRef>
          </c:yVal>
          <c:smooth val="0"/>
          <c:extLst>
            <c:ext xmlns:c15="http://schemas.microsoft.com/office/drawing/2012/chart" uri="{02D57815-91ED-43cb-92C2-25804820EDAC}">
              <c15:datalabelsRange>
                <c15:f>Sheet1!$E$2:$E$51</c15:f>
                <c15:dlblRangeCache>
                  <c:ptCount val="50"/>
                  <c:pt idx="0">
                    <c:v>GILLETTE FUSION 5 PROGLIDE 5 BLADE RAZOR NORMAL 13CT</c:v>
                  </c:pt>
                  <c:pt idx="1">
                    <c:v>GILLETTE FUSION 5 5 BLADE RAZOR NORMAL 9CT</c:v>
                  </c:pt>
                  <c:pt idx="2">
                    <c:v>HARRY'S ORANGE 5 BLADE RAZOR NORMAL 11CT</c:v>
                  </c:pt>
                  <c:pt idx="3">
                    <c:v>GILLETTE INTIMATE BLACK 5 BLADE RAZOR 9CT</c:v>
                  </c:pt>
                  <c:pt idx="4">
                    <c:v>GILLETTE LABS 5 BLADE RAZOR NORMAL 6CT</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max val="0.75600000000000001"/>
          <c:min val="7.1999999999999995E-2"/>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1.8954301401641751"/>
          <c:min val="0.1913792283687451"/>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2-B1F3-4B1C-B6BD-D7555A955EE3}"/>
              </c:ext>
            </c:extLst>
          </c:dPt>
          <c:dPt>
            <c:idx val="1"/>
            <c:invertIfNegative val="0"/>
            <c:bubble3D val="0"/>
            <c:extLst>
              <c:ext xmlns:c16="http://schemas.microsoft.com/office/drawing/2014/chart" uri="{C3380CC4-5D6E-409C-BE32-E72D297353CC}">
                <c16:uniqueId val="{00000000-1D88-4E66-AA3A-770CA96ED1E8}"/>
              </c:ext>
            </c:extLst>
          </c:dPt>
          <c:dPt>
            <c:idx val="2"/>
            <c:invertIfNegative val="0"/>
            <c:bubble3D val="0"/>
            <c:extLst>
              <c:ext xmlns:c16="http://schemas.microsoft.com/office/drawing/2014/chart" uri="{C3380CC4-5D6E-409C-BE32-E72D297353CC}">
                <c16:uniqueId val="{00000003-B1F3-4B1C-B6BD-D7555A955EE3}"/>
              </c:ext>
            </c:extLst>
          </c:dPt>
          <c:dPt>
            <c:idx val="3"/>
            <c:invertIfNegative val="0"/>
            <c:bubble3D val="0"/>
            <c:spPr>
              <a:solidFill>
                <a:srgbClr val="FFBFBF"/>
              </a:solidFill>
            </c:spPr>
            <c:extLst>
              <c:ext xmlns:c16="http://schemas.microsoft.com/office/drawing/2014/chart" uri="{C3380CC4-5D6E-409C-BE32-E72D297353CC}">
                <c16:uniqueId val="{00000001-1D88-4E66-AA3A-770CA96ED1E8}"/>
              </c:ext>
            </c:extLst>
          </c:dPt>
          <c:dPt>
            <c:idx val="4"/>
            <c:invertIfNegative val="0"/>
            <c:bubble3D val="0"/>
            <c:spPr>
              <a:solidFill>
                <a:srgbClr val="FFBFBF"/>
              </a:solidFill>
            </c:spPr>
            <c:extLst>
              <c:ext xmlns:c16="http://schemas.microsoft.com/office/drawing/2014/chart" uri="{C3380CC4-5D6E-409C-BE32-E72D297353CC}">
                <c16:uniqueId val="{00000004-B1F3-4B1C-B6BD-D7555A955EE3}"/>
              </c:ext>
            </c:extLst>
          </c:dPt>
          <c:dPt>
            <c:idx val="5"/>
            <c:invertIfNegative val="0"/>
            <c:bubble3D val="0"/>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dLbl>
              <c:idx val="5"/>
              <c:tx>
                <c:rich>
                  <a:bodyPr/>
                  <a:lstStyle/>
                  <a:p>
                    <a:endParaRP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6D8A-4B36-B874-4E9C8B692C25}"/>
                </c:ext>
              </c:extLst>
            </c:dLbl>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c:v>
                </c:pt>
                <c:pt idx="1">
                  <c:v>Schick</c:v>
                </c:pt>
                <c:pt idx="2">
                  <c:v>Bic</c:v>
                </c:pt>
                <c:pt idx="3">
                  <c:v>Dollar Shave Club</c:v>
                </c:pt>
                <c:pt idx="4">
                  <c:v>Equate</c:v>
                </c:pt>
                <c:pt idx="5">
                  <c:v>Comfort 3</c:v>
                </c:pt>
              </c:strCache>
            </c:strRef>
          </c:cat>
          <c:val>
            <c:numRef>
              <c:f>Sheet1!$B$2:$B$7</c:f>
              <c:numCache>
                <c:formatCode>General</c:formatCode>
                <c:ptCount val="6"/>
                <c:pt idx="0">
                  <c:v>-0.41376343811654592</c:v>
                </c:pt>
                <c:pt idx="1">
                  <c:v>20.480047443050726</c:v>
                </c:pt>
                <c:pt idx="2">
                  <c:v>2.0059564876972766</c:v>
                </c:pt>
                <c:pt idx="3">
                  <c:v>-0.56487203090736471</c:v>
                </c:pt>
                <c:pt idx="4">
                  <c:v>-0.9658625105445503</c:v>
                </c:pt>
                <c:pt idx="5">
                  <c:v>0</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r>
                      <a:t>GILLETTE FUSION 5 5 BLADE REFILL NORMAL 16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99F-4374-933C-119751F7B1D3}"/>
                </c:ext>
              </c:extLst>
            </c:dLbl>
            <c:dLbl>
              <c:idx val="1"/>
              <c:tx>
                <c:rich>
                  <a:bodyPr/>
                  <a:lstStyle/>
                  <a:p>
                    <a:r>
                      <a:t>GILLETTE MACH 3 3 BLADE REFILL NORMAL 20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99F-4374-933C-119751F7B1D3}"/>
                </c:ext>
              </c:extLst>
            </c:dLbl>
            <c:dLbl>
              <c:idx val="2"/>
              <c:tx>
                <c:rich>
                  <a:bodyPr/>
                  <a:lstStyle/>
                  <a:p>
                    <a:r>
                      <a:t>GILLETTE SKINGUARD POWER 2 BLADE REFILL SENSITIVE 1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99F-4374-933C-119751F7B1D3}"/>
                </c:ext>
              </c:extLst>
            </c:dLbl>
            <c:dLbl>
              <c:idx val="3"/>
              <c:tx>
                <c:rich>
                  <a:bodyPr/>
                  <a:lstStyle/>
                  <a:p>
                    <a:r>
                      <a:t>GILLETTE FUSION 5 PROGLIDE 5 BLADE REFILL NORMAL 15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99F-4374-933C-119751F7B1D3}"/>
                </c:ext>
              </c:extLst>
            </c:dLbl>
            <c:dLbl>
              <c:idx val="4"/>
              <c:tx>
                <c:rich>
                  <a:bodyPr/>
                  <a:lstStyle/>
                  <a:p>
                    <a:r>
                      <a:t>GILLETTE FUSION 5 PROGLIDE 5 BLADE REFILL NORMAL 1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99F-4374-933C-119751F7B1D3}"/>
                </c:ext>
              </c:extLst>
            </c:dLbl>
            <c:dLbl>
              <c:idx val="5"/>
              <c:tx>
                <c:rich>
                  <a:bodyPr/>
                  <a:lstStyle/>
                  <a:p>
                    <a:fld id="{77F82244-0BDD-432E-BD0E-F9B01CACB6B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99F-4374-933C-119751F7B1D3}"/>
                </c:ext>
              </c:extLst>
            </c:dLbl>
            <c:dLbl>
              <c:idx val="6"/>
              <c:tx>
                <c:rich>
                  <a:bodyPr/>
                  <a:lstStyle/>
                  <a:p>
                    <a:fld id="{954CB86C-DEE9-403B-9990-3C8D3FFEFD4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99F-4374-933C-119751F7B1D3}"/>
                </c:ext>
              </c:extLst>
            </c:dLbl>
            <c:dLbl>
              <c:idx val="7"/>
              <c:tx>
                <c:rich>
                  <a:bodyPr/>
                  <a:lstStyle/>
                  <a:p>
                    <a:fld id="{F248605F-0CCA-4D3C-AAB0-006417A556F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99F-4374-933C-119751F7B1D3}"/>
                </c:ext>
              </c:extLst>
            </c:dLbl>
            <c:dLbl>
              <c:idx val="8"/>
              <c:tx>
                <c:rich>
                  <a:bodyPr/>
                  <a:lstStyle/>
                  <a:p>
                    <a:fld id="{EDCDC541-F1F1-4367-B2F5-CA649014FD2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99F-4374-933C-119751F7B1D3}"/>
                </c:ext>
              </c:extLst>
            </c:dLbl>
            <c:dLbl>
              <c:idx val="9"/>
              <c:tx>
                <c:rich>
                  <a:bodyPr/>
                  <a:lstStyle/>
                  <a:p>
                    <a:fld id="{4DFDA6E4-BC70-4366-A394-7CBB153BC41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499F-4374-933C-119751F7B1D3}"/>
                </c:ext>
              </c:extLst>
            </c:dLbl>
            <c:dLbl>
              <c:idx val="10"/>
              <c:tx>
                <c:rich>
                  <a:bodyPr/>
                  <a:lstStyle/>
                  <a:p>
                    <a:fld id="{D00D0ACA-704C-487C-9A96-65CF973B568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499F-4374-933C-119751F7B1D3}"/>
                </c:ext>
              </c:extLst>
            </c:dLbl>
            <c:dLbl>
              <c:idx val="11"/>
              <c:tx>
                <c:rich>
                  <a:bodyPr/>
                  <a:lstStyle/>
                  <a:p>
                    <a:fld id="{29D7C107-45D3-4C6A-9608-4847B926323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499F-4374-933C-119751F7B1D3}"/>
                </c:ext>
              </c:extLst>
            </c:dLbl>
            <c:dLbl>
              <c:idx val="12"/>
              <c:tx>
                <c:rich>
                  <a:bodyPr/>
                  <a:lstStyle/>
                  <a:p>
                    <a:fld id="{AE06F26E-7F41-4C0C-B0F2-C4068FD918A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499F-4374-933C-119751F7B1D3}"/>
                </c:ext>
              </c:extLst>
            </c:dLbl>
            <c:dLbl>
              <c:idx val="13"/>
              <c:tx>
                <c:rich>
                  <a:bodyPr/>
                  <a:lstStyle/>
                  <a:p>
                    <a:fld id="{AA12D4B8-C9A5-4850-8193-AE99AA77AFC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499F-4374-933C-119751F7B1D3}"/>
                </c:ext>
              </c:extLst>
            </c:dLbl>
            <c:dLbl>
              <c:idx val="14"/>
              <c:tx>
                <c:rich>
                  <a:bodyPr/>
                  <a:lstStyle/>
                  <a:p>
                    <a:fld id="{4444DE22-173F-4D81-9920-5D52EA992F1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499F-4374-933C-119751F7B1D3}"/>
                </c:ext>
              </c:extLst>
            </c:dLbl>
            <c:dLbl>
              <c:idx val="15"/>
              <c:tx>
                <c:rich>
                  <a:bodyPr/>
                  <a:lstStyle/>
                  <a:p>
                    <a:fld id="{315C923F-78EE-4800-83C4-4A738D66CD8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499F-4374-933C-119751F7B1D3}"/>
                </c:ext>
              </c:extLst>
            </c:dLbl>
            <c:dLbl>
              <c:idx val="16"/>
              <c:tx>
                <c:rich>
                  <a:bodyPr/>
                  <a:lstStyle/>
                  <a:p>
                    <a:fld id="{38D8D511-CA49-42EA-8B8E-1A2FE795D05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17EC-4EE8-A064-668E05F5E5BB}"/>
                </c:ext>
              </c:extLst>
            </c:dLbl>
            <c:dLbl>
              <c:idx val="17"/>
              <c:tx>
                <c:rich>
                  <a:bodyPr/>
                  <a:lstStyle/>
                  <a:p>
                    <a:fld id="{394079D9-504D-43A3-B1F6-109547B742C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499F-4374-933C-119751F7B1D3}"/>
                </c:ext>
              </c:extLst>
            </c:dLbl>
            <c:dLbl>
              <c:idx val="18"/>
              <c:tx>
                <c:rich>
                  <a:bodyPr/>
                  <a:lstStyle/>
                  <a:p>
                    <a:fld id="{682D3F2E-D7A0-4904-A321-81CEA72B1E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05C-4186-8239-DC3766495C90}"/>
                </c:ext>
              </c:extLst>
            </c:dLbl>
            <c:dLbl>
              <c:idx val="19"/>
              <c:tx>
                <c:rich>
                  <a:bodyPr/>
                  <a:lstStyle/>
                  <a:p>
                    <a:fld id="{6154BD80-0751-4B20-86E7-A21829225FD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499F-4374-933C-119751F7B1D3}"/>
                </c:ext>
              </c:extLst>
            </c:dLbl>
            <c:dLbl>
              <c:idx val="20"/>
              <c:tx>
                <c:rich>
                  <a:bodyPr/>
                  <a:lstStyle/>
                  <a:p>
                    <a:fld id="{2D80DF41-9B05-446E-801F-B6D28B6AAF8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499F-4374-933C-119751F7B1D3}"/>
                </c:ext>
              </c:extLst>
            </c:dLbl>
            <c:dLbl>
              <c:idx val="21"/>
              <c:tx>
                <c:rich>
                  <a:bodyPr/>
                  <a:lstStyle/>
                  <a:p>
                    <a:fld id="{FC7F2C6E-1E65-4400-AD8B-20AFD4C7791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499F-4374-933C-119751F7B1D3}"/>
                </c:ext>
              </c:extLst>
            </c:dLbl>
            <c:dLbl>
              <c:idx val="22"/>
              <c:tx>
                <c:rich>
                  <a:bodyPr/>
                  <a:lstStyle/>
                  <a:p>
                    <a:fld id="{E257BB5D-26BC-48CC-A167-8820331752A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499F-4374-933C-119751F7B1D3}"/>
                </c:ext>
              </c:extLst>
            </c:dLbl>
            <c:dLbl>
              <c:idx val="23"/>
              <c:tx>
                <c:rich>
                  <a:bodyPr/>
                  <a:lstStyle/>
                  <a:p>
                    <a:fld id="{EE9E220B-2455-4924-B597-9D93E30FE64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499F-4374-933C-119751F7B1D3}"/>
                </c:ext>
              </c:extLst>
            </c:dLbl>
            <c:dLbl>
              <c:idx val="24"/>
              <c:tx>
                <c:rich>
                  <a:bodyPr/>
                  <a:lstStyle/>
                  <a:p>
                    <a:fld id="{15B36552-6382-42DA-9A8A-C4270BE692A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499F-4374-933C-119751F7B1D3}"/>
                </c:ext>
              </c:extLst>
            </c:dLbl>
            <c:dLbl>
              <c:idx val="25"/>
              <c:tx>
                <c:rich>
                  <a:bodyPr/>
                  <a:lstStyle/>
                  <a:p>
                    <a:fld id="{DA74E979-FBF1-4F68-9156-446BA4F59EB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499F-4374-933C-119751F7B1D3}"/>
                </c:ext>
              </c:extLst>
            </c:dLbl>
            <c:dLbl>
              <c:idx val="26"/>
              <c:tx>
                <c:rich>
                  <a:bodyPr/>
                  <a:lstStyle/>
                  <a:p>
                    <a:fld id="{FECAD380-2EA9-4C81-ABA5-5C721E5B9CF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499F-4374-933C-119751F7B1D3}"/>
                </c:ext>
              </c:extLst>
            </c:dLbl>
            <c:dLbl>
              <c:idx val="27"/>
              <c:tx>
                <c:rich>
                  <a:bodyPr/>
                  <a:lstStyle/>
                  <a:p>
                    <a:fld id="{D682BCFC-F86D-477D-B40B-B236A2A4293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499F-4374-933C-119751F7B1D3}"/>
                </c:ext>
              </c:extLst>
            </c:dLbl>
            <c:dLbl>
              <c:idx val="28"/>
              <c:tx>
                <c:rich>
                  <a:bodyPr/>
                  <a:lstStyle/>
                  <a:p>
                    <a:fld id="{B5DD9921-1A4D-4A93-A55A-460E813E7DE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499F-4374-933C-119751F7B1D3}"/>
                </c:ext>
              </c:extLst>
            </c:dLbl>
            <c:dLbl>
              <c:idx val="29"/>
              <c:tx>
                <c:rich>
                  <a:bodyPr/>
                  <a:lstStyle/>
                  <a:p>
                    <a:fld id="{F9AD194A-8951-42B5-8C74-F5303AB5D80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499F-4374-933C-119751F7B1D3}"/>
                </c:ext>
              </c:extLst>
            </c:dLbl>
            <c:dLbl>
              <c:idx val="30"/>
              <c:tx>
                <c:rich>
                  <a:bodyPr/>
                  <a:lstStyle/>
                  <a:p>
                    <a:fld id="{1CD87D18-6F36-4156-A7B6-E69DCB57C23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499F-4374-933C-119751F7B1D3}"/>
                </c:ext>
              </c:extLst>
            </c:dLbl>
            <c:dLbl>
              <c:idx val="31"/>
              <c:tx>
                <c:rich>
                  <a:bodyPr/>
                  <a:lstStyle/>
                  <a:p>
                    <a:fld id="{D0610452-1B82-4256-A0A0-5DBA5D59AF6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99F-4374-933C-119751F7B1D3}"/>
                </c:ext>
              </c:extLst>
            </c:dLbl>
            <c:dLbl>
              <c:idx val="32"/>
              <c:tx>
                <c:rich>
                  <a:bodyPr/>
                  <a:lstStyle/>
                  <a:p>
                    <a:fld id="{D5020E8C-7568-491A-88B2-CEC2345B6DC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499F-4374-933C-119751F7B1D3}"/>
                </c:ext>
              </c:extLst>
            </c:dLbl>
            <c:dLbl>
              <c:idx val="33"/>
              <c:tx>
                <c:rich>
                  <a:bodyPr/>
                  <a:lstStyle/>
                  <a:p>
                    <a:fld id="{E3B5A9C3-4D47-4E96-9F3C-EB3E2B04023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499F-4374-933C-119751F7B1D3}"/>
                </c:ext>
              </c:extLst>
            </c:dLbl>
            <c:dLbl>
              <c:idx val="34"/>
              <c:tx>
                <c:rich>
                  <a:bodyPr/>
                  <a:lstStyle/>
                  <a:p>
                    <a:fld id="{EC3D8392-4F9C-418E-8F71-6E377FDBFEA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499F-4374-933C-119751F7B1D3}"/>
                </c:ext>
              </c:extLst>
            </c:dLbl>
            <c:dLbl>
              <c:idx val="35"/>
              <c:tx>
                <c:rich>
                  <a:bodyPr/>
                  <a:lstStyle/>
                  <a:p>
                    <a:fld id="{DA6C7562-5AA6-4728-AE6E-3F8BF037F91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499F-4374-933C-119751F7B1D3}"/>
                </c:ext>
              </c:extLst>
            </c:dLbl>
            <c:dLbl>
              <c:idx val="36"/>
              <c:tx>
                <c:rich>
                  <a:bodyPr/>
                  <a:lstStyle/>
                  <a:p>
                    <a:fld id="{2DDBE7FD-74AF-4A43-A43C-164D5FF47AF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499F-4374-933C-119751F7B1D3}"/>
                </c:ext>
              </c:extLst>
            </c:dLbl>
            <c:dLbl>
              <c:idx val="37"/>
              <c:tx>
                <c:rich>
                  <a:bodyPr/>
                  <a:lstStyle/>
                  <a:p>
                    <a:fld id="{F613EEF0-DF55-4E98-9F80-EF9919D873C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499F-4374-933C-119751F7B1D3}"/>
                </c:ext>
              </c:extLst>
            </c:dLbl>
            <c:dLbl>
              <c:idx val="38"/>
              <c:tx>
                <c:rich>
                  <a:bodyPr/>
                  <a:lstStyle/>
                  <a:p>
                    <a:fld id="{740663FE-6B5A-40B5-BE85-BEB800B008F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499F-4374-933C-119751F7B1D3}"/>
                </c:ext>
              </c:extLst>
            </c:dLbl>
            <c:dLbl>
              <c:idx val="39"/>
              <c:tx>
                <c:rich>
                  <a:bodyPr/>
                  <a:lstStyle/>
                  <a:p>
                    <a:fld id="{E1E869AD-1F11-4AA5-8749-40629620377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499F-4374-933C-119751F7B1D3}"/>
                </c:ext>
              </c:extLst>
            </c:dLbl>
            <c:dLbl>
              <c:idx val="40"/>
              <c:tx>
                <c:rich>
                  <a:bodyPr/>
                  <a:lstStyle/>
                  <a:p>
                    <a:fld id="{EF1E796E-3090-492F-9236-AC2219128A6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499F-4374-933C-119751F7B1D3}"/>
                </c:ext>
              </c:extLst>
            </c:dLbl>
            <c:dLbl>
              <c:idx val="41"/>
              <c:tx>
                <c:rich>
                  <a:bodyPr/>
                  <a:lstStyle/>
                  <a:p>
                    <a:fld id="{EC7F3A77-D506-4147-A23C-555917CD31A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499F-4374-933C-119751F7B1D3}"/>
                </c:ext>
              </c:extLst>
            </c:dLbl>
            <c:dLbl>
              <c:idx val="42"/>
              <c:tx>
                <c:rich>
                  <a:bodyPr/>
                  <a:lstStyle/>
                  <a:p>
                    <a:fld id="{7AD6215D-A06F-43EB-A9F9-817F70F09BE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499F-4374-933C-119751F7B1D3}"/>
                </c:ext>
              </c:extLst>
            </c:dLbl>
            <c:dLbl>
              <c:idx val="43"/>
              <c:tx>
                <c:rich>
                  <a:bodyPr/>
                  <a:lstStyle/>
                  <a:p>
                    <a:fld id="{F67DE317-365A-4DCA-AD81-CDDB276C16A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499F-4374-933C-119751F7B1D3}"/>
                </c:ext>
              </c:extLst>
            </c:dLbl>
            <c:dLbl>
              <c:idx val="44"/>
              <c:tx>
                <c:rich>
                  <a:bodyPr/>
                  <a:lstStyle/>
                  <a:p>
                    <a:fld id="{2BDEE401-4BF9-434C-85D9-7F0480BDB35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499F-4374-933C-119751F7B1D3}"/>
                </c:ext>
              </c:extLst>
            </c:dLbl>
            <c:dLbl>
              <c:idx val="45"/>
              <c:tx>
                <c:rich>
                  <a:bodyPr/>
                  <a:lstStyle/>
                  <a:p>
                    <a:fld id="{E0EE9B47-01E0-4CF0-8A41-6CAA412FD42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499F-4374-933C-119751F7B1D3}"/>
                </c:ext>
              </c:extLst>
            </c:dLbl>
            <c:dLbl>
              <c:idx val="46"/>
              <c:tx>
                <c:rich>
                  <a:bodyPr/>
                  <a:lstStyle/>
                  <a:p>
                    <a:fld id="{2792044C-EDA1-454F-8D70-C0C99577AF8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499F-4374-933C-119751F7B1D3}"/>
                </c:ext>
              </c:extLst>
            </c:dLbl>
            <c:dLbl>
              <c:idx val="47"/>
              <c:tx>
                <c:rich>
                  <a:bodyPr/>
                  <a:lstStyle/>
                  <a:p>
                    <a:fld id="{25C1609C-DA1B-4A72-BF21-7F1EC7A892C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6</c:f>
              <c:numCache>
                <c:formatCode>General</c:formatCode>
                <c:ptCount val="5"/>
                <c:pt idx="0">
                  <c:v>0.1</c:v>
                </c:pt>
                <c:pt idx="1">
                  <c:v>0.1</c:v>
                </c:pt>
                <c:pt idx="2">
                  <c:v>0.15</c:v>
                </c:pt>
                <c:pt idx="3">
                  <c:v>0.32</c:v>
                </c:pt>
                <c:pt idx="4">
                  <c:v>0.09</c:v>
                </c:pt>
              </c:numCache>
            </c:numRef>
          </c:xVal>
          <c:yVal>
            <c:numRef>
              <c:f>Sheet1!$B$2:$B$6</c:f>
              <c:numCache>
                <c:formatCode>General</c:formatCode>
                <c:ptCount val="5"/>
                <c:pt idx="0">
                  <c:v>0.4197143642953225</c:v>
                </c:pt>
                <c:pt idx="1">
                  <c:v>0.32320337539724059</c:v>
                </c:pt>
                <c:pt idx="2">
                  <c:v>0.49381739022692223</c:v>
                </c:pt>
                <c:pt idx="3">
                  <c:v>0.88365894747429019</c:v>
                </c:pt>
                <c:pt idx="4">
                  <c:v>7.4240719910011244E-2</c:v>
                </c:pt>
              </c:numCache>
            </c:numRef>
          </c:yVal>
          <c:smooth val="0"/>
          <c:extLst>
            <c:ext xmlns:c15="http://schemas.microsoft.com/office/drawing/2012/chart" uri="{02D57815-91ED-43cb-92C2-25804820EDAC}">
              <c15:datalabelsRange>
                <c15:f>Sheet1!$E$2:$E$51</c15:f>
                <c15:dlblRangeCache>
                  <c:ptCount val="50"/>
                  <c:pt idx="0">
                    <c:v>GILLETTE FUSION 5 5 BLADE REFILL NORMAL 16CT</c:v>
                  </c:pt>
                  <c:pt idx="1">
                    <c:v>GILLETTE MACH 3 3 BLADE REFILL NORMAL 20CT</c:v>
                  </c:pt>
                  <c:pt idx="2">
                    <c:v>GILLETTE SKINGUARD POWER 2 BLADE REFILL SENSITIVE 13CT</c:v>
                  </c:pt>
                  <c:pt idx="3">
                    <c:v>GILLETTE FUSION 5 PROGLIDE 5 BLADE REFILL NORMAL 15CT</c:v>
                  </c:pt>
                  <c:pt idx="4">
                    <c:v>GILLETTE FUSION 5 PROGLIDE 5 BLADE REFILL NORMAL 13CT</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max val="0.38400000000000001"/>
          <c:min val="7.1999999999999995E-2"/>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1.0603907369691481"/>
          <c:min val="5.9392575928008999E-2"/>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r>
                      <a:t>GILLETTE FUSION 5 BLACK HOLIDAY GIFT PACK 5 BLADE RAZOR NORMAL 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99F-4374-933C-119751F7B1D3}"/>
                </c:ext>
              </c:extLst>
            </c:dLbl>
            <c:dLbl>
              <c:idx val="1"/>
              <c:tx>
                <c:rich>
                  <a:bodyPr/>
                  <a:lstStyle/>
                  <a:p>
                    <a:r>
                      <a:t>HYDRO 5 SENSITIVE GRAY HOLIDAY GIFT PACK 5 BLADE RAZOR SENSITIVE 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99F-4374-933C-119751F7B1D3}"/>
                </c:ext>
              </c:extLst>
            </c:dLbl>
            <c:dLbl>
              <c:idx val="2"/>
              <c:tx>
                <c:rich>
                  <a:bodyPr/>
                  <a:lstStyle/>
                  <a:p>
                    <a:r>
                      <a:t>GILLETTE LABS ARCTIC CAMO HOLIDAY GIFT PACK 5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99F-4374-933C-119751F7B1D3}"/>
                </c:ext>
              </c:extLst>
            </c:dLbl>
            <c:dLbl>
              <c:idx val="3"/>
              <c:tx>
                <c:rich>
                  <a:bodyPr/>
                  <a:lstStyle/>
                  <a:p>
                    <a:r>
                      <a:t>DOLLAR SHAVE CLUB BLACK 6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99F-4374-933C-119751F7B1D3}"/>
                </c:ext>
              </c:extLst>
            </c:dLbl>
            <c:dLbl>
              <c:idx val="4"/>
              <c:tx>
                <c:rich>
                  <a:bodyPr/>
                  <a:lstStyle/>
                  <a:p>
                    <a:r>
                      <a:t>GILLETTE FUSION 5 PROGLIDE 5 BLADE RAZOR NORMAL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99F-4374-933C-119751F7B1D3}"/>
                </c:ext>
              </c:extLst>
            </c:dLbl>
            <c:dLbl>
              <c:idx val="5"/>
              <c:tx>
                <c:rich>
                  <a:bodyPr/>
                  <a:lstStyle/>
                  <a:p>
                    <a:r>
                      <a:t>GILLETTE FUSION 5 5 BLADE RAZOR NORMAL 5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499F-4374-933C-119751F7B1D3}"/>
                </c:ext>
              </c:extLst>
            </c:dLbl>
            <c:dLbl>
              <c:idx val="6"/>
              <c:tx>
                <c:rich>
                  <a:bodyPr/>
                  <a:lstStyle/>
                  <a:p>
                    <a:r>
                      <a:t>GILLETTE LABS 5 BLADE RAZOR NORMAL 1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499F-4374-933C-119751F7B1D3}"/>
                </c:ext>
              </c:extLst>
            </c:dLbl>
            <c:dLbl>
              <c:idx val="7"/>
              <c:tx>
                <c:rich>
                  <a:bodyPr/>
                  <a:lstStyle/>
                  <a:p>
                    <a:r>
                      <a:t>HYDRO 5 SENSITIVE 5 BLADE RAZOR SENSITIVE 3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499F-4374-933C-119751F7B1D3}"/>
                </c:ext>
              </c:extLst>
            </c:dLbl>
            <c:dLbl>
              <c:idx val="8"/>
              <c:tx>
                <c:rich>
                  <a:bodyPr/>
                  <a:lstStyle/>
                  <a:p>
                    <a:r>
                      <a:t>GILLETTE FUSION 5 5 BLADE RAZOR NORMAL 1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8-499F-4374-933C-119751F7B1D3}"/>
                </c:ext>
              </c:extLst>
            </c:dLbl>
            <c:dLbl>
              <c:idx val="9"/>
              <c:tx>
                <c:rich>
                  <a:bodyPr/>
                  <a:lstStyle/>
                  <a:p>
                    <a:r>
                      <a:t>GILLETTE LABS 5 BLADE RAZOR NORMAL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499F-4374-933C-119751F7B1D3}"/>
                </c:ext>
              </c:extLst>
            </c:dLbl>
            <c:dLbl>
              <c:idx val="10"/>
              <c:tx>
                <c:rich>
                  <a:bodyPr/>
                  <a:lstStyle/>
                  <a:p>
                    <a:r>
                      <a:t>GILLETTE FUSION 5 PROSHIELD GRAY 5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499F-4374-933C-119751F7B1D3}"/>
                </c:ext>
              </c:extLst>
            </c:dLbl>
            <c:dLbl>
              <c:idx val="11"/>
              <c:tx>
                <c:rich>
                  <a:bodyPr/>
                  <a:lstStyle/>
                  <a:p>
                    <a:r>
                      <a:t>GILLETTE LABS 5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499F-4374-933C-119751F7B1D3}"/>
                </c:ext>
              </c:extLst>
            </c:dLbl>
            <c:dLbl>
              <c:idx val="12"/>
              <c:tx>
                <c:rich>
                  <a:bodyPr/>
                  <a:lstStyle/>
                  <a:p>
                    <a:r>
                      <a:t>GILLETTE FUSION 5 PROGLIDE STYLER REM BLADES RAZOR 1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499F-4374-933C-119751F7B1D3}"/>
                </c:ext>
              </c:extLst>
            </c:dLbl>
            <c:dLbl>
              <c:idx val="13"/>
              <c:tx>
                <c:rich>
                  <a:bodyPr/>
                  <a:lstStyle/>
                  <a:p>
                    <a:r>
                      <a:t>GILLETTE MACH 3 3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D-499F-4374-933C-119751F7B1D3}"/>
                </c:ext>
              </c:extLst>
            </c:dLbl>
            <c:dLbl>
              <c:idx val="14"/>
              <c:tx>
                <c:rich>
                  <a:bodyPr/>
                  <a:lstStyle/>
                  <a:p>
                    <a:r>
                      <a:t>GILLETTE FUSION 5 5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E-499F-4374-933C-119751F7B1D3}"/>
                </c:ext>
              </c:extLst>
            </c:dLbl>
            <c:dLbl>
              <c:idx val="15"/>
              <c:tx>
                <c:rich>
                  <a:bodyPr/>
                  <a:lstStyle/>
                  <a:p>
                    <a:r>
                      <a:t>GILLETTE FUSION 5 5 BLADE RAZOR NORMAL 7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F-499F-4374-933C-119751F7B1D3}"/>
                </c:ext>
              </c:extLst>
            </c:dLbl>
            <c:dLbl>
              <c:idx val="16"/>
              <c:tx>
                <c:rich>
                  <a:bodyPr/>
                  <a:lstStyle/>
                  <a:p>
                    <a:r>
                      <a:t>GILLETTE FUSION 5 PROGLIDE 5 BLADE RAZOR NORMAL 1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17EC-4EE8-A064-668E05F5E5BB}"/>
                </c:ext>
              </c:extLst>
            </c:dLbl>
            <c:dLbl>
              <c:idx val="17"/>
              <c:tx>
                <c:rich>
                  <a:bodyPr/>
                  <a:lstStyle/>
                  <a:p>
                    <a:r>
                      <a:t>GILLETTE INTIMATE BLACK 5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499F-4374-933C-119751F7B1D3}"/>
                </c:ext>
              </c:extLst>
            </c:dLbl>
            <c:dLbl>
              <c:idx val="18"/>
              <c:tx>
                <c:rich>
                  <a:bodyPr/>
                  <a:lstStyle/>
                  <a:p>
                    <a:r>
                      <a:t>GILLETTE FUSION 5 PROGLIDE 5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E05C-4186-8239-DC3766495C90}"/>
                </c:ext>
              </c:extLst>
            </c:dLbl>
            <c:dLbl>
              <c:idx val="19"/>
              <c:tx>
                <c:rich>
                  <a:bodyPr/>
                  <a:lstStyle/>
                  <a:p>
                    <a:r>
                      <a:t>HARRY'S SURF BLUE 5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499F-4374-933C-119751F7B1D3}"/>
                </c:ext>
              </c:extLst>
            </c:dLbl>
            <c:dLbl>
              <c:idx val="20"/>
              <c:tx>
                <c:rich>
                  <a:bodyPr/>
                  <a:lstStyle/>
                  <a:p>
                    <a:r>
                      <a:t>EQUATE EASY FIT 5 5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499F-4374-933C-119751F7B1D3}"/>
                </c:ext>
              </c:extLst>
            </c:dLbl>
            <c:dLbl>
              <c:idx val="21"/>
              <c:tx>
                <c:rich>
                  <a:bodyPr/>
                  <a:lstStyle/>
                  <a:p>
                    <a:r>
                      <a:t>HARRY'S SILVER 5 BLADE RAZOR NORMAL 5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3-499F-4374-933C-119751F7B1D3}"/>
                </c:ext>
              </c:extLst>
            </c:dLbl>
            <c:dLbl>
              <c:idx val="22"/>
              <c:tx>
                <c:rich>
                  <a:bodyPr/>
                  <a:lstStyle/>
                  <a:p>
                    <a:r>
                      <a:t>GILLETTE MACH 3 3 BLADE RAZOR NORMAL 6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4-499F-4374-933C-119751F7B1D3}"/>
                </c:ext>
              </c:extLst>
            </c:dLbl>
            <c:dLbl>
              <c:idx val="23"/>
              <c:tx>
                <c:rich>
                  <a:bodyPr/>
                  <a:lstStyle/>
                  <a:p>
                    <a:r>
                      <a:t>HARRY'S ORANGE 5 BLADE RAZOR NORMAL 5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499F-4374-933C-119751F7B1D3}"/>
                </c:ext>
              </c:extLst>
            </c:dLbl>
            <c:dLbl>
              <c:idx val="24"/>
              <c:tx>
                <c:rich>
                  <a:bodyPr/>
                  <a:lstStyle/>
                  <a:p>
                    <a:r>
                      <a:t>GILLETTE SKINGUARD 2 BLADE RAZOR SENSITIVE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499F-4374-933C-119751F7B1D3}"/>
                </c:ext>
              </c:extLst>
            </c:dLbl>
            <c:dLbl>
              <c:idx val="25"/>
              <c:tx>
                <c:rich>
                  <a:bodyPr/>
                  <a:lstStyle/>
                  <a:p>
                    <a:r>
                      <a:t>DOLLAR SHAVE CLUB RED BLUE WHITE 6 BLADE RAZOR NORMAL 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499F-4374-933C-119751F7B1D3}"/>
                </c:ext>
              </c:extLst>
            </c:dLbl>
            <c:dLbl>
              <c:idx val="26"/>
              <c:tx>
                <c:rich>
                  <a:bodyPr/>
                  <a:lstStyle/>
                  <a:p>
                    <a:fld id="{21B05398-4C09-4BFB-AD4C-D5C191BB295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499F-4374-933C-119751F7B1D3}"/>
                </c:ext>
              </c:extLst>
            </c:dLbl>
            <c:dLbl>
              <c:idx val="27"/>
              <c:tx>
                <c:rich>
                  <a:bodyPr/>
                  <a:lstStyle/>
                  <a:p>
                    <a:fld id="{435F41A1-294F-44A2-A5AE-7AB09B856DA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499F-4374-933C-119751F7B1D3}"/>
                </c:ext>
              </c:extLst>
            </c:dLbl>
            <c:dLbl>
              <c:idx val="28"/>
              <c:tx>
                <c:rich>
                  <a:bodyPr/>
                  <a:lstStyle/>
                  <a:p>
                    <a:fld id="{3437290A-5A7A-44CE-A521-99D376F4B1E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499F-4374-933C-119751F7B1D3}"/>
                </c:ext>
              </c:extLst>
            </c:dLbl>
            <c:dLbl>
              <c:idx val="29"/>
              <c:tx>
                <c:rich>
                  <a:bodyPr/>
                  <a:lstStyle/>
                  <a:p>
                    <a:fld id="{82C8B1FD-41B2-4699-AB72-CEBAFA182A1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499F-4374-933C-119751F7B1D3}"/>
                </c:ext>
              </c:extLst>
            </c:dLbl>
            <c:dLbl>
              <c:idx val="30"/>
              <c:tx>
                <c:rich>
                  <a:bodyPr/>
                  <a:lstStyle/>
                  <a:p>
                    <a:fld id="{541E52D9-0A24-47CA-A32E-2AEBD1D8283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499F-4374-933C-119751F7B1D3}"/>
                </c:ext>
              </c:extLst>
            </c:dLbl>
            <c:dLbl>
              <c:idx val="31"/>
              <c:tx>
                <c:rich>
                  <a:bodyPr/>
                  <a:lstStyle/>
                  <a:p>
                    <a:fld id="{6D2EFACA-3D9F-4EA0-81A5-B35AF0FCBB3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99F-4374-933C-119751F7B1D3}"/>
                </c:ext>
              </c:extLst>
            </c:dLbl>
            <c:dLbl>
              <c:idx val="32"/>
              <c:tx>
                <c:rich>
                  <a:bodyPr/>
                  <a:lstStyle/>
                  <a:p>
                    <a:fld id="{066EF122-E8A3-47BD-B081-C792AAD1A30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499F-4374-933C-119751F7B1D3}"/>
                </c:ext>
              </c:extLst>
            </c:dLbl>
            <c:dLbl>
              <c:idx val="33"/>
              <c:tx>
                <c:rich>
                  <a:bodyPr/>
                  <a:lstStyle/>
                  <a:p>
                    <a:fld id="{DA993AA8-AEE1-4B22-A04C-B4A649D87C2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499F-4374-933C-119751F7B1D3}"/>
                </c:ext>
              </c:extLst>
            </c:dLbl>
            <c:dLbl>
              <c:idx val="34"/>
              <c:tx>
                <c:rich>
                  <a:bodyPr/>
                  <a:lstStyle/>
                  <a:p>
                    <a:fld id="{0E8C35B8-E9EF-4614-9FD9-1D711B1C174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499F-4374-933C-119751F7B1D3}"/>
                </c:ext>
              </c:extLst>
            </c:dLbl>
            <c:dLbl>
              <c:idx val="35"/>
              <c:tx>
                <c:rich>
                  <a:bodyPr/>
                  <a:lstStyle/>
                  <a:p>
                    <a:fld id="{BDCBCA12-2AEF-45C6-A300-F4C6B3ECDFB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499F-4374-933C-119751F7B1D3}"/>
                </c:ext>
              </c:extLst>
            </c:dLbl>
            <c:dLbl>
              <c:idx val="36"/>
              <c:tx>
                <c:rich>
                  <a:bodyPr/>
                  <a:lstStyle/>
                  <a:p>
                    <a:fld id="{9414C7E2-7ABF-4455-8253-0511E9F4BAD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499F-4374-933C-119751F7B1D3}"/>
                </c:ext>
              </c:extLst>
            </c:dLbl>
            <c:dLbl>
              <c:idx val="37"/>
              <c:tx>
                <c:rich>
                  <a:bodyPr/>
                  <a:lstStyle/>
                  <a:p>
                    <a:fld id="{A5BA562D-2401-42AA-9F6B-6E26E263177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499F-4374-933C-119751F7B1D3}"/>
                </c:ext>
              </c:extLst>
            </c:dLbl>
            <c:dLbl>
              <c:idx val="38"/>
              <c:tx>
                <c:rich>
                  <a:bodyPr/>
                  <a:lstStyle/>
                  <a:p>
                    <a:fld id="{7D54260A-A90A-4A62-972E-CD5F1DD6CED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499F-4374-933C-119751F7B1D3}"/>
                </c:ext>
              </c:extLst>
            </c:dLbl>
            <c:dLbl>
              <c:idx val="39"/>
              <c:tx>
                <c:rich>
                  <a:bodyPr/>
                  <a:lstStyle/>
                  <a:p>
                    <a:fld id="{D6D424E4-A433-4247-9A18-C4C2C35A65E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499F-4374-933C-119751F7B1D3}"/>
                </c:ext>
              </c:extLst>
            </c:dLbl>
            <c:dLbl>
              <c:idx val="40"/>
              <c:tx>
                <c:rich>
                  <a:bodyPr/>
                  <a:lstStyle/>
                  <a:p>
                    <a:fld id="{F40A605E-D500-440A-8D57-F256789A39F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499F-4374-933C-119751F7B1D3}"/>
                </c:ext>
              </c:extLst>
            </c:dLbl>
            <c:dLbl>
              <c:idx val="41"/>
              <c:tx>
                <c:rich>
                  <a:bodyPr/>
                  <a:lstStyle/>
                  <a:p>
                    <a:fld id="{4684A106-FA4F-4C45-89CC-8BA73D926B3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499F-4374-933C-119751F7B1D3}"/>
                </c:ext>
              </c:extLst>
            </c:dLbl>
            <c:dLbl>
              <c:idx val="42"/>
              <c:tx>
                <c:rich>
                  <a:bodyPr/>
                  <a:lstStyle/>
                  <a:p>
                    <a:fld id="{4AFE65BE-8627-40C6-9298-3D284A989EA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499F-4374-933C-119751F7B1D3}"/>
                </c:ext>
              </c:extLst>
            </c:dLbl>
            <c:dLbl>
              <c:idx val="43"/>
              <c:tx>
                <c:rich>
                  <a:bodyPr/>
                  <a:lstStyle/>
                  <a:p>
                    <a:fld id="{EC9DB9B8-24D8-42F2-8585-AA38814AED4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499F-4374-933C-119751F7B1D3}"/>
                </c:ext>
              </c:extLst>
            </c:dLbl>
            <c:dLbl>
              <c:idx val="44"/>
              <c:tx>
                <c:rich>
                  <a:bodyPr/>
                  <a:lstStyle/>
                  <a:p>
                    <a:fld id="{90351746-4D24-4C1E-B0D7-F0B07F767CC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499F-4374-933C-119751F7B1D3}"/>
                </c:ext>
              </c:extLst>
            </c:dLbl>
            <c:dLbl>
              <c:idx val="45"/>
              <c:tx>
                <c:rich>
                  <a:bodyPr/>
                  <a:lstStyle/>
                  <a:p>
                    <a:fld id="{F4F9D5A5-BD24-424D-BFAF-CE378C34C24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499F-4374-933C-119751F7B1D3}"/>
                </c:ext>
              </c:extLst>
            </c:dLbl>
            <c:dLbl>
              <c:idx val="46"/>
              <c:tx>
                <c:rich>
                  <a:bodyPr/>
                  <a:lstStyle/>
                  <a:p>
                    <a:fld id="{71E85F62-1B20-4C59-811A-EDAB91A952F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499F-4374-933C-119751F7B1D3}"/>
                </c:ext>
              </c:extLst>
            </c:dLbl>
            <c:dLbl>
              <c:idx val="47"/>
              <c:tx>
                <c:rich>
                  <a:bodyPr/>
                  <a:lstStyle/>
                  <a:p>
                    <a:fld id="{92C60D48-E082-43AE-AA85-7962E21E376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7</c:f>
              <c:numCache>
                <c:formatCode>General</c:formatCode>
                <c:ptCount val="26"/>
                <c:pt idx="0">
                  <c:v>0.16</c:v>
                </c:pt>
                <c:pt idx="1">
                  <c:v>0.14000000000000001</c:v>
                </c:pt>
                <c:pt idx="2">
                  <c:v>0.18</c:v>
                </c:pt>
                <c:pt idx="3">
                  <c:v>0.03</c:v>
                </c:pt>
                <c:pt idx="4">
                  <c:v>0.45</c:v>
                </c:pt>
                <c:pt idx="5">
                  <c:v>0.02</c:v>
                </c:pt>
                <c:pt idx="6">
                  <c:v>0.14000000000000001</c:v>
                </c:pt>
                <c:pt idx="7">
                  <c:v>0.12</c:v>
                </c:pt>
                <c:pt idx="8">
                  <c:v>0.39</c:v>
                </c:pt>
                <c:pt idx="9">
                  <c:v>0.47</c:v>
                </c:pt>
                <c:pt idx="10">
                  <c:v>0.47</c:v>
                </c:pt>
                <c:pt idx="11">
                  <c:v>0.46</c:v>
                </c:pt>
                <c:pt idx="12">
                  <c:v>0.54</c:v>
                </c:pt>
                <c:pt idx="13">
                  <c:v>0.28999999999999998</c:v>
                </c:pt>
                <c:pt idx="14">
                  <c:v>0.03</c:v>
                </c:pt>
                <c:pt idx="15">
                  <c:v>0.09</c:v>
                </c:pt>
                <c:pt idx="16">
                  <c:v>0.45</c:v>
                </c:pt>
                <c:pt idx="17">
                  <c:v>0.65</c:v>
                </c:pt>
                <c:pt idx="18">
                  <c:v>0.39</c:v>
                </c:pt>
                <c:pt idx="19">
                  <c:v>0.03</c:v>
                </c:pt>
                <c:pt idx="20">
                  <c:v>0.12</c:v>
                </c:pt>
                <c:pt idx="21">
                  <c:v>0.01</c:v>
                </c:pt>
                <c:pt idx="22">
                  <c:v>0.16</c:v>
                </c:pt>
                <c:pt idx="23">
                  <c:v>0.14000000000000001</c:v>
                </c:pt>
                <c:pt idx="24">
                  <c:v>0.08</c:v>
                </c:pt>
                <c:pt idx="25">
                  <c:v>0.01</c:v>
                </c:pt>
              </c:numCache>
            </c:numRef>
          </c:xVal>
          <c:yVal>
            <c:numRef>
              <c:f>Sheet1!$B$2:$B$27</c:f>
              <c:numCache>
                <c:formatCode>General</c:formatCode>
                <c:ptCount val="26"/>
                <c:pt idx="0">
                  <c:v>1.3119708832656181</c:v>
                </c:pt>
                <c:pt idx="1">
                  <c:v>1.3101286880523451</c:v>
                </c:pt>
                <c:pt idx="2">
                  <c:v>6.5288302995339862</c:v>
                </c:pt>
                <c:pt idx="3">
                  <c:v>0.10431911848574631</c:v>
                </c:pt>
                <c:pt idx="4">
                  <c:v>1.204885994489759</c:v>
                </c:pt>
                <c:pt idx="5">
                  <c:v>0</c:v>
                </c:pt>
                <c:pt idx="6">
                  <c:v>0.32118849431593649</c:v>
                </c:pt>
                <c:pt idx="7">
                  <c:v>0</c:v>
                </c:pt>
                <c:pt idx="8">
                  <c:v>0.78197778851671429</c:v>
                </c:pt>
                <c:pt idx="9">
                  <c:v>0.98578130079380677</c:v>
                </c:pt>
                <c:pt idx="10">
                  <c:v>8.2770582371391871E-2</c:v>
                </c:pt>
                <c:pt idx="11">
                  <c:v>1.263749795886099</c:v>
                </c:pt>
                <c:pt idx="12">
                  <c:v>1.7794925098213989</c:v>
                </c:pt>
                <c:pt idx="13">
                  <c:v>0</c:v>
                </c:pt>
                <c:pt idx="14">
                  <c:v>0</c:v>
                </c:pt>
                <c:pt idx="15">
                  <c:v>0</c:v>
                </c:pt>
                <c:pt idx="16">
                  <c:v>4.2783905901359963E-2</c:v>
                </c:pt>
                <c:pt idx="17">
                  <c:v>2.2979412931887571</c:v>
                </c:pt>
                <c:pt idx="18">
                  <c:v>0.34220564187012381</c:v>
                </c:pt>
                <c:pt idx="19">
                  <c:v>0</c:v>
                </c:pt>
                <c:pt idx="20">
                  <c:v>0</c:v>
                </c:pt>
                <c:pt idx="21">
                  <c:v>0</c:v>
                </c:pt>
                <c:pt idx="22">
                  <c:v>0</c:v>
                </c:pt>
                <c:pt idx="23">
                  <c:v>0</c:v>
                </c:pt>
                <c:pt idx="24">
                  <c:v>0</c:v>
                </c:pt>
                <c:pt idx="25">
                  <c:v>0</c:v>
                </c:pt>
              </c:numCache>
            </c:numRef>
          </c:yVal>
          <c:smooth val="0"/>
          <c:extLst>
            <c:ext xmlns:c15="http://schemas.microsoft.com/office/drawing/2012/chart" uri="{02D57815-91ED-43cb-92C2-25804820EDAC}">
              <c15:datalabelsRange>
                <c15:f>Sheet1!$E$2:$E$51</c15:f>
                <c15:dlblRangeCache>
                  <c:ptCount val="50"/>
                  <c:pt idx="0">
                    <c:v>GILLETTE FUSION 5 BLACK HOLIDAY GIFT PACK 5 BLADE RAZOR NORMAL 3CT</c:v>
                  </c:pt>
                  <c:pt idx="1">
                    <c:v>HYDRO 5 SENSITIVE GRAY HOLIDAY GIFT PACK 5 BLADE RAZOR SENSITIVE 3CT</c:v>
                  </c:pt>
                  <c:pt idx="2">
                    <c:v>GILLETTE LABS ARCTIC CAMO HOLIDAY GIFT PACK 5 BLADE RAZOR NORMAL 2CT</c:v>
                  </c:pt>
                  <c:pt idx="3">
                    <c:v>DOLLAR SHAVE CLUB BLACK 6 BLADE RAZOR NORMAL 2CT</c:v>
                  </c:pt>
                  <c:pt idx="4">
                    <c:v>GILLETTE FUSION 5 PROGLIDE 5 BLADE RAZOR NORMAL 4CT</c:v>
                  </c:pt>
                  <c:pt idx="5">
                    <c:v>GILLETTE FUSION 5 5 BLADE RAZOR NORMAL 5CT</c:v>
                  </c:pt>
                  <c:pt idx="6">
                    <c:v>GILLETTE LABS 5 BLADE RAZOR NORMAL 1CT</c:v>
                  </c:pt>
                  <c:pt idx="7">
                    <c:v>HYDRO 5 SENSITIVE 5 BLADE RAZOR SENSITIVE 3CT</c:v>
                  </c:pt>
                  <c:pt idx="8">
                    <c:v>GILLETTE FUSION 5 5 BLADE RAZOR NORMAL 1CT</c:v>
                  </c:pt>
                  <c:pt idx="9">
                    <c:v>GILLETTE LABS 5 BLADE RAZOR NORMAL 4CT</c:v>
                  </c:pt>
                  <c:pt idx="10">
                    <c:v>GILLETTE FUSION 5 PROSHIELD GRAY 5 BLADE RAZOR NORMAL 2CT</c:v>
                  </c:pt>
                  <c:pt idx="11">
                    <c:v>GILLETTE LABS 5 BLADE RAZOR NORMAL 2CT</c:v>
                  </c:pt>
                  <c:pt idx="12">
                    <c:v>GILLETTE FUSION 5 PROGLIDE STYLER REM BLADES RAZOR 1CT</c:v>
                  </c:pt>
                  <c:pt idx="13">
                    <c:v>GILLETTE MACH 3 3 BLADE RAZOR NORMAL 2CT</c:v>
                  </c:pt>
                  <c:pt idx="14">
                    <c:v>GILLETTE FUSION 5 5 BLADE RAZOR NORMAL 2CT</c:v>
                  </c:pt>
                  <c:pt idx="15">
                    <c:v>GILLETTE FUSION 5 5 BLADE RAZOR NORMAL 7CT</c:v>
                  </c:pt>
                  <c:pt idx="16">
                    <c:v>GILLETTE FUSION 5 PROGLIDE 5 BLADE RAZOR NORMAL 1CT</c:v>
                  </c:pt>
                  <c:pt idx="17">
                    <c:v>GILLETTE INTIMATE BLACK 5 BLADE RAZOR NORMAL 2CT</c:v>
                  </c:pt>
                  <c:pt idx="18">
                    <c:v>GILLETTE FUSION 5 PROGLIDE 5 BLADE RAZOR NORMAL 2CT</c:v>
                  </c:pt>
                  <c:pt idx="19">
                    <c:v>HARRY'S SURF BLUE 5 BLADE RAZOR NORMAL 2CT</c:v>
                  </c:pt>
                  <c:pt idx="20">
                    <c:v>EQUATE EASY FIT 5 5 BLADE RAZOR NORMAL 2CT</c:v>
                  </c:pt>
                  <c:pt idx="21">
                    <c:v>HARRY'S SILVER 5 BLADE RAZOR NORMAL 5CT</c:v>
                  </c:pt>
                  <c:pt idx="22">
                    <c:v>GILLETTE MACH 3 3 BLADE RAZOR NORMAL 6CT</c:v>
                  </c:pt>
                  <c:pt idx="23">
                    <c:v>HARRY'S ORANGE 5 BLADE RAZOR NORMAL 5CT</c:v>
                  </c:pt>
                  <c:pt idx="24">
                    <c:v>GILLETTE SKINGUARD 2 BLADE RAZOR SENSITIVE 2CT</c:v>
                  </c:pt>
                  <c:pt idx="25">
                    <c:v>DOLLAR SHAVE CLUB RED BLUE WHITE 6 BLADE RAZOR NORMAL 2CT</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max val="0.78"/>
          <c:min val="8.0000000000000002E-3"/>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7.8345963594407833"/>
          <c:min val="0"/>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Scatter</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r>
                      <a:t>GILLETTE FUSION 5 PROGLIDE 5 BLADE REFILL NORMAL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99F-4374-933C-119751F7B1D3}"/>
                </c:ext>
              </c:extLst>
            </c:dLbl>
            <c:dLbl>
              <c:idx val="1"/>
              <c:tx>
                <c:rich>
                  <a:bodyPr/>
                  <a:lstStyle/>
                  <a:p>
                    <a:r>
                      <a:t>HYDRO 5 SENSITIVE 5 BLADE REFILL SENSITIVE 6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99F-4374-933C-119751F7B1D3}"/>
                </c:ext>
              </c:extLst>
            </c:dLbl>
            <c:dLbl>
              <c:idx val="2"/>
              <c:tx>
                <c:rich>
                  <a:bodyPr/>
                  <a:lstStyle/>
                  <a:p>
                    <a:r>
                      <a:t>GILLETTE FUSION 5 PROGLIDE 5 BLADE REFILL NORMAL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99F-4374-933C-119751F7B1D3}"/>
                </c:ext>
              </c:extLst>
            </c:dLbl>
            <c:dLbl>
              <c:idx val="3"/>
              <c:tx>
                <c:rich>
                  <a:bodyPr/>
                  <a:lstStyle/>
                  <a:p>
                    <a:r>
                      <a:t>HYDRO 5 SENSITIVE 5 BLADE REFILL SENSITIVE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99F-4374-933C-119751F7B1D3}"/>
                </c:ext>
              </c:extLst>
            </c:dLbl>
            <c:dLbl>
              <c:idx val="4"/>
              <c:tx>
                <c:rich>
                  <a:bodyPr/>
                  <a:lstStyle/>
                  <a:p>
                    <a:r>
                      <a:t>DOLLAR SHAVE CLUB 6 BLADE REFILL NORMAL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99F-4374-933C-119751F7B1D3}"/>
                </c:ext>
              </c:extLst>
            </c:dLbl>
            <c:dLbl>
              <c:idx val="5"/>
              <c:tx>
                <c:rich>
                  <a:bodyPr/>
                  <a:lstStyle/>
                  <a:p>
                    <a:r>
                      <a:t>GILLETTE FUSION 5 5 BLADE REFILL NORMAL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499F-4374-933C-119751F7B1D3}"/>
                </c:ext>
              </c:extLst>
            </c:dLbl>
            <c:dLbl>
              <c:idx val="6"/>
              <c:tx>
                <c:rich>
                  <a:bodyPr/>
                  <a:lstStyle/>
                  <a:p>
                    <a:r>
                      <a:t>GILLETTE MACH 3 3 BLADE REFILL NORMAL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499F-4374-933C-119751F7B1D3}"/>
                </c:ext>
              </c:extLst>
            </c:dLbl>
            <c:dLbl>
              <c:idx val="7"/>
              <c:tx>
                <c:rich>
                  <a:bodyPr/>
                  <a:lstStyle/>
                  <a:p>
                    <a:r>
                      <a:t>GILLETTE LABS 5 BLADE REFILL NORMAL 6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499F-4374-933C-119751F7B1D3}"/>
                </c:ext>
              </c:extLst>
            </c:dLbl>
            <c:dLbl>
              <c:idx val="8"/>
              <c:tx>
                <c:rich>
                  <a:bodyPr/>
                  <a:lstStyle/>
                  <a:p>
                    <a:r>
                      <a:t>DOLLAR SHAVE CLUB 6 BLADE REFILL NORMAL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8-499F-4374-933C-119751F7B1D3}"/>
                </c:ext>
              </c:extLst>
            </c:dLbl>
            <c:dLbl>
              <c:idx val="9"/>
              <c:tx>
                <c:rich>
                  <a:bodyPr/>
                  <a:lstStyle/>
                  <a:p>
                    <a:r>
                      <a:t>HARRY'S 5 BLADE REFILL NORMAL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499F-4374-933C-119751F7B1D3}"/>
                </c:ext>
              </c:extLst>
            </c:dLbl>
            <c:dLbl>
              <c:idx val="10"/>
              <c:tx>
                <c:rich>
                  <a:bodyPr/>
                  <a:lstStyle/>
                  <a:p>
                    <a:r>
                      <a:t>EQUATE EASY FIT 5 5 BLADE REFILL NORMAL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499F-4374-933C-119751F7B1D3}"/>
                </c:ext>
              </c:extLst>
            </c:dLbl>
            <c:dLbl>
              <c:idx val="11"/>
              <c:tx>
                <c:rich>
                  <a:bodyPr/>
                  <a:lstStyle/>
                  <a:p>
                    <a:r>
                      <a:t>EQUATE EASY FIT 5 5 BLADE REFILL NORMAL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499F-4374-933C-119751F7B1D3}"/>
                </c:ext>
              </c:extLst>
            </c:dLbl>
            <c:dLbl>
              <c:idx val="12"/>
              <c:tx>
                <c:rich>
                  <a:bodyPr/>
                  <a:lstStyle/>
                  <a:p>
                    <a:r>
                      <a:t>HARRY'S 5 BLADE REFILL NORMAL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499F-4374-933C-119751F7B1D3}"/>
                </c:ext>
              </c:extLst>
            </c:dLbl>
            <c:dLbl>
              <c:idx val="13"/>
              <c:tx>
                <c:rich>
                  <a:bodyPr/>
                  <a:lstStyle/>
                  <a:p>
                    <a:r>
                      <a:t>GILLETTE MACH 3 3 BLADE REFILL NORMAL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D-499F-4374-933C-119751F7B1D3}"/>
                </c:ext>
              </c:extLst>
            </c:dLbl>
            <c:dLbl>
              <c:idx val="14"/>
              <c:tx>
                <c:rich>
                  <a:bodyPr/>
                  <a:lstStyle/>
                  <a:p>
                    <a:r>
                      <a:t>EQUATE EASY FIT 5 5 BLADE REFILL NORMAL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E-499F-4374-933C-119751F7B1D3}"/>
                </c:ext>
              </c:extLst>
            </c:dLbl>
            <c:dLbl>
              <c:idx val="15"/>
              <c:tx>
                <c:rich>
                  <a:bodyPr/>
                  <a:lstStyle/>
                  <a:p>
                    <a:r>
                      <a:t>GILLETTE FUSION 5 5 BLADE REFILL NORMAL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F-499F-4374-933C-119751F7B1D3}"/>
                </c:ext>
              </c:extLst>
            </c:dLbl>
            <c:dLbl>
              <c:idx val="16"/>
              <c:tx>
                <c:rich>
                  <a:bodyPr/>
                  <a:lstStyle/>
                  <a:p>
                    <a:r>
                      <a:t>GILLETTE INTIMATE 5 BLADE REFILL NORMAL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17EC-4EE8-A064-668E05F5E5BB}"/>
                </c:ext>
              </c:extLst>
            </c:dLbl>
            <c:dLbl>
              <c:idx val="17"/>
              <c:tx>
                <c:rich>
                  <a:bodyPr/>
                  <a:lstStyle/>
                  <a:p>
                    <a:r>
                      <a:t>GILLETTE FUSION 5 5 BLADE REFILL NORMAL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499F-4374-933C-119751F7B1D3}"/>
                </c:ext>
              </c:extLst>
            </c:dLbl>
            <c:dLbl>
              <c:idx val="18"/>
              <c:tx>
                <c:rich>
                  <a:bodyPr/>
                  <a:lstStyle/>
                  <a:p>
                    <a:r>
                      <a:t>HARRY'S 5 BLADE REFILL NORMAL 12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E05C-4186-8239-DC3766495C90}"/>
                </c:ext>
              </c:extLst>
            </c:dLbl>
            <c:dLbl>
              <c:idx val="19"/>
              <c:tx>
                <c:rich>
                  <a:bodyPr/>
                  <a:lstStyle/>
                  <a:p>
                    <a:r>
                      <a:t>GILLETTE SKINGUARD 2 BLADE REFILL SENSITIVE 8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499F-4374-933C-119751F7B1D3}"/>
                </c:ext>
              </c:extLst>
            </c:dLbl>
            <c:dLbl>
              <c:idx val="20"/>
              <c:tx>
                <c:rich>
                  <a:bodyPr/>
                  <a:lstStyle/>
                  <a:p>
                    <a:r>
                      <a:t>GILLETTE MACH 3 3 BLADE REFILL NORMAL 4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499F-4374-933C-119751F7B1D3}"/>
                </c:ext>
              </c:extLst>
            </c:dLbl>
            <c:dLbl>
              <c:idx val="21"/>
              <c:tx>
                <c:rich>
                  <a:bodyPr/>
                  <a:lstStyle/>
                  <a:p>
                    <a:r>
                      <a:t>GILLETTE MACH 3 3 BLADE REFILL NORMAL 15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3-499F-4374-933C-119751F7B1D3}"/>
                </c:ext>
              </c:extLst>
            </c:dLbl>
            <c:dLbl>
              <c:idx val="22"/>
              <c:tx>
                <c:rich>
                  <a:bodyPr/>
                  <a:lstStyle/>
                  <a:p>
                    <a:r>
                      <a:t>SCHICK HYDRO 3 SENSITIVE 3 BLADE REFILL SENSITIVE 5CT</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4-499F-4374-933C-119751F7B1D3}"/>
                </c:ext>
              </c:extLst>
            </c:dLbl>
            <c:dLbl>
              <c:idx val="23"/>
              <c:tx>
                <c:rich>
                  <a:bodyPr/>
                  <a:lstStyle/>
                  <a:p>
                    <a:fld id="{42FF40FA-925E-43DD-9C6E-7B23FF390C9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499F-4374-933C-119751F7B1D3}"/>
                </c:ext>
              </c:extLst>
            </c:dLbl>
            <c:dLbl>
              <c:idx val="24"/>
              <c:tx>
                <c:rich>
                  <a:bodyPr/>
                  <a:lstStyle/>
                  <a:p>
                    <a:fld id="{3AAD1268-8A89-460A-B98A-40A206DE93C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499F-4374-933C-119751F7B1D3}"/>
                </c:ext>
              </c:extLst>
            </c:dLbl>
            <c:dLbl>
              <c:idx val="25"/>
              <c:tx>
                <c:rich>
                  <a:bodyPr/>
                  <a:lstStyle/>
                  <a:p>
                    <a:fld id="{D0319D90-D7FF-42DA-9F8C-3E990709964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499F-4374-933C-119751F7B1D3}"/>
                </c:ext>
              </c:extLst>
            </c:dLbl>
            <c:dLbl>
              <c:idx val="26"/>
              <c:tx>
                <c:rich>
                  <a:bodyPr/>
                  <a:lstStyle/>
                  <a:p>
                    <a:fld id="{C0585CC2-958B-4DE5-BD96-3A878C9CB44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499F-4374-933C-119751F7B1D3}"/>
                </c:ext>
              </c:extLst>
            </c:dLbl>
            <c:dLbl>
              <c:idx val="27"/>
              <c:tx>
                <c:rich>
                  <a:bodyPr/>
                  <a:lstStyle/>
                  <a:p>
                    <a:fld id="{264473BF-FBA2-4186-B479-63056432FD6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499F-4374-933C-119751F7B1D3}"/>
                </c:ext>
              </c:extLst>
            </c:dLbl>
            <c:dLbl>
              <c:idx val="28"/>
              <c:tx>
                <c:rich>
                  <a:bodyPr/>
                  <a:lstStyle/>
                  <a:p>
                    <a:fld id="{143A5843-8765-4D86-95E0-8C89E5D74A1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499F-4374-933C-119751F7B1D3}"/>
                </c:ext>
              </c:extLst>
            </c:dLbl>
            <c:dLbl>
              <c:idx val="29"/>
              <c:tx>
                <c:rich>
                  <a:bodyPr/>
                  <a:lstStyle/>
                  <a:p>
                    <a:fld id="{7AE20094-4946-4CC5-B1D4-6919B4FFD68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499F-4374-933C-119751F7B1D3}"/>
                </c:ext>
              </c:extLst>
            </c:dLbl>
            <c:dLbl>
              <c:idx val="30"/>
              <c:tx>
                <c:rich>
                  <a:bodyPr/>
                  <a:lstStyle/>
                  <a:p>
                    <a:fld id="{04A9D2C3-A0BA-4791-AC54-86D1CE6DE32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499F-4374-933C-119751F7B1D3}"/>
                </c:ext>
              </c:extLst>
            </c:dLbl>
            <c:dLbl>
              <c:idx val="31"/>
              <c:tx>
                <c:rich>
                  <a:bodyPr/>
                  <a:lstStyle/>
                  <a:p>
                    <a:fld id="{316B39D6-6F2A-4B56-822B-9E2A5B014AF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99F-4374-933C-119751F7B1D3}"/>
                </c:ext>
              </c:extLst>
            </c:dLbl>
            <c:dLbl>
              <c:idx val="32"/>
              <c:tx>
                <c:rich>
                  <a:bodyPr/>
                  <a:lstStyle/>
                  <a:p>
                    <a:fld id="{8122DE27-6913-4331-8722-808E884F207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499F-4374-933C-119751F7B1D3}"/>
                </c:ext>
              </c:extLst>
            </c:dLbl>
            <c:dLbl>
              <c:idx val="33"/>
              <c:tx>
                <c:rich>
                  <a:bodyPr/>
                  <a:lstStyle/>
                  <a:p>
                    <a:fld id="{808C299D-94E4-4573-8C50-249C6741BD4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499F-4374-933C-119751F7B1D3}"/>
                </c:ext>
              </c:extLst>
            </c:dLbl>
            <c:dLbl>
              <c:idx val="34"/>
              <c:tx>
                <c:rich>
                  <a:bodyPr/>
                  <a:lstStyle/>
                  <a:p>
                    <a:fld id="{A61B7EF3-FAB9-46BC-A941-848BAE72C0F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499F-4374-933C-119751F7B1D3}"/>
                </c:ext>
              </c:extLst>
            </c:dLbl>
            <c:dLbl>
              <c:idx val="35"/>
              <c:tx>
                <c:rich>
                  <a:bodyPr/>
                  <a:lstStyle/>
                  <a:p>
                    <a:fld id="{96575CB1-C786-42BF-9B13-1A9157061AF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499F-4374-933C-119751F7B1D3}"/>
                </c:ext>
              </c:extLst>
            </c:dLbl>
            <c:dLbl>
              <c:idx val="36"/>
              <c:tx>
                <c:rich>
                  <a:bodyPr/>
                  <a:lstStyle/>
                  <a:p>
                    <a:fld id="{00DFB1A4-6205-4FA1-BC98-C0B34139F44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499F-4374-933C-119751F7B1D3}"/>
                </c:ext>
              </c:extLst>
            </c:dLbl>
            <c:dLbl>
              <c:idx val="37"/>
              <c:tx>
                <c:rich>
                  <a:bodyPr/>
                  <a:lstStyle/>
                  <a:p>
                    <a:fld id="{04063787-3669-4A0C-8628-8A3EC4FFF60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499F-4374-933C-119751F7B1D3}"/>
                </c:ext>
              </c:extLst>
            </c:dLbl>
            <c:dLbl>
              <c:idx val="38"/>
              <c:tx>
                <c:rich>
                  <a:bodyPr/>
                  <a:lstStyle/>
                  <a:p>
                    <a:fld id="{E4E7BCB5-B816-425F-ABD1-DC355CC276E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499F-4374-933C-119751F7B1D3}"/>
                </c:ext>
              </c:extLst>
            </c:dLbl>
            <c:dLbl>
              <c:idx val="39"/>
              <c:tx>
                <c:rich>
                  <a:bodyPr/>
                  <a:lstStyle/>
                  <a:p>
                    <a:fld id="{7BD7A529-BB43-4677-BD0F-469132A6F57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499F-4374-933C-119751F7B1D3}"/>
                </c:ext>
              </c:extLst>
            </c:dLbl>
            <c:dLbl>
              <c:idx val="40"/>
              <c:tx>
                <c:rich>
                  <a:bodyPr/>
                  <a:lstStyle/>
                  <a:p>
                    <a:fld id="{B59A8EB0-EA6F-4D1B-BA32-492ADE14AF9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499F-4374-933C-119751F7B1D3}"/>
                </c:ext>
              </c:extLst>
            </c:dLbl>
            <c:dLbl>
              <c:idx val="41"/>
              <c:tx>
                <c:rich>
                  <a:bodyPr/>
                  <a:lstStyle/>
                  <a:p>
                    <a:fld id="{51FE9B6E-A3AA-47CD-8480-97EC4D76475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499F-4374-933C-119751F7B1D3}"/>
                </c:ext>
              </c:extLst>
            </c:dLbl>
            <c:dLbl>
              <c:idx val="42"/>
              <c:tx>
                <c:rich>
                  <a:bodyPr/>
                  <a:lstStyle/>
                  <a:p>
                    <a:fld id="{E6ED6A24-4644-4B62-B35A-54C7D1AE5B9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499F-4374-933C-119751F7B1D3}"/>
                </c:ext>
              </c:extLst>
            </c:dLbl>
            <c:dLbl>
              <c:idx val="43"/>
              <c:tx>
                <c:rich>
                  <a:bodyPr/>
                  <a:lstStyle/>
                  <a:p>
                    <a:fld id="{4D78D9A7-23D7-4F6A-B064-F55D719D8C3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499F-4374-933C-119751F7B1D3}"/>
                </c:ext>
              </c:extLst>
            </c:dLbl>
            <c:dLbl>
              <c:idx val="44"/>
              <c:tx>
                <c:rich>
                  <a:bodyPr/>
                  <a:lstStyle/>
                  <a:p>
                    <a:fld id="{91F1EF42-449C-4AE2-BA7E-77D66A02702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499F-4374-933C-119751F7B1D3}"/>
                </c:ext>
              </c:extLst>
            </c:dLbl>
            <c:dLbl>
              <c:idx val="45"/>
              <c:tx>
                <c:rich>
                  <a:bodyPr/>
                  <a:lstStyle/>
                  <a:p>
                    <a:fld id="{BD3FCA1D-8C92-4B33-9394-FD62BB69ADB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499F-4374-933C-119751F7B1D3}"/>
                </c:ext>
              </c:extLst>
            </c:dLbl>
            <c:dLbl>
              <c:idx val="46"/>
              <c:tx>
                <c:rich>
                  <a:bodyPr/>
                  <a:lstStyle/>
                  <a:p>
                    <a:fld id="{88B7FF30-12FE-4123-8D15-024E985BBF0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499F-4374-933C-119751F7B1D3}"/>
                </c:ext>
              </c:extLst>
            </c:dLbl>
            <c:dLbl>
              <c:idx val="47"/>
              <c:tx>
                <c:rich>
                  <a:bodyPr/>
                  <a:lstStyle/>
                  <a:p>
                    <a:fld id="{67BAA6AB-6A0F-42E2-A1D3-F75DBB7AE9F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4</c:f>
              <c:numCache>
                <c:formatCode>General</c:formatCode>
                <c:ptCount val="23"/>
                <c:pt idx="0">
                  <c:v>0.1</c:v>
                </c:pt>
                <c:pt idx="1">
                  <c:v>7.0000000000000007E-2</c:v>
                </c:pt>
                <c:pt idx="2">
                  <c:v>0.14000000000000001</c:v>
                </c:pt>
                <c:pt idx="3">
                  <c:v>0.11</c:v>
                </c:pt>
                <c:pt idx="4">
                  <c:v>0.03</c:v>
                </c:pt>
                <c:pt idx="5">
                  <c:v>0.04</c:v>
                </c:pt>
                <c:pt idx="6">
                  <c:v>0.35</c:v>
                </c:pt>
                <c:pt idx="7">
                  <c:v>0.1</c:v>
                </c:pt>
                <c:pt idx="8">
                  <c:v>0.04</c:v>
                </c:pt>
                <c:pt idx="9">
                  <c:v>0.01</c:v>
                </c:pt>
                <c:pt idx="10">
                  <c:v>0.39</c:v>
                </c:pt>
                <c:pt idx="11">
                  <c:v>0.1</c:v>
                </c:pt>
                <c:pt idx="12">
                  <c:v>0.09</c:v>
                </c:pt>
                <c:pt idx="13">
                  <c:v>0.11</c:v>
                </c:pt>
                <c:pt idx="14">
                  <c:v>0.2</c:v>
                </c:pt>
                <c:pt idx="15">
                  <c:v>0.04</c:v>
                </c:pt>
                <c:pt idx="16">
                  <c:v>0.66</c:v>
                </c:pt>
                <c:pt idx="17">
                  <c:v>0.28000000000000003</c:v>
                </c:pt>
                <c:pt idx="18">
                  <c:v>0.12</c:v>
                </c:pt>
                <c:pt idx="19">
                  <c:v>0.54</c:v>
                </c:pt>
                <c:pt idx="20">
                  <c:v>0.08</c:v>
                </c:pt>
                <c:pt idx="21">
                  <c:v>0.18</c:v>
                </c:pt>
                <c:pt idx="22">
                  <c:v>0.57999999999999996</c:v>
                </c:pt>
              </c:numCache>
            </c:numRef>
          </c:xVal>
          <c:yVal>
            <c:numRef>
              <c:f>Sheet1!$B$2:$B$24</c:f>
              <c:numCache>
                <c:formatCode>General</c:formatCode>
                <c:ptCount val="23"/>
                <c:pt idx="0">
                  <c:v>-3.1501648634580971E-3</c:v>
                </c:pt>
                <c:pt idx="1">
                  <c:v>2.3241114910371979E-2</c:v>
                </c:pt>
                <c:pt idx="2">
                  <c:v>7.466806448024518E-3</c:v>
                </c:pt>
                <c:pt idx="3">
                  <c:v>8.8668748995684499E-2</c:v>
                </c:pt>
                <c:pt idx="4">
                  <c:v>5.2774064766489763E-2</c:v>
                </c:pt>
                <c:pt idx="5">
                  <c:v>0</c:v>
                </c:pt>
                <c:pt idx="6">
                  <c:v>0.30761969864448191</c:v>
                </c:pt>
                <c:pt idx="7">
                  <c:v>0.51574226266527767</c:v>
                </c:pt>
                <c:pt idx="8">
                  <c:v>2.544677609624418E-2</c:v>
                </c:pt>
                <c:pt idx="9">
                  <c:v>0</c:v>
                </c:pt>
                <c:pt idx="10">
                  <c:v>0.34414640922837508</c:v>
                </c:pt>
                <c:pt idx="11">
                  <c:v>2.1416509932592909E-3</c:v>
                </c:pt>
                <c:pt idx="12">
                  <c:v>0</c:v>
                </c:pt>
                <c:pt idx="13">
                  <c:v>0</c:v>
                </c:pt>
                <c:pt idx="14">
                  <c:v>0.44487093777620862</c:v>
                </c:pt>
                <c:pt idx="15">
                  <c:v>0</c:v>
                </c:pt>
                <c:pt idx="16">
                  <c:v>2.6263570540763248</c:v>
                </c:pt>
                <c:pt idx="17">
                  <c:v>0</c:v>
                </c:pt>
                <c:pt idx="18">
                  <c:v>0</c:v>
                </c:pt>
                <c:pt idx="19">
                  <c:v>0.47733985130868722</c:v>
                </c:pt>
                <c:pt idx="20">
                  <c:v>0</c:v>
                </c:pt>
                <c:pt idx="21">
                  <c:v>0</c:v>
                </c:pt>
                <c:pt idx="22">
                  <c:v>0.73606328906378093</c:v>
                </c:pt>
              </c:numCache>
            </c:numRef>
          </c:yVal>
          <c:smooth val="0"/>
          <c:extLst>
            <c:ext xmlns:c15="http://schemas.microsoft.com/office/drawing/2012/chart" uri="{02D57815-91ED-43cb-92C2-25804820EDAC}">
              <c15:datalabelsRange>
                <c15:f>Sheet1!$E$2:$E$51</c15:f>
                <c15:dlblRangeCache>
                  <c:ptCount val="50"/>
                  <c:pt idx="0">
                    <c:v>GILLETTE FUSION 5 PROGLIDE 5 BLADE REFILL NORMAL 12CT</c:v>
                  </c:pt>
                  <c:pt idx="1">
                    <c:v>HYDRO 5 SENSITIVE 5 BLADE REFILL SENSITIVE 6CT</c:v>
                  </c:pt>
                  <c:pt idx="2">
                    <c:v>GILLETTE FUSION 5 PROGLIDE 5 BLADE REFILL NORMAL 8CT</c:v>
                  </c:pt>
                  <c:pt idx="3">
                    <c:v>HYDRO 5 SENSITIVE 5 BLADE REFILL SENSITIVE 12CT</c:v>
                  </c:pt>
                  <c:pt idx="4">
                    <c:v>DOLLAR SHAVE CLUB 6 BLADE REFILL NORMAL 4CT</c:v>
                  </c:pt>
                  <c:pt idx="5">
                    <c:v>GILLETTE FUSION 5 5 BLADE REFILL NORMAL 8CT</c:v>
                  </c:pt>
                  <c:pt idx="6">
                    <c:v>GILLETTE MACH 3 3 BLADE REFILL NORMAL 12CT</c:v>
                  </c:pt>
                  <c:pt idx="7">
                    <c:v>GILLETTE LABS 5 BLADE REFILL NORMAL 6CT</c:v>
                  </c:pt>
                  <c:pt idx="8">
                    <c:v>DOLLAR SHAVE CLUB 6 BLADE REFILL NORMAL 8CT</c:v>
                  </c:pt>
                  <c:pt idx="9">
                    <c:v>HARRY'S 5 BLADE REFILL NORMAL 4CT</c:v>
                  </c:pt>
                  <c:pt idx="10">
                    <c:v>EQUATE EASY FIT 5 5 BLADE REFILL NORMAL 8CT</c:v>
                  </c:pt>
                  <c:pt idx="11">
                    <c:v>EQUATE EASY FIT 5 5 BLADE REFILL NORMAL 4CT</c:v>
                  </c:pt>
                  <c:pt idx="12">
                    <c:v>HARRY'S 5 BLADE REFILL NORMAL 8CT</c:v>
                  </c:pt>
                  <c:pt idx="13">
                    <c:v>GILLETTE MACH 3 3 BLADE REFILL NORMAL 8CT</c:v>
                  </c:pt>
                  <c:pt idx="14">
                    <c:v>EQUATE EASY FIT 5 5 BLADE REFILL NORMAL 12CT</c:v>
                  </c:pt>
                  <c:pt idx="15">
                    <c:v>GILLETTE FUSION 5 5 BLADE REFILL NORMAL 4CT</c:v>
                  </c:pt>
                  <c:pt idx="16">
                    <c:v>GILLETTE INTIMATE 5 BLADE REFILL NORMAL 4CT</c:v>
                  </c:pt>
                  <c:pt idx="17">
                    <c:v>GILLETTE FUSION 5 5 BLADE REFILL NORMAL 12CT</c:v>
                  </c:pt>
                  <c:pt idx="18">
                    <c:v>HARRY'S 5 BLADE REFILL NORMAL 12CT</c:v>
                  </c:pt>
                  <c:pt idx="19">
                    <c:v>GILLETTE SKINGUARD 2 BLADE REFILL SENSITIVE 8CT</c:v>
                  </c:pt>
                  <c:pt idx="20">
                    <c:v>GILLETTE MACH 3 3 BLADE REFILL NORMAL 4CT</c:v>
                  </c:pt>
                  <c:pt idx="21">
                    <c:v>GILLETTE MACH 3 3 BLADE REFILL NORMAL 15CT</c:v>
                  </c:pt>
                  <c:pt idx="22">
                    <c:v>SCHICK HYDRO 3 SENSITIVE 3 BLADE REFILL SENSITIVE 5CT</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max val="0.79200000000000004"/>
          <c:min val="8.0000000000000002E-3"/>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max val="3.1516284648915898"/>
          <c:min val="-2.5201318907664776E-3"/>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fld id="{1261B389-1143-43D0-A064-0EBF4FF18F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fld id="{C434F609-40B2-47E4-A6AB-ECE59AB9B3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E4B-4312-8F62-0B51F9A74EE8}"/>
                </c:ext>
              </c:extLst>
            </c:dLbl>
            <c:dLbl>
              <c:idx val="2"/>
              <c:tx>
                <c:rich>
                  <a:bodyPr/>
                  <a:lstStyle/>
                  <a:p>
                    <a:fld id="{2ACB67BA-0767-428C-A44F-BC1663BC8CB5}" type="CELLRANGE">
                      <a:rPr lang="en-US" dirty="0">
                        <a:solidFill>
                          <a:schemeClr val="tx2"/>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r>
                      <a:t>4</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3363-48D8-B751-EA6AD3438C92}"/>
                </c:ext>
              </c:extLst>
            </c:dLbl>
            <c:dLbl>
              <c:idx val="4"/>
              <c:tx>
                <c:rich>
                  <a:bodyPr/>
                  <a:lstStyle/>
                  <a:p>
                    <a:fld id="{51D54A2B-D977-4EC2-8F43-98FB7A6033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3363-48D8-B751-EA6AD3438C92}"/>
                </c:ext>
              </c:extLst>
            </c:dLbl>
            <c:dLbl>
              <c:idx val="5"/>
              <c:tx>
                <c:rich>
                  <a:bodyPr/>
                  <a:lstStyle/>
                  <a:p>
                    <a:fld id="{6AE656EA-3CF7-43CA-B803-13C942024E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3363-48D8-B751-EA6AD3438C92}"/>
                </c:ext>
              </c:extLst>
            </c:dLbl>
            <c:dLbl>
              <c:idx val="6"/>
              <c:tx>
                <c:rich>
                  <a:bodyPr/>
                  <a:lstStyle/>
                  <a:p>
                    <a:fld id="{FC9C6E21-6A13-4EFB-BF56-925FC2EA6E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3363-48D8-B751-EA6AD3438C92}"/>
                </c:ext>
              </c:extLst>
            </c:dLbl>
            <c:dLbl>
              <c:idx val="7"/>
              <c:tx>
                <c:rich>
                  <a:bodyPr/>
                  <a:lstStyle/>
                  <a:p>
                    <a:fld id="{0A84341D-3C0E-419D-91A0-9EF9014FD1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3363-48D8-B751-EA6AD3438C92}"/>
                </c:ext>
              </c:extLst>
            </c:dLbl>
            <c:dLbl>
              <c:idx val="8"/>
              <c:tx>
                <c:rich>
                  <a:bodyPr/>
                  <a:lstStyle/>
                  <a:p>
                    <a:fld id="{287D09DA-732C-40D8-B99A-91CE0CBB32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3363-48D8-B751-EA6AD3438C92}"/>
                </c:ext>
              </c:extLst>
            </c:dLbl>
            <c:dLbl>
              <c:idx val="9"/>
              <c:tx>
                <c:rich>
                  <a:bodyPr/>
                  <a:lstStyle/>
                  <a:p>
                    <a:fld id="{1C01BED5-A36E-44D7-A9CB-9EFA19DBFB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3363-48D8-B751-EA6AD3438C92}"/>
                </c:ext>
              </c:extLst>
            </c:dLbl>
            <c:dLbl>
              <c:idx val="10"/>
              <c:tx>
                <c:rich>
                  <a:bodyPr/>
                  <a:lstStyle/>
                  <a:p>
                    <a:fld id="{7646ED1E-1419-4487-9192-8092B646C8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3363-48D8-B751-EA6AD3438C92}"/>
                </c:ext>
              </c:extLst>
            </c:dLbl>
            <c:dLbl>
              <c:idx val="11"/>
              <c:tx>
                <c:rich>
                  <a:bodyPr/>
                  <a:lstStyle/>
                  <a:p>
                    <a:fld id="{D10770FD-0E90-4DF0-B0AA-AC7707DB5F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3363-48D8-B751-EA6AD3438C92}"/>
                </c:ext>
              </c:extLst>
            </c:dLbl>
            <c:dLbl>
              <c:idx val="12"/>
              <c:tx>
                <c:rich>
                  <a:bodyPr/>
                  <a:lstStyle/>
                  <a:p>
                    <a:fld id="{9EA08F90-25EC-4A82-B8A7-44FF7EFB2C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3363-48D8-B751-EA6AD3438C92}"/>
                </c:ext>
              </c:extLst>
            </c:dLbl>
            <c:dLbl>
              <c:idx val="13"/>
              <c:tx>
                <c:rich>
                  <a:bodyPr/>
                  <a:lstStyle/>
                  <a:p>
                    <a:fld id="{C46931C6-5066-42E4-8359-82020E4914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3363-48D8-B751-EA6AD3438C92}"/>
                </c:ext>
              </c:extLst>
            </c:dLbl>
            <c:dLbl>
              <c:idx val="14"/>
              <c:tx>
                <c:rich>
                  <a:bodyPr/>
                  <a:lstStyle/>
                  <a:p>
                    <a:fld id="{DDAF1EFC-EA9B-488E-A92C-98A0FD61E5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3363-48D8-B751-EA6AD3438C92}"/>
                </c:ext>
              </c:extLst>
            </c:dLbl>
            <c:dLbl>
              <c:idx val="15"/>
              <c:tx>
                <c:rich>
                  <a:bodyPr/>
                  <a:lstStyle/>
                  <a:p>
                    <a:fld id="{09FAB365-D15D-4302-93BF-9C6DCFD112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3363-48D8-B751-EA6AD3438C92}"/>
                </c:ext>
              </c:extLst>
            </c:dLbl>
            <c:dLbl>
              <c:idx val="16"/>
              <c:tx>
                <c:rich>
                  <a:bodyPr/>
                  <a:lstStyle/>
                  <a:p>
                    <a:fld id="{B04EAD87-6062-4A17-AE1E-9E999AB9B0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3363-48D8-B751-EA6AD3438C92}"/>
                </c:ext>
              </c:extLst>
            </c:dLbl>
            <c:dLbl>
              <c:idx val="17"/>
              <c:tx>
                <c:rich>
                  <a:bodyPr/>
                  <a:lstStyle/>
                  <a:p>
                    <a:fld id="{00EFB7EC-EE31-4EE6-9DDF-0EB48F0511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3363-48D8-B751-EA6AD3438C92}"/>
                </c:ext>
              </c:extLst>
            </c:dLbl>
            <c:dLbl>
              <c:idx val="18"/>
              <c:tx>
                <c:rich>
                  <a:bodyPr/>
                  <a:lstStyle/>
                  <a:p>
                    <a:fld id="{2408FD9D-6D51-4F84-812F-C7818C1912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3363-48D8-B751-EA6AD3438C92}"/>
                </c:ext>
              </c:extLst>
            </c:dLbl>
            <c:dLbl>
              <c:idx val="19"/>
              <c:tx>
                <c:rich>
                  <a:bodyPr/>
                  <a:lstStyle/>
                  <a:p>
                    <a:fld id="{47964277-113C-4E9B-9EED-86F7058855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3363-48D8-B751-EA6AD3438C92}"/>
                </c:ext>
              </c:extLst>
            </c:dLbl>
            <c:dLbl>
              <c:idx val="20"/>
              <c:tx>
                <c:rich>
                  <a:bodyPr/>
                  <a:lstStyle/>
                  <a:p>
                    <a:fld id="{BD00BF08-F1CD-458C-9853-3B2BBA9323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3363-48D8-B751-EA6AD3438C92}"/>
                </c:ext>
              </c:extLst>
            </c:dLbl>
            <c:dLbl>
              <c:idx val="21"/>
              <c:tx>
                <c:rich>
                  <a:bodyPr/>
                  <a:lstStyle/>
                  <a:p>
                    <a:fld id="{C8BDABBD-F5DF-4694-AE45-C982AABB4D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3363-48D8-B751-EA6AD3438C92}"/>
                </c:ext>
              </c:extLst>
            </c:dLbl>
            <c:dLbl>
              <c:idx val="22"/>
              <c:tx>
                <c:rich>
                  <a:bodyPr/>
                  <a:lstStyle/>
                  <a:p>
                    <a:fld id="{CE85B69D-1BF7-46B2-8616-ED4B9E5B9E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3363-48D8-B751-EA6AD3438C92}"/>
                </c:ext>
              </c:extLst>
            </c:dLbl>
            <c:dLbl>
              <c:idx val="23"/>
              <c:tx>
                <c:rich>
                  <a:bodyPr/>
                  <a:lstStyle/>
                  <a:p>
                    <a:fld id="{9726728E-F436-4B07-9B59-49F845359A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3363-48D8-B751-EA6AD3438C92}"/>
                </c:ext>
              </c:extLst>
            </c:dLbl>
            <c:dLbl>
              <c:idx val="24"/>
              <c:tx>
                <c:rich>
                  <a:bodyPr/>
                  <a:lstStyle/>
                  <a:p>
                    <a:fld id="{1346903E-40E0-4297-B1C5-7B09089DAC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3363-48D8-B751-EA6AD3438C92}"/>
                </c:ext>
              </c:extLst>
            </c:dLbl>
            <c:dLbl>
              <c:idx val="25"/>
              <c:tx>
                <c:rich>
                  <a:bodyPr/>
                  <a:lstStyle/>
                  <a:p>
                    <a:fld id="{5EAFF444-8EE7-4E6D-90A4-D6510A0242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3363-48D8-B751-EA6AD3438C92}"/>
                </c:ext>
              </c:extLst>
            </c:dLbl>
            <c:dLbl>
              <c:idx val="26"/>
              <c:tx>
                <c:rich>
                  <a:bodyPr/>
                  <a:lstStyle/>
                  <a:p>
                    <a:fld id="{B52DC5E6-B1FF-470C-977A-500E732F6D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3363-48D8-B751-EA6AD3438C92}"/>
                </c:ext>
              </c:extLst>
            </c:dLbl>
            <c:dLbl>
              <c:idx val="27"/>
              <c:tx>
                <c:rich>
                  <a:bodyPr/>
                  <a:lstStyle/>
                  <a:p>
                    <a:fld id="{072C0B3C-E62B-45FE-8E7C-A10BBBBF2F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3363-48D8-B751-EA6AD3438C92}"/>
                </c:ext>
              </c:extLst>
            </c:dLbl>
            <c:dLbl>
              <c:idx val="28"/>
              <c:tx>
                <c:rich>
                  <a:bodyPr/>
                  <a:lstStyle/>
                  <a:p>
                    <a:fld id="{3A45D4A9-CA73-465F-9E43-4CE3216575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3363-48D8-B751-EA6AD3438C92}"/>
                </c:ext>
              </c:extLst>
            </c:dLbl>
            <c:dLbl>
              <c:idx val="29"/>
              <c:tx>
                <c:rich>
                  <a:bodyPr/>
                  <a:lstStyle/>
                  <a:p>
                    <a:fld id="{B69C741C-9925-49C7-B8E5-C1D1B7E7CC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3363-48D8-B751-EA6AD3438C92}"/>
                </c:ext>
              </c:extLst>
            </c:dLbl>
            <c:dLbl>
              <c:idx val="30"/>
              <c:tx>
                <c:rich>
                  <a:bodyPr/>
                  <a:lstStyle/>
                  <a:p>
                    <a:fld id="{070CD93F-5B38-463C-8501-D03F069D2B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3363-48D8-B751-EA6AD3438C92}"/>
                </c:ext>
              </c:extLst>
            </c:dLbl>
            <c:dLbl>
              <c:idx val="31"/>
              <c:tx>
                <c:rich>
                  <a:bodyPr/>
                  <a:lstStyle/>
                  <a:p>
                    <a:fld id="{A041792A-E3DF-4363-B101-1455DBB9A2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3363-48D8-B751-EA6AD3438C92}"/>
                </c:ext>
              </c:extLst>
            </c:dLbl>
            <c:dLbl>
              <c:idx val="32"/>
              <c:tx>
                <c:rich>
                  <a:bodyPr/>
                  <a:lstStyle/>
                  <a:p>
                    <a:fld id="{179360CD-8794-498E-A66F-113547E57B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3363-48D8-B751-EA6AD3438C92}"/>
                </c:ext>
              </c:extLst>
            </c:dLbl>
            <c:dLbl>
              <c:idx val="33"/>
              <c:tx>
                <c:rich>
                  <a:bodyPr/>
                  <a:lstStyle/>
                  <a:p>
                    <a:fld id="{A08102B5-C598-43C3-A790-3166514279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3363-48D8-B751-EA6AD3438C92}"/>
                </c:ext>
              </c:extLst>
            </c:dLbl>
            <c:dLbl>
              <c:idx val="34"/>
              <c:tx>
                <c:rich>
                  <a:bodyPr/>
                  <a:lstStyle/>
                  <a:p>
                    <a:fld id="{E658CBA0-CBA1-4AFA-B420-C7461928C1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3363-48D8-B751-EA6AD3438C92}"/>
                </c:ext>
              </c:extLst>
            </c:dLbl>
            <c:dLbl>
              <c:idx val="35"/>
              <c:tx>
                <c:rich>
                  <a:bodyPr/>
                  <a:lstStyle/>
                  <a:p>
                    <a:fld id="{0283C949-67E8-4F6E-9D72-5793F664F6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3363-48D8-B751-EA6AD3438C92}"/>
                </c:ext>
              </c:extLst>
            </c:dLbl>
            <c:dLbl>
              <c:idx val="36"/>
              <c:tx>
                <c:rich>
                  <a:bodyPr/>
                  <a:lstStyle/>
                  <a:p>
                    <a:fld id="{D377750E-41B1-4DA1-80C6-A304AAE409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3363-48D8-B751-EA6AD3438C92}"/>
                </c:ext>
              </c:extLst>
            </c:dLbl>
            <c:dLbl>
              <c:idx val="37"/>
              <c:tx>
                <c:rich>
                  <a:bodyPr/>
                  <a:lstStyle/>
                  <a:p>
                    <a:fld id="{B822EE94-9C32-4F1B-B25C-1703D72456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3363-48D8-B751-EA6AD3438C92}"/>
                </c:ext>
              </c:extLst>
            </c:dLbl>
            <c:dLbl>
              <c:idx val="38"/>
              <c:tx>
                <c:rich>
                  <a:bodyPr/>
                  <a:lstStyle/>
                  <a:p>
                    <a:fld id="{56154D1C-D067-400C-A817-51D8E0DDCC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3363-48D8-B751-EA6AD3438C92}"/>
                </c:ext>
              </c:extLst>
            </c:dLbl>
            <c:dLbl>
              <c:idx val="39"/>
              <c:tx>
                <c:rich>
                  <a:bodyPr/>
                  <a:lstStyle/>
                  <a:p>
                    <a:fld id="{928967CE-43DC-4ABE-9227-7BABBC67AE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3363-48D8-B751-EA6AD3438C92}"/>
                </c:ext>
              </c:extLst>
            </c:dLbl>
            <c:dLbl>
              <c:idx val="40"/>
              <c:tx>
                <c:rich>
                  <a:bodyPr/>
                  <a:lstStyle/>
                  <a:p>
                    <a:fld id="{67412AE4-84E4-49A7-985B-AAECDD948A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3363-48D8-B751-EA6AD3438C92}"/>
                </c:ext>
              </c:extLst>
            </c:dLbl>
            <c:dLbl>
              <c:idx val="41"/>
              <c:tx>
                <c:rich>
                  <a:bodyPr/>
                  <a:lstStyle/>
                  <a:p>
                    <a:fld id="{018D4C89-3D5B-4973-87BD-45F6457E94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3363-48D8-B751-EA6AD3438C92}"/>
                </c:ext>
              </c:extLst>
            </c:dLbl>
            <c:dLbl>
              <c:idx val="42"/>
              <c:tx>
                <c:rich>
                  <a:bodyPr/>
                  <a:lstStyle/>
                  <a:p>
                    <a:fld id="{D5B959CF-586A-4DC0-A267-04FFF9D25E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3363-48D8-B751-EA6AD3438C92}"/>
                </c:ext>
              </c:extLst>
            </c:dLbl>
            <c:dLbl>
              <c:idx val="43"/>
              <c:tx>
                <c:rich>
                  <a:bodyPr/>
                  <a:lstStyle/>
                  <a:p>
                    <a:fld id="{C0B37BEA-34F9-457C-AD61-C00B2B51C7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3363-48D8-B751-EA6AD3438C92}"/>
                </c:ext>
              </c:extLst>
            </c:dLbl>
            <c:dLbl>
              <c:idx val="44"/>
              <c:tx>
                <c:rich>
                  <a:bodyPr/>
                  <a:lstStyle/>
                  <a:p>
                    <a:fld id="{228E5B0C-8A05-4A14-9F8B-451281889D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3363-48D8-B751-EA6AD3438C92}"/>
                </c:ext>
              </c:extLst>
            </c:dLbl>
            <c:dLbl>
              <c:idx val="45"/>
              <c:tx>
                <c:rich>
                  <a:bodyPr/>
                  <a:lstStyle/>
                  <a:p>
                    <a:fld id="{8D0D524D-CCBD-4ED7-98A1-43B1DB6C5B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3363-48D8-B751-EA6AD3438C92}"/>
                </c:ext>
              </c:extLst>
            </c:dLbl>
            <c:dLbl>
              <c:idx val="46"/>
              <c:tx>
                <c:rich>
                  <a:bodyPr/>
                  <a:lstStyle/>
                  <a:p>
                    <a:fld id="{404AB3D7-63B6-4463-8B2C-CEDDA65F60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3363-48D8-B751-EA6AD3438C92}"/>
                </c:ext>
              </c:extLst>
            </c:dLbl>
            <c:dLbl>
              <c:idx val="47"/>
              <c:tx>
                <c:rich>
                  <a:bodyPr/>
                  <a:lstStyle/>
                  <a:p>
                    <a:fld id="{6352E8E8-FB04-4E24-8176-4E8CD3BAAF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86</c:v>
                </c:pt>
                <c:pt idx="1">
                  <c:v>1.9</c:v>
                </c:pt>
                <c:pt idx="2">
                  <c:v>1.33</c:v>
                </c:pt>
                <c:pt idx="3">
                  <c:v>0.85</c:v>
                </c:pt>
              </c:numCache>
            </c:numRef>
          </c:xVal>
          <c:yVal>
            <c:numRef>
              <c:f>Sheet1!$B$2:$B$5</c:f>
              <c:numCache>
                <c:formatCode>General</c:formatCode>
                <c:ptCount val="4"/>
                <c:pt idx="0">
                  <c:v>0.27278666274240682</c:v>
                </c:pt>
                <c:pt idx="1">
                  <c:v>0.23068760673495251</c:v>
                </c:pt>
                <c:pt idx="2">
                  <c:v>0.17726400795922281</c:v>
                </c:pt>
                <c:pt idx="3">
                  <c:v>0.23981625564092451</c:v>
                </c:pt>
              </c:numCache>
            </c:numRef>
          </c:yVal>
          <c:bubbleSize>
            <c:numRef>
              <c:f>Sheet1!$C$2:$C$5</c:f>
              <c:numCache>
                <c:formatCode>General</c:formatCode>
                <c:ptCount val="4"/>
                <c:pt idx="0">
                  <c:v>25406313</c:v>
                </c:pt>
                <c:pt idx="1">
                  <c:v>8454937</c:v>
                </c:pt>
                <c:pt idx="2">
                  <c:v>9284787</c:v>
                </c:pt>
                <c:pt idx="3">
                  <c:v>5674749</c:v>
                </c:pt>
              </c:numCache>
            </c:numRef>
          </c:bubbleSize>
          <c:bubble3D val="0"/>
          <c:extLst>
            <c:ext xmlns:c15="http://schemas.microsoft.com/office/drawing/2012/chart" uri="{02D57815-91ED-43cb-92C2-25804820EDAC}">
              <c15:datalabelsRange>
                <c15:f>Sheet1!$E$2:$E$49</c15:f>
                <c15:dlblRangeCache>
                  <c:ptCount val="48"/>
                  <c:pt idx="0">
                    <c:v>1</c:v>
                  </c:pt>
                  <c:pt idx="1">
                    <c:v>2</c:v>
                  </c:pt>
                  <c:pt idx="2">
                    <c:v>3</c:v>
                  </c:pt>
                  <c:pt idx="3">
                    <c:v>4</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At val="1"/>
        <c:crossBetween val="midCat"/>
      </c:valAx>
      <c:valAx>
        <c:axId val="1011451359"/>
        <c:scaling>
          <c:orientation val="minMax"/>
          <c:max val="1.2"/>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At val="1.4849999999999999"/>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fld id="{F226D29D-1529-4766-AA7A-6A412887B8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fld id="{784F62F3-579A-4DF3-9FA9-10678937F4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E4B-4312-8F62-0B51F9A74EE8}"/>
                </c:ext>
              </c:extLst>
            </c:dLbl>
            <c:dLbl>
              <c:idx val="2"/>
              <c:tx>
                <c:rich>
                  <a:bodyPr/>
                  <a:lstStyle/>
                  <a:p>
                    <a:fld id="{2ACB67BA-0767-428C-A44F-BC1663BC8CB5}" type="CELLRANGE">
                      <a:rPr lang="en-US" dirty="0">
                        <a:solidFill>
                          <a:schemeClr val="tx2"/>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18F558BF-521C-4152-A103-50F3A53C29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63-48D8-B751-EA6AD3438C92}"/>
                </c:ext>
              </c:extLst>
            </c:dLbl>
            <c:dLbl>
              <c:idx val="4"/>
              <c:tx>
                <c:rich>
                  <a:bodyPr/>
                  <a:lstStyle/>
                  <a:p>
                    <a:fld id="{19A5E0A5-2363-42AC-B524-AE08A9E62E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363-48D8-B751-EA6AD3438C92}"/>
                </c:ext>
              </c:extLst>
            </c:dLbl>
            <c:dLbl>
              <c:idx val="5"/>
              <c:tx>
                <c:rich>
                  <a:bodyPr/>
                  <a:lstStyle/>
                  <a:p>
                    <a:fld id="{6C2B5ABF-ADFB-4262-AAA6-1EF536E32C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3363-48D8-B751-EA6AD3438C92}"/>
                </c:ext>
              </c:extLst>
            </c:dLbl>
            <c:dLbl>
              <c:idx val="6"/>
              <c:tx>
                <c:rich>
                  <a:bodyPr/>
                  <a:lstStyle/>
                  <a:p>
                    <a:fld id="{8B1ADAFC-27EB-4755-A62D-E7F4CE0A70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3363-48D8-B751-EA6AD3438C92}"/>
                </c:ext>
              </c:extLst>
            </c:dLbl>
            <c:dLbl>
              <c:idx val="7"/>
              <c:tx>
                <c:rich>
                  <a:bodyPr/>
                  <a:lstStyle/>
                  <a:p>
                    <a:fld id="{254379E8-DA4A-496E-9066-5C2A1DF96B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3363-48D8-B751-EA6AD3438C92}"/>
                </c:ext>
              </c:extLst>
            </c:dLbl>
            <c:dLbl>
              <c:idx val="8"/>
              <c:tx>
                <c:rich>
                  <a:bodyPr/>
                  <a:lstStyle/>
                  <a:p>
                    <a:fld id="{ADACB85B-8DED-4161-AABC-13DBD9B89E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3363-48D8-B751-EA6AD3438C92}"/>
                </c:ext>
              </c:extLst>
            </c:dLbl>
            <c:dLbl>
              <c:idx val="9"/>
              <c:tx>
                <c:rich>
                  <a:bodyPr/>
                  <a:lstStyle/>
                  <a:p>
                    <a:fld id="{E0312684-C90C-4FFC-AE4B-0DD0C8E4C6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3363-48D8-B751-EA6AD3438C92}"/>
                </c:ext>
              </c:extLst>
            </c:dLbl>
            <c:dLbl>
              <c:idx val="10"/>
              <c:tx>
                <c:rich>
                  <a:bodyPr/>
                  <a:lstStyle/>
                  <a:p>
                    <a:fld id="{EF0888EC-D4AC-4C5A-A297-F66223F5AB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3363-48D8-B751-EA6AD3438C92}"/>
                </c:ext>
              </c:extLst>
            </c:dLbl>
            <c:dLbl>
              <c:idx val="11"/>
              <c:tx>
                <c:rich>
                  <a:bodyPr/>
                  <a:lstStyle/>
                  <a:p>
                    <a:fld id="{7C44A075-7D5B-4F2B-BB61-88EF16940C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3363-48D8-B751-EA6AD3438C92}"/>
                </c:ext>
              </c:extLst>
            </c:dLbl>
            <c:dLbl>
              <c:idx val="12"/>
              <c:tx>
                <c:rich>
                  <a:bodyPr/>
                  <a:lstStyle/>
                  <a:p>
                    <a:fld id="{4E6BC790-B10C-48A6-854F-8B146173D0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3363-48D8-B751-EA6AD3438C92}"/>
                </c:ext>
              </c:extLst>
            </c:dLbl>
            <c:dLbl>
              <c:idx val="13"/>
              <c:tx>
                <c:rich>
                  <a:bodyPr/>
                  <a:lstStyle/>
                  <a:p>
                    <a:fld id="{3618A97B-BAB2-49B0-9413-BC19562D7D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3363-48D8-B751-EA6AD3438C92}"/>
                </c:ext>
              </c:extLst>
            </c:dLbl>
            <c:dLbl>
              <c:idx val="14"/>
              <c:tx>
                <c:rich>
                  <a:bodyPr/>
                  <a:lstStyle/>
                  <a:p>
                    <a:fld id="{A41084F9-2FFF-471D-9CE2-00C019B801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3363-48D8-B751-EA6AD3438C92}"/>
                </c:ext>
              </c:extLst>
            </c:dLbl>
            <c:dLbl>
              <c:idx val="15"/>
              <c:tx>
                <c:rich>
                  <a:bodyPr/>
                  <a:lstStyle/>
                  <a:p>
                    <a:r>
                      <a:t>16</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3363-48D8-B751-EA6AD3438C92}"/>
                </c:ext>
              </c:extLst>
            </c:dLbl>
            <c:dLbl>
              <c:idx val="16"/>
              <c:tx>
                <c:rich>
                  <a:bodyPr/>
                  <a:lstStyle/>
                  <a:p>
                    <a:fld id="{D18326F1-0356-4E16-B884-8DB37FF585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3363-48D8-B751-EA6AD3438C92}"/>
                </c:ext>
              </c:extLst>
            </c:dLbl>
            <c:dLbl>
              <c:idx val="17"/>
              <c:tx>
                <c:rich>
                  <a:bodyPr/>
                  <a:lstStyle/>
                  <a:p>
                    <a:fld id="{D05C2522-2060-4CAA-93E1-51A8BDF9FD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3363-48D8-B751-EA6AD3438C92}"/>
                </c:ext>
              </c:extLst>
            </c:dLbl>
            <c:dLbl>
              <c:idx val="18"/>
              <c:tx>
                <c:rich>
                  <a:bodyPr/>
                  <a:lstStyle/>
                  <a:p>
                    <a:fld id="{CFA8949E-F3A3-49C1-B291-96EFEE8D46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3363-48D8-B751-EA6AD3438C92}"/>
                </c:ext>
              </c:extLst>
            </c:dLbl>
            <c:dLbl>
              <c:idx val="19"/>
              <c:tx>
                <c:rich>
                  <a:bodyPr/>
                  <a:lstStyle/>
                  <a:p>
                    <a:fld id="{765EB0FD-C410-4860-95FB-D0C9603BD1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3363-48D8-B751-EA6AD3438C92}"/>
                </c:ext>
              </c:extLst>
            </c:dLbl>
            <c:dLbl>
              <c:idx val="20"/>
              <c:tx>
                <c:rich>
                  <a:bodyPr/>
                  <a:lstStyle/>
                  <a:p>
                    <a:fld id="{1AD93919-FB7D-49BE-AD30-F69D7EDD0A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3363-48D8-B751-EA6AD3438C92}"/>
                </c:ext>
              </c:extLst>
            </c:dLbl>
            <c:dLbl>
              <c:idx val="21"/>
              <c:tx>
                <c:rich>
                  <a:bodyPr/>
                  <a:lstStyle/>
                  <a:p>
                    <a:fld id="{E0F9B4FE-1450-4F48-B0D3-7C0F5C41A2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3363-48D8-B751-EA6AD3438C92}"/>
                </c:ext>
              </c:extLst>
            </c:dLbl>
            <c:dLbl>
              <c:idx val="22"/>
              <c:tx>
                <c:rich>
                  <a:bodyPr/>
                  <a:lstStyle/>
                  <a:p>
                    <a:fld id="{ED96330A-9DFA-490C-8825-073691CE32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3363-48D8-B751-EA6AD3438C92}"/>
                </c:ext>
              </c:extLst>
            </c:dLbl>
            <c:dLbl>
              <c:idx val="23"/>
              <c:tx>
                <c:rich>
                  <a:bodyPr/>
                  <a:lstStyle/>
                  <a:p>
                    <a:fld id="{08229C08-0133-4349-80B7-20326F984B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3363-48D8-B751-EA6AD3438C92}"/>
                </c:ext>
              </c:extLst>
            </c:dLbl>
            <c:dLbl>
              <c:idx val="24"/>
              <c:tx>
                <c:rich>
                  <a:bodyPr/>
                  <a:lstStyle/>
                  <a:p>
                    <a:fld id="{A0F06459-EC98-4BC0-B80E-24A8F9A1EC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3363-48D8-B751-EA6AD3438C92}"/>
                </c:ext>
              </c:extLst>
            </c:dLbl>
            <c:dLbl>
              <c:idx val="25"/>
              <c:tx>
                <c:rich>
                  <a:bodyPr/>
                  <a:lstStyle/>
                  <a:p>
                    <a:fld id="{C4314256-598E-4400-B7DC-9360405C7F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3363-48D8-B751-EA6AD3438C92}"/>
                </c:ext>
              </c:extLst>
            </c:dLbl>
            <c:dLbl>
              <c:idx val="26"/>
              <c:tx>
                <c:rich>
                  <a:bodyPr/>
                  <a:lstStyle/>
                  <a:p>
                    <a:fld id="{4C21E6D5-1887-4F7A-BAE5-4047D524E5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3363-48D8-B751-EA6AD3438C92}"/>
                </c:ext>
              </c:extLst>
            </c:dLbl>
            <c:dLbl>
              <c:idx val="27"/>
              <c:tx>
                <c:rich>
                  <a:bodyPr/>
                  <a:lstStyle/>
                  <a:p>
                    <a:fld id="{EB524309-0580-4643-BBEF-594407026C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3363-48D8-B751-EA6AD3438C92}"/>
                </c:ext>
              </c:extLst>
            </c:dLbl>
            <c:dLbl>
              <c:idx val="28"/>
              <c:tx>
                <c:rich>
                  <a:bodyPr/>
                  <a:lstStyle/>
                  <a:p>
                    <a:fld id="{ADAD648D-3146-4BF5-8845-3FEE05C950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3363-48D8-B751-EA6AD3438C92}"/>
                </c:ext>
              </c:extLst>
            </c:dLbl>
            <c:dLbl>
              <c:idx val="29"/>
              <c:tx>
                <c:rich>
                  <a:bodyPr/>
                  <a:lstStyle/>
                  <a:p>
                    <a:fld id="{4774EB6E-41B9-4219-ABFC-E3D0089407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3363-48D8-B751-EA6AD3438C92}"/>
                </c:ext>
              </c:extLst>
            </c:dLbl>
            <c:dLbl>
              <c:idx val="30"/>
              <c:tx>
                <c:rich>
                  <a:bodyPr/>
                  <a:lstStyle/>
                  <a:p>
                    <a:fld id="{3824B23A-ACEC-4327-BAF1-9578772539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3363-48D8-B751-EA6AD3438C92}"/>
                </c:ext>
              </c:extLst>
            </c:dLbl>
            <c:dLbl>
              <c:idx val="31"/>
              <c:tx>
                <c:rich>
                  <a:bodyPr/>
                  <a:lstStyle/>
                  <a:p>
                    <a:fld id="{A0049E25-1BBA-4C95-A9EF-ACCC770478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3363-48D8-B751-EA6AD3438C92}"/>
                </c:ext>
              </c:extLst>
            </c:dLbl>
            <c:dLbl>
              <c:idx val="32"/>
              <c:tx>
                <c:rich>
                  <a:bodyPr/>
                  <a:lstStyle/>
                  <a:p>
                    <a:fld id="{BD3222D3-EE85-47C9-B0DC-678D3BD804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3363-48D8-B751-EA6AD3438C92}"/>
                </c:ext>
              </c:extLst>
            </c:dLbl>
            <c:dLbl>
              <c:idx val="33"/>
              <c:tx>
                <c:rich>
                  <a:bodyPr/>
                  <a:lstStyle/>
                  <a:p>
                    <a:fld id="{C8F2F00B-9081-4E1B-96D5-EA181236B5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3363-48D8-B751-EA6AD3438C92}"/>
                </c:ext>
              </c:extLst>
            </c:dLbl>
            <c:dLbl>
              <c:idx val="34"/>
              <c:tx>
                <c:rich>
                  <a:bodyPr/>
                  <a:lstStyle/>
                  <a:p>
                    <a:fld id="{07B63FA8-BAD9-4BCB-ADB9-E685827082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3363-48D8-B751-EA6AD3438C92}"/>
                </c:ext>
              </c:extLst>
            </c:dLbl>
            <c:dLbl>
              <c:idx val="35"/>
              <c:tx>
                <c:rich>
                  <a:bodyPr/>
                  <a:lstStyle/>
                  <a:p>
                    <a:fld id="{E142E807-9E0B-48FD-B571-26DE042A0B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3363-48D8-B751-EA6AD3438C92}"/>
                </c:ext>
              </c:extLst>
            </c:dLbl>
            <c:dLbl>
              <c:idx val="36"/>
              <c:tx>
                <c:rich>
                  <a:bodyPr/>
                  <a:lstStyle/>
                  <a:p>
                    <a:fld id="{1FD6FE6D-C01D-4E53-BFC6-F8CC07A43A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3363-48D8-B751-EA6AD3438C92}"/>
                </c:ext>
              </c:extLst>
            </c:dLbl>
            <c:dLbl>
              <c:idx val="37"/>
              <c:tx>
                <c:rich>
                  <a:bodyPr/>
                  <a:lstStyle/>
                  <a:p>
                    <a:fld id="{C1B45820-D74D-4847-A994-B3ADF56EDD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3363-48D8-B751-EA6AD3438C92}"/>
                </c:ext>
              </c:extLst>
            </c:dLbl>
            <c:dLbl>
              <c:idx val="38"/>
              <c:tx>
                <c:rich>
                  <a:bodyPr/>
                  <a:lstStyle/>
                  <a:p>
                    <a:fld id="{E5852DD5-708B-4984-9EFE-C392B4D66B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3363-48D8-B751-EA6AD3438C92}"/>
                </c:ext>
              </c:extLst>
            </c:dLbl>
            <c:dLbl>
              <c:idx val="39"/>
              <c:tx>
                <c:rich>
                  <a:bodyPr/>
                  <a:lstStyle/>
                  <a:p>
                    <a:fld id="{89EB96B6-E6B7-40CA-8E04-333FD57727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3363-48D8-B751-EA6AD3438C92}"/>
                </c:ext>
              </c:extLst>
            </c:dLbl>
            <c:dLbl>
              <c:idx val="40"/>
              <c:tx>
                <c:rich>
                  <a:bodyPr/>
                  <a:lstStyle/>
                  <a:p>
                    <a:fld id="{1C2BDC58-2D16-4F23-913A-2D33A7351B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3363-48D8-B751-EA6AD3438C92}"/>
                </c:ext>
              </c:extLst>
            </c:dLbl>
            <c:dLbl>
              <c:idx val="41"/>
              <c:tx>
                <c:rich>
                  <a:bodyPr/>
                  <a:lstStyle/>
                  <a:p>
                    <a:fld id="{DCBEC16E-6E73-4B75-AAEF-AF2037BD15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3363-48D8-B751-EA6AD3438C92}"/>
                </c:ext>
              </c:extLst>
            </c:dLbl>
            <c:dLbl>
              <c:idx val="42"/>
              <c:tx>
                <c:rich>
                  <a:bodyPr/>
                  <a:lstStyle/>
                  <a:p>
                    <a:fld id="{C702E23C-8EF3-4376-BB81-40C4CBC708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3363-48D8-B751-EA6AD3438C92}"/>
                </c:ext>
              </c:extLst>
            </c:dLbl>
            <c:dLbl>
              <c:idx val="43"/>
              <c:tx>
                <c:rich>
                  <a:bodyPr/>
                  <a:lstStyle/>
                  <a:p>
                    <a:fld id="{0BD643A9-C8F0-428D-AABD-A312177117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3363-48D8-B751-EA6AD3438C92}"/>
                </c:ext>
              </c:extLst>
            </c:dLbl>
            <c:dLbl>
              <c:idx val="44"/>
              <c:tx>
                <c:rich>
                  <a:bodyPr/>
                  <a:lstStyle/>
                  <a:p>
                    <a:fld id="{220EC772-756B-435E-991F-DFFB66ADB7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3363-48D8-B751-EA6AD3438C92}"/>
                </c:ext>
              </c:extLst>
            </c:dLbl>
            <c:dLbl>
              <c:idx val="45"/>
              <c:tx>
                <c:rich>
                  <a:bodyPr/>
                  <a:lstStyle/>
                  <a:p>
                    <a:fld id="{9915F49E-F9EB-4B91-8E1B-F0E3ECD5B8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3363-48D8-B751-EA6AD3438C92}"/>
                </c:ext>
              </c:extLst>
            </c:dLbl>
            <c:dLbl>
              <c:idx val="46"/>
              <c:tx>
                <c:rich>
                  <a:bodyPr/>
                  <a:lstStyle/>
                  <a:p>
                    <a:fld id="{AA2623AF-3CF0-4136-8963-0C2DB98C88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3363-48D8-B751-EA6AD3438C92}"/>
                </c:ext>
              </c:extLst>
            </c:dLbl>
            <c:dLbl>
              <c:idx val="47"/>
              <c:tx>
                <c:rich>
                  <a:bodyPr/>
                  <a:lstStyle/>
                  <a:p>
                    <a:fld id="{39FF8B4A-3E3E-43E7-8AA9-C0D48E0101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7</c:f>
              <c:numCache>
                <c:formatCode>General</c:formatCode>
                <c:ptCount val="16"/>
                <c:pt idx="0">
                  <c:v>1.5</c:v>
                </c:pt>
                <c:pt idx="1">
                  <c:v>1.75</c:v>
                </c:pt>
                <c:pt idx="2">
                  <c:v>1.65</c:v>
                </c:pt>
                <c:pt idx="3">
                  <c:v>1.32</c:v>
                </c:pt>
                <c:pt idx="4">
                  <c:v>1.62</c:v>
                </c:pt>
                <c:pt idx="5">
                  <c:v>1.38</c:v>
                </c:pt>
                <c:pt idx="6">
                  <c:v>0.93</c:v>
                </c:pt>
                <c:pt idx="7">
                  <c:v>0.65</c:v>
                </c:pt>
                <c:pt idx="8">
                  <c:v>1.45</c:v>
                </c:pt>
                <c:pt idx="9">
                  <c:v>0.03</c:v>
                </c:pt>
                <c:pt idx="10">
                  <c:v>0.06</c:v>
                </c:pt>
                <c:pt idx="11">
                  <c:v>0</c:v>
                </c:pt>
                <c:pt idx="12">
                  <c:v>-0.03</c:v>
                </c:pt>
                <c:pt idx="13">
                  <c:v>-0.69</c:v>
                </c:pt>
                <c:pt idx="14">
                  <c:v>-1.0900000000000001</c:v>
                </c:pt>
                <c:pt idx="15">
                  <c:v>-0.99</c:v>
                </c:pt>
              </c:numCache>
            </c:numRef>
          </c:xVal>
          <c:yVal>
            <c:numRef>
              <c:f>Sheet1!$B$2:$B$17</c:f>
              <c:numCache>
                <c:formatCode>General</c:formatCode>
                <c:ptCount val="16"/>
                <c:pt idx="0">
                  <c:v>0.81449754918040718</c:v>
                </c:pt>
                <c:pt idx="1">
                  <c:v>0.84587313844277057</c:v>
                </c:pt>
                <c:pt idx="2">
                  <c:v>4.1978549621281838</c:v>
                </c:pt>
                <c:pt idx="3">
                  <c:v>0.39217968880295301</c:v>
                </c:pt>
                <c:pt idx="4">
                  <c:v>0.48949278056319978</c:v>
                </c:pt>
                <c:pt idx="5">
                  <c:v>0.25246185583189568</c:v>
                </c:pt>
                <c:pt idx="6">
                  <c:v>0.14999364954526481</c:v>
                </c:pt>
                <c:pt idx="7">
                  <c:v>9.1826221986235843E-2</c:v>
                </c:pt>
                <c:pt idx="8">
                  <c:v>0.25635793006900048</c:v>
                </c:pt>
                <c:pt idx="9">
                  <c:v>9.9940291308417861E-2</c:v>
                </c:pt>
                <c:pt idx="10">
                  <c:v>1.509793829165107E-2</c:v>
                </c:pt>
                <c:pt idx="11">
                  <c:v>0</c:v>
                </c:pt>
                <c:pt idx="12">
                  <c:v>-1.9200592066817571E-2</c:v>
                </c:pt>
                <c:pt idx="13">
                  <c:v>-5.4062409469310402E-2</c:v>
                </c:pt>
                <c:pt idx="14">
                  <c:v>-0.1123707586855017</c:v>
                </c:pt>
                <c:pt idx="15">
                  <c:v>-0.14536595350682241</c:v>
                </c:pt>
              </c:numCache>
            </c:numRef>
          </c:yVal>
          <c:bubbleSize>
            <c:numRef>
              <c:f>Sheet1!$C$2:$C$17</c:f>
              <c:numCache>
                <c:formatCode>General</c:formatCode>
                <c:ptCount val="16"/>
                <c:pt idx="0">
                  <c:v>1778216</c:v>
                </c:pt>
                <c:pt idx="1">
                  <c:v>1356208</c:v>
                </c:pt>
                <c:pt idx="2">
                  <c:v>901567</c:v>
                </c:pt>
                <c:pt idx="3">
                  <c:v>1577777</c:v>
                </c:pt>
                <c:pt idx="4">
                  <c:v>1128687</c:v>
                </c:pt>
                <c:pt idx="5">
                  <c:v>1048958</c:v>
                </c:pt>
                <c:pt idx="6">
                  <c:v>619932</c:v>
                </c:pt>
                <c:pt idx="7">
                  <c:v>755811</c:v>
                </c:pt>
                <c:pt idx="8">
                  <c:v>709097</c:v>
                </c:pt>
                <c:pt idx="9">
                  <c:v>829105</c:v>
                </c:pt>
                <c:pt idx="10">
                  <c:v>612423</c:v>
                </c:pt>
                <c:pt idx="11">
                  <c:v>350447</c:v>
                </c:pt>
                <c:pt idx="12">
                  <c:v>914106</c:v>
                </c:pt>
                <c:pt idx="13">
                  <c:v>1432558</c:v>
                </c:pt>
                <c:pt idx="14">
                  <c:v>1539499</c:v>
                </c:pt>
                <c:pt idx="15">
                  <c:v>1162498</c:v>
                </c:pt>
              </c:numCache>
            </c:numRef>
          </c:bubbleSize>
          <c:bubble3D val="0"/>
          <c:extLst>
            <c:ext xmlns:c15="http://schemas.microsoft.com/office/drawing/2012/chart" uri="{02D57815-91ED-43cb-92C2-25804820EDAC}">
              <c15:datalabelsRange>
                <c15:f>Sheet1!$E$2:$E$49</c15:f>
                <c15:dlblRangeCache>
                  <c:ptCount val="48"/>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2"/>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At val="1"/>
        <c:crossBetween val="midCat"/>
      </c:valAx>
      <c:valAx>
        <c:axId val="1011451359"/>
        <c:scaling>
          <c:orientation val="minMax"/>
          <c:max val="1.2"/>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At val="1"/>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fld id="{73820F7A-C5B7-448A-A808-BC997A7DA5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r>
                      <a:t>2</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EE4B-4312-8F62-0B51F9A74EE8}"/>
                </c:ext>
              </c:extLst>
            </c:dLbl>
            <c:dLbl>
              <c:idx val="2"/>
              <c:tx>
                <c:rich>
                  <a:bodyPr wrap="square" lIns="38100" tIns="19050" rIns="38100" bIns="19050" anchor="ctr">
                    <a:noAutofit/>
                  </a:bodyPr>
                  <a:lstStyle/>
                  <a:p>
                    <a:pPr>
                      <a:defRPr>
                        <a:solidFill>
                          <a:schemeClr val="tx2"/>
                        </a:solidFill>
                      </a:defRPr>
                    </a:pPr>
                    <a:fld id="{2ACB67BA-0767-428C-A44F-BC1663BC8CB5}" type="CELLRANGE">
                      <a:rPr lang="en-US" dirty="0">
                        <a:solidFill>
                          <a:schemeClr val="tx2"/>
                        </a:solidFill>
                      </a:rPr>
                      <a:pPr>
                        <a:defRPr>
                          <a:solidFill>
                            <a:schemeClr val="tx2"/>
                          </a:solidFill>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884C7A44-1EAE-444E-8AA1-260AF5B090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3363-48D8-B751-EA6AD3438C92}"/>
                </c:ext>
              </c:extLst>
            </c:dLbl>
            <c:dLbl>
              <c:idx val="4"/>
              <c:tx>
                <c:rich>
                  <a:bodyPr/>
                  <a:lstStyle/>
                  <a:p>
                    <a:fld id="{32A28C8D-BEBE-4E9F-8F1F-D5CED4C836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3363-48D8-B751-EA6AD3438C92}"/>
                </c:ext>
              </c:extLst>
            </c:dLbl>
            <c:dLbl>
              <c:idx val="5"/>
              <c:tx>
                <c:rich>
                  <a:bodyPr/>
                  <a:lstStyle/>
                  <a:p>
                    <a:fld id="{5C3D30F4-E6E8-4ABF-B4B9-D463E823A5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3363-48D8-B751-EA6AD3438C92}"/>
                </c:ext>
              </c:extLst>
            </c:dLbl>
            <c:dLbl>
              <c:idx val="6"/>
              <c:tx>
                <c:rich>
                  <a:bodyPr/>
                  <a:lstStyle/>
                  <a:p>
                    <a:fld id="{8DC22762-51FA-4083-AA72-ECB7A4B3B2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3363-48D8-B751-EA6AD3438C92}"/>
                </c:ext>
              </c:extLst>
            </c:dLbl>
            <c:dLbl>
              <c:idx val="7"/>
              <c:tx>
                <c:rich>
                  <a:bodyPr/>
                  <a:lstStyle/>
                  <a:p>
                    <a:fld id="{DBFB68D3-EF70-4B88-830B-9781923B7B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3363-48D8-B751-EA6AD3438C92}"/>
                </c:ext>
              </c:extLst>
            </c:dLbl>
            <c:dLbl>
              <c:idx val="8"/>
              <c:tx>
                <c:rich>
                  <a:bodyPr/>
                  <a:lstStyle/>
                  <a:p>
                    <a:fld id="{869E2350-1959-4AAE-AC45-24F2380AC7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3363-48D8-B751-EA6AD3438C92}"/>
                </c:ext>
              </c:extLst>
            </c:dLbl>
            <c:dLbl>
              <c:idx val="9"/>
              <c:tx>
                <c:rich>
                  <a:bodyPr/>
                  <a:lstStyle/>
                  <a:p>
                    <a:fld id="{F37D9B77-B658-49AF-8A35-785690CF5C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3363-48D8-B751-EA6AD3438C92}"/>
                </c:ext>
              </c:extLst>
            </c:dLbl>
            <c:dLbl>
              <c:idx val="10"/>
              <c:tx>
                <c:rich>
                  <a:bodyPr/>
                  <a:lstStyle/>
                  <a:p>
                    <a:fld id="{86DE591B-17BC-4F35-9189-894EA9743A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3363-48D8-B751-EA6AD3438C92}"/>
                </c:ext>
              </c:extLst>
            </c:dLbl>
            <c:dLbl>
              <c:idx val="11"/>
              <c:tx>
                <c:rich>
                  <a:bodyPr/>
                  <a:lstStyle/>
                  <a:p>
                    <a:fld id="{E75387B2-04EC-440A-9421-304F84DF0A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3363-48D8-B751-EA6AD3438C92}"/>
                </c:ext>
              </c:extLst>
            </c:dLbl>
            <c:dLbl>
              <c:idx val="12"/>
              <c:tx>
                <c:rich>
                  <a:bodyPr/>
                  <a:lstStyle/>
                  <a:p>
                    <a:fld id="{69E0DFD9-5DCE-4ABC-B980-801AF2E8D3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3363-48D8-B751-EA6AD3438C92}"/>
                </c:ext>
              </c:extLst>
            </c:dLbl>
            <c:dLbl>
              <c:idx val="13"/>
              <c:tx>
                <c:rich>
                  <a:bodyPr/>
                  <a:lstStyle/>
                  <a:p>
                    <a:fld id="{74F97FDD-D497-4397-8078-D334B54AEE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3363-48D8-B751-EA6AD3438C92}"/>
                </c:ext>
              </c:extLst>
            </c:dLbl>
            <c:dLbl>
              <c:idx val="14"/>
              <c:tx>
                <c:rich>
                  <a:bodyPr/>
                  <a:lstStyle/>
                  <a:p>
                    <a:fld id="{5302D00A-ADED-41FC-B42D-7460DD0F63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3363-48D8-B751-EA6AD3438C92}"/>
                </c:ext>
              </c:extLst>
            </c:dLbl>
            <c:dLbl>
              <c:idx val="15"/>
              <c:tx>
                <c:rich>
                  <a:bodyPr/>
                  <a:lstStyle/>
                  <a:p>
                    <a:fld id="{25E8E821-E196-4238-B344-65EC412607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3363-48D8-B751-EA6AD3438C92}"/>
                </c:ext>
              </c:extLst>
            </c:dLbl>
            <c:dLbl>
              <c:idx val="16"/>
              <c:tx>
                <c:rich>
                  <a:bodyPr/>
                  <a:lstStyle/>
                  <a:p>
                    <a:fld id="{6985F356-E9F2-4AA5-92F8-1072600E49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3363-48D8-B751-EA6AD3438C92}"/>
                </c:ext>
              </c:extLst>
            </c:dLbl>
            <c:dLbl>
              <c:idx val="17"/>
              <c:tx>
                <c:rich>
                  <a:bodyPr/>
                  <a:lstStyle/>
                  <a:p>
                    <a:fld id="{740DF7EA-D4F3-4FC3-B923-F8FE43271A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3363-48D8-B751-EA6AD3438C92}"/>
                </c:ext>
              </c:extLst>
            </c:dLbl>
            <c:dLbl>
              <c:idx val="18"/>
              <c:tx>
                <c:rich>
                  <a:bodyPr/>
                  <a:lstStyle/>
                  <a:p>
                    <a:fld id="{1A63AE2C-FE46-4857-85FE-13E80ACFB9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3363-48D8-B751-EA6AD3438C92}"/>
                </c:ext>
              </c:extLst>
            </c:dLbl>
            <c:dLbl>
              <c:idx val="19"/>
              <c:tx>
                <c:rich>
                  <a:bodyPr/>
                  <a:lstStyle/>
                  <a:p>
                    <a:fld id="{9BD11B20-0C3C-40DF-B488-E02FDA6798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3363-48D8-B751-EA6AD3438C92}"/>
                </c:ext>
              </c:extLst>
            </c:dLbl>
            <c:dLbl>
              <c:idx val="20"/>
              <c:tx>
                <c:rich>
                  <a:bodyPr/>
                  <a:lstStyle/>
                  <a:p>
                    <a:fld id="{BBD53A8A-0149-4087-B2AB-952D9792B0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3363-48D8-B751-EA6AD3438C92}"/>
                </c:ext>
              </c:extLst>
            </c:dLbl>
            <c:dLbl>
              <c:idx val="21"/>
              <c:tx>
                <c:rich>
                  <a:bodyPr/>
                  <a:lstStyle/>
                  <a:p>
                    <a:fld id="{6E41F79F-B356-4228-B0FC-7B3540BB70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3363-48D8-B751-EA6AD3438C92}"/>
                </c:ext>
              </c:extLst>
            </c:dLbl>
            <c:dLbl>
              <c:idx val="22"/>
              <c:tx>
                <c:rich>
                  <a:bodyPr/>
                  <a:lstStyle/>
                  <a:p>
                    <a:fld id="{981A8373-01DF-45B6-808B-E54A852982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3363-48D8-B751-EA6AD3438C92}"/>
                </c:ext>
              </c:extLst>
            </c:dLbl>
            <c:dLbl>
              <c:idx val="23"/>
              <c:tx>
                <c:rich>
                  <a:bodyPr/>
                  <a:lstStyle/>
                  <a:p>
                    <a:fld id="{99F38CBB-8C59-4913-8032-A10CE82399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3363-48D8-B751-EA6AD3438C92}"/>
                </c:ext>
              </c:extLst>
            </c:dLbl>
            <c:dLbl>
              <c:idx val="24"/>
              <c:tx>
                <c:rich>
                  <a:bodyPr/>
                  <a:lstStyle/>
                  <a:p>
                    <a:fld id="{6FC39DB8-018A-4A42-A194-7AABBEC7D1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3363-48D8-B751-EA6AD3438C92}"/>
                </c:ext>
              </c:extLst>
            </c:dLbl>
            <c:dLbl>
              <c:idx val="25"/>
              <c:tx>
                <c:rich>
                  <a:bodyPr/>
                  <a:lstStyle/>
                  <a:p>
                    <a:fld id="{518D6D13-7A35-4579-83DF-8BE8870F23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3363-48D8-B751-EA6AD3438C92}"/>
                </c:ext>
              </c:extLst>
            </c:dLbl>
            <c:dLbl>
              <c:idx val="26"/>
              <c:tx>
                <c:rich>
                  <a:bodyPr/>
                  <a:lstStyle/>
                  <a:p>
                    <a:fld id="{494B69FD-EF2E-4D3B-8F2B-C8B013ECDB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3363-48D8-B751-EA6AD3438C92}"/>
                </c:ext>
              </c:extLst>
            </c:dLbl>
            <c:dLbl>
              <c:idx val="27"/>
              <c:tx>
                <c:rich>
                  <a:bodyPr/>
                  <a:lstStyle/>
                  <a:p>
                    <a:fld id="{92957124-58A2-4743-9F82-B437808B16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3363-48D8-B751-EA6AD3438C92}"/>
                </c:ext>
              </c:extLst>
            </c:dLbl>
            <c:dLbl>
              <c:idx val="28"/>
              <c:tx>
                <c:rich>
                  <a:bodyPr/>
                  <a:lstStyle/>
                  <a:p>
                    <a:fld id="{8784FE0E-FEA4-4DD0-A37B-3305D2FB5F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3363-48D8-B751-EA6AD3438C92}"/>
                </c:ext>
              </c:extLst>
            </c:dLbl>
            <c:dLbl>
              <c:idx val="29"/>
              <c:tx>
                <c:rich>
                  <a:bodyPr/>
                  <a:lstStyle/>
                  <a:p>
                    <a:fld id="{E2B73B16-89FA-43FF-884F-EFE5492506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3363-48D8-B751-EA6AD3438C92}"/>
                </c:ext>
              </c:extLst>
            </c:dLbl>
            <c:dLbl>
              <c:idx val="30"/>
              <c:tx>
                <c:rich>
                  <a:bodyPr/>
                  <a:lstStyle/>
                  <a:p>
                    <a:fld id="{6F71D046-DFDC-482E-AC9C-82FEE0DF4A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3363-48D8-B751-EA6AD3438C92}"/>
                </c:ext>
              </c:extLst>
            </c:dLbl>
            <c:dLbl>
              <c:idx val="31"/>
              <c:tx>
                <c:rich>
                  <a:bodyPr/>
                  <a:lstStyle/>
                  <a:p>
                    <a:fld id="{F0C18D6F-AD3C-4305-AB58-ED87CC271E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3363-48D8-B751-EA6AD3438C92}"/>
                </c:ext>
              </c:extLst>
            </c:dLbl>
            <c:dLbl>
              <c:idx val="32"/>
              <c:tx>
                <c:rich>
                  <a:bodyPr/>
                  <a:lstStyle/>
                  <a:p>
                    <a:fld id="{1E8B32C1-0992-4B18-85CC-8637E214F0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3363-48D8-B751-EA6AD3438C92}"/>
                </c:ext>
              </c:extLst>
            </c:dLbl>
            <c:dLbl>
              <c:idx val="33"/>
              <c:tx>
                <c:rich>
                  <a:bodyPr/>
                  <a:lstStyle/>
                  <a:p>
                    <a:fld id="{F07F99BC-F91D-4BD7-B7CD-85C749AF5A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3363-48D8-B751-EA6AD3438C92}"/>
                </c:ext>
              </c:extLst>
            </c:dLbl>
            <c:dLbl>
              <c:idx val="34"/>
              <c:tx>
                <c:rich>
                  <a:bodyPr/>
                  <a:lstStyle/>
                  <a:p>
                    <a:fld id="{162F8E5D-0E80-4DD3-A992-B4088498A9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3363-48D8-B751-EA6AD3438C92}"/>
                </c:ext>
              </c:extLst>
            </c:dLbl>
            <c:dLbl>
              <c:idx val="35"/>
              <c:tx>
                <c:rich>
                  <a:bodyPr/>
                  <a:lstStyle/>
                  <a:p>
                    <a:fld id="{62DF9EAF-D6F4-4F00-821C-BD30B9FB1D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3363-48D8-B751-EA6AD3438C92}"/>
                </c:ext>
              </c:extLst>
            </c:dLbl>
            <c:dLbl>
              <c:idx val="36"/>
              <c:tx>
                <c:rich>
                  <a:bodyPr/>
                  <a:lstStyle/>
                  <a:p>
                    <a:fld id="{8118276D-1F4D-4B69-BA73-C545BC69F2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3363-48D8-B751-EA6AD3438C92}"/>
                </c:ext>
              </c:extLst>
            </c:dLbl>
            <c:dLbl>
              <c:idx val="37"/>
              <c:tx>
                <c:rich>
                  <a:bodyPr/>
                  <a:lstStyle/>
                  <a:p>
                    <a:fld id="{9FF01A7B-F4E9-424A-A85B-3B0A1B6B1E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3363-48D8-B751-EA6AD3438C92}"/>
                </c:ext>
              </c:extLst>
            </c:dLbl>
            <c:dLbl>
              <c:idx val="38"/>
              <c:tx>
                <c:rich>
                  <a:bodyPr/>
                  <a:lstStyle/>
                  <a:p>
                    <a:fld id="{81FF5F8E-5047-4C9D-8DFF-02AF1BBF2B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3363-48D8-B751-EA6AD3438C92}"/>
                </c:ext>
              </c:extLst>
            </c:dLbl>
            <c:dLbl>
              <c:idx val="39"/>
              <c:tx>
                <c:rich>
                  <a:bodyPr/>
                  <a:lstStyle/>
                  <a:p>
                    <a:fld id="{28BE679C-6350-43BF-AC9B-F11865E4CC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3363-48D8-B751-EA6AD3438C92}"/>
                </c:ext>
              </c:extLst>
            </c:dLbl>
            <c:dLbl>
              <c:idx val="40"/>
              <c:tx>
                <c:rich>
                  <a:bodyPr/>
                  <a:lstStyle/>
                  <a:p>
                    <a:fld id="{04EF91D2-4E4C-4E61-BFB9-716138C2C9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3363-48D8-B751-EA6AD3438C92}"/>
                </c:ext>
              </c:extLst>
            </c:dLbl>
            <c:dLbl>
              <c:idx val="41"/>
              <c:tx>
                <c:rich>
                  <a:bodyPr/>
                  <a:lstStyle/>
                  <a:p>
                    <a:fld id="{19335D14-077F-444B-B553-E8887D4E9F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3363-48D8-B751-EA6AD3438C92}"/>
                </c:ext>
              </c:extLst>
            </c:dLbl>
            <c:dLbl>
              <c:idx val="42"/>
              <c:tx>
                <c:rich>
                  <a:bodyPr/>
                  <a:lstStyle/>
                  <a:p>
                    <a:fld id="{9DC322E3-E737-4465-B568-F2C1D13CB6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3363-48D8-B751-EA6AD3438C92}"/>
                </c:ext>
              </c:extLst>
            </c:dLbl>
            <c:dLbl>
              <c:idx val="43"/>
              <c:tx>
                <c:rich>
                  <a:bodyPr/>
                  <a:lstStyle/>
                  <a:p>
                    <a:fld id="{AB096EB2-913A-4AAB-AE53-27ADAF893E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3363-48D8-B751-EA6AD3438C92}"/>
                </c:ext>
              </c:extLst>
            </c:dLbl>
            <c:dLbl>
              <c:idx val="44"/>
              <c:tx>
                <c:rich>
                  <a:bodyPr/>
                  <a:lstStyle/>
                  <a:p>
                    <a:fld id="{16B7A464-D731-423B-9FC1-FEA87BD658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3363-48D8-B751-EA6AD3438C92}"/>
                </c:ext>
              </c:extLst>
            </c:dLbl>
            <c:dLbl>
              <c:idx val="45"/>
              <c:tx>
                <c:rich>
                  <a:bodyPr/>
                  <a:lstStyle/>
                  <a:p>
                    <a:fld id="{17D3B783-AA84-4A07-9E2C-7CD80E72A4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3363-48D8-B751-EA6AD3438C92}"/>
                </c:ext>
              </c:extLst>
            </c:dLbl>
            <c:dLbl>
              <c:idx val="46"/>
              <c:tx>
                <c:rich>
                  <a:bodyPr/>
                  <a:lstStyle/>
                  <a:p>
                    <a:fld id="{162C8315-88C0-4108-871E-ECEB5DCC73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3363-48D8-B751-EA6AD3438C92}"/>
                </c:ext>
              </c:extLst>
            </c:dLbl>
            <c:dLbl>
              <c:idx val="47"/>
              <c:tx>
                <c:rich>
                  <a:bodyPr/>
                  <a:lstStyle/>
                  <a:p>
                    <a:fld id="{775893D0-9EB0-461A-BEE3-AB39B152D7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86</c:v>
                </c:pt>
                <c:pt idx="1">
                  <c:v>1.33</c:v>
                </c:pt>
              </c:numCache>
            </c:numRef>
          </c:xVal>
          <c:yVal>
            <c:numRef>
              <c:f>Sheet1!$B$2:$B$3</c:f>
              <c:numCache>
                <c:formatCode>General</c:formatCode>
                <c:ptCount val="2"/>
                <c:pt idx="0">
                  <c:v>0.27278666274240682</c:v>
                </c:pt>
                <c:pt idx="1">
                  <c:v>0.17726400795922281</c:v>
                </c:pt>
              </c:numCache>
            </c:numRef>
          </c:yVal>
          <c:bubbleSize>
            <c:numRef>
              <c:f>Sheet1!$C$2:$C$3</c:f>
              <c:numCache>
                <c:formatCode>General</c:formatCode>
                <c:ptCount val="2"/>
                <c:pt idx="0">
                  <c:v>25406313</c:v>
                </c:pt>
                <c:pt idx="1">
                  <c:v>9284787</c:v>
                </c:pt>
              </c:numCache>
            </c:numRef>
          </c:bubbleSize>
          <c:bubble3D val="0"/>
          <c:extLst>
            <c:ext xmlns:c15="http://schemas.microsoft.com/office/drawing/2012/chart" uri="{02D57815-91ED-43cb-92C2-25804820EDAC}">
              <c15:datalabelsRange>
                <c15:f>Sheet1!$E$2:$E$49</c15:f>
                <c15:dlblRangeCache>
                  <c:ptCount val="48"/>
                  <c:pt idx="0">
                    <c:v>1</c:v>
                  </c:pt>
                  <c:pt idx="1">
                    <c:v>2</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At val="1"/>
        <c:crossBetween val="midCat"/>
      </c:valAx>
      <c:valAx>
        <c:axId val="1011451359"/>
        <c:scaling>
          <c:orientation val="minMax"/>
          <c:max val="1.2"/>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At val="1.5950000000000002"/>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r>
                      <a:t>1</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EE4B-4312-8F62-0B51F9A74EE8}"/>
                </c:ext>
              </c:extLst>
            </c:dLbl>
            <c:dLbl>
              <c:idx val="1"/>
              <c:tx>
                <c:rich>
                  <a:bodyPr/>
                  <a:lstStyle/>
                  <a:p>
                    <a:fld id="{8E9F4EFA-E798-434A-A715-9112CD1418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EE4B-4312-8F62-0B51F9A74EE8}"/>
                </c:ext>
              </c:extLst>
            </c:dLbl>
            <c:dLbl>
              <c:idx val="2"/>
              <c:tx>
                <c:rich>
                  <a:bodyPr wrap="square" lIns="38100" tIns="19050" rIns="38100" bIns="19050" anchor="ctr">
                    <a:noAutofit/>
                  </a:bodyPr>
                  <a:lstStyle/>
                  <a:p>
                    <a:pPr>
                      <a:defRPr>
                        <a:solidFill>
                          <a:schemeClr val="tx2"/>
                        </a:solidFill>
                      </a:defRPr>
                    </a:pPr>
                    <a:fld id="{2ACB67BA-0767-428C-A44F-BC1663BC8CB5}" type="CELLRANGE">
                      <a:rPr lang="en-US" dirty="0">
                        <a:solidFill>
                          <a:schemeClr val="tx2"/>
                        </a:solidFill>
                      </a:rPr>
                      <a:pPr>
                        <a:defRPr>
                          <a:solidFill>
                            <a:schemeClr val="tx2"/>
                          </a:solidFill>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BF81C74C-518F-4735-840D-4A2F02DD17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3363-48D8-B751-EA6AD3438C92}"/>
                </c:ext>
              </c:extLst>
            </c:dLbl>
            <c:dLbl>
              <c:idx val="4"/>
              <c:tx>
                <c:rich>
                  <a:bodyPr/>
                  <a:lstStyle/>
                  <a:p>
                    <a:fld id="{8701B2C6-F848-4F31-8190-772648136F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3363-48D8-B751-EA6AD3438C92}"/>
                </c:ext>
              </c:extLst>
            </c:dLbl>
            <c:dLbl>
              <c:idx val="5"/>
              <c:tx>
                <c:rich>
                  <a:bodyPr/>
                  <a:lstStyle/>
                  <a:p>
                    <a:fld id="{8B57C119-0D70-4C80-AF50-0FCBB442E2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3363-48D8-B751-EA6AD3438C92}"/>
                </c:ext>
              </c:extLst>
            </c:dLbl>
            <c:dLbl>
              <c:idx val="6"/>
              <c:tx>
                <c:rich>
                  <a:bodyPr/>
                  <a:lstStyle/>
                  <a:p>
                    <a:fld id="{A4E6E099-6AA8-426D-9107-DA423E5CB2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3363-48D8-B751-EA6AD3438C92}"/>
                </c:ext>
              </c:extLst>
            </c:dLbl>
            <c:dLbl>
              <c:idx val="7"/>
              <c:tx>
                <c:rich>
                  <a:bodyPr/>
                  <a:lstStyle/>
                  <a:p>
                    <a:fld id="{F8B4ED57-A97F-4EA8-BEE7-DCBC0DDBD4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3363-48D8-B751-EA6AD3438C92}"/>
                </c:ext>
              </c:extLst>
            </c:dLbl>
            <c:dLbl>
              <c:idx val="8"/>
              <c:tx>
                <c:rich>
                  <a:bodyPr/>
                  <a:lstStyle/>
                  <a:p>
                    <a:fld id="{8AB52F16-C184-4CFD-AC46-03CE95432A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3363-48D8-B751-EA6AD3438C92}"/>
                </c:ext>
              </c:extLst>
            </c:dLbl>
            <c:dLbl>
              <c:idx val="9"/>
              <c:tx>
                <c:rich>
                  <a:bodyPr/>
                  <a:lstStyle/>
                  <a:p>
                    <a:fld id="{5CB17BE7-8BFB-434F-8258-287E99693E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3363-48D8-B751-EA6AD3438C92}"/>
                </c:ext>
              </c:extLst>
            </c:dLbl>
            <c:dLbl>
              <c:idx val="10"/>
              <c:tx>
                <c:rich>
                  <a:bodyPr/>
                  <a:lstStyle/>
                  <a:p>
                    <a:fld id="{10663164-1C77-4464-95E1-4924E3C780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3363-48D8-B751-EA6AD3438C92}"/>
                </c:ext>
              </c:extLst>
            </c:dLbl>
            <c:dLbl>
              <c:idx val="11"/>
              <c:tx>
                <c:rich>
                  <a:bodyPr/>
                  <a:lstStyle/>
                  <a:p>
                    <a:fld id="{49BA51EB-353A-4DB0-B468-C7294CCDDB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3363-48D8-B751-EA6AD3438C92}"/>
                </c:ext>
              </c:extLst>
            </c:dLbl>
            <c:dLbl>
              <c:idx val="12"/>
              <c:tx>
                <c:rich>
                  <a:bodyPr/>
                  <a:lstStyle/>
                  <a:p>
                    <a:fld id="{EFB0F446-E354-4A51-93CB-C846E5B836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3363-48D8-B751-EA6AD3438C92}"/>
                </c:ext>
              </c:extLst>
            </c:dLbl>
            <c:dLbl>
              <c:idx val="13"/>
              <c:tx>
                <c:rich>
                  <a:bodyPr/>
                  <a:lstStyle/>
                  <a:p>
                    <a:fld id="{711BBB44-B73A-49CE-A043-5100CBD869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3363-48D8-B751-EA6AD3438C92}"/>
                </c:ext>
              </c:extLst>
            </c:dLbl>
            <c:dLbl>
              <c:idx val="14"/>
              <c:tx>
                <c:rich>
                  <a:bodyPr/>
                  <a:lstStyle/>
                  <a:p>
                    <a:fld id="{B69D4E42-BECF-4293-809C-5505CB0F35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3363-48D8-B751-EA6AD3438C92}"/>
                </c:ext>
              </c:extLst>
            </c:dLbl>
            <c:dLbl>
              <c:idx val="15"/>
              <c:tx>
                <c:rich>
                  <a:bodyPr/>
                  <a:lstStyle/>
                  <a:p>
                    <a:fld id="{B16977E6-A72C-4820-B69E-F3A44007E3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3363-48D8-B751-EA6AD3438C92}"/>
                </c:ext>
              </c:extLst>
            </c:dLbl>
            <c:dLbl>
              <c:idx val="16"/>
              <c:tx>
                <c:rich>
                  <a:bodyPr/>
                  <a:lstStyle/>
                  <a:p>
                    <a:fld id="{B8219E7A-E23A-41E7-97DC-21C0880D48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3363-48D8-B751-EA6AD3438C92}"/>
                </c:ext>
              </c:extLst>
            </c:dLbl>
            <c:dLbl>
              <c:idx val="17"/>
              <c:tx>
                <c:rich>
                  <a:bodyPr/>
                  <a:lstStyle/>
                  <a:p>
                    <a:fld id="{16A58E19-FDC0-4E16-9A6E-ED67EB3B29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3363-48D8-B751-EA6AD3438C92}"/>
                </c:ext>
              </c:extLst>
            </c:dLbl>
            <c:dLbl>
              <c:idx val="18"/>
              <c:tx>
                <c:rich>
                  <a:bodyPr/>
                  <a:lstStyle/>
                  <a:p>
                    <a:fld id="{2777A983-59AD-4D25-9C43-558E11B851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3363-48D8-B751-EA6AD3438C92}"/>
                </c:ext>
              </c:extLst>
            </c:dLbl>
            <c:dLbl>
              <c:idx val="19"/>
              <c:tx>
                <c:rich>
                  <a:bodyPr/>
                  <a:lstStyle/>
                  <a:p>
                    <a:fld id="{B00466C6-7658-4592-A997-C999E2A0EC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3363-48D8-B751-EA6AD3438C92}"/>
                </c:ext>
              </c:extLst>
            </c:dLbl>
            <c:dLbl>
              <c:idx val="20"/>
              <c:tx>
                <c:rich>
                  <a:bodyPr/>
                  <a:lstStyle/>
                  <a:p>
                    <a:fld id="{09B85BA6-844A-4808-86CD-1D4AD65842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3363-48D8-B751-EA6AD3438C92}"/>
                </c:ext>
              </c:extLst>
            </c:dLbl>
            <c:dLbl>
              <c:idx val="21"/>
              <c:tx>
                <c:rich>
                  <a:bodyPr/>
                  <a:lstStyle/>
                  <a:p>
                    <a:fld id="{CB4BDCB9-7CA0-4795-B3AC-57EB06E4F5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3363-48D8-B751-EA6AD3438C92}"/>
                </c:ext>
              </c:extLst>
            </c:dLbl>
            <c:dLbl>
              <c:idx val="22"/>
              <c:tx>
                <c:rich>
                  <a:bodyPr/>
                  <a:lstStyle/>
                  <a:p>
                    <a:fld id="{56D915F5-BDAB-4413-8D83-8671254D7B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3363-48D8-B751-EA6AD3438C92}"/>
                </c:ext>
              </c:extLst>
            </c:dLbl>
            <c:dLbl>
              <c:idx val="23"/>
              <c:tx>
                <c:rich>
                  <a:bodyPr/>
                  <a:lstStyle/>
                  <a:p>
                    <a:fld id="{76B33877-636D-48A9-A113-C6273C2235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3363-48D8-B751-EA6AD3438C92}"/>
                </c:ext>
              </c:extLst>
            </c:dLbl>
            <c:dLbl>
              <c:idx val="24"/>
              <c:tx>
                <c:rich>
                  <a:bodyPr/>
                  <a:lstStyle/>
                  <a:p>
                    <a:fld id="{C91D989E-3AB7-4F7C-A5EB-D0406B0545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3363-48D8-B751-EA6AD3438C92}"/>
                </c:ext>
              </c:extLst>
            </c:dLbl>
            <c:dLbl>
              <c:idx val="25"/>
              <c:tx>
                <c:rich>
                  <a:bodyPr/>
                  <a:lstStyle/>
                  <a:p>
                    <a:fld id="{A4C15196-C987-4AAB-AC06-1DE66D2630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3363-48D8-B751-EA6AD3438C92}"/>
                </c:ext>
              </c:extLst>
            </c:dLbl>
            <c:dLbl>
              <c:idx val="26"/>
              <c:tx>
                <c:rich>
                  <a:bodyPr/>
                  <a:lstStyle/>
                  <a:p>
                    <a:fld id="{FC1010E3-E36C-447B-A918-45B8FB2076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3363-48D8-B751-EA6AD3438C92}"/>
                </c:ext>
              </c:extLst>
            </c:dLbl>
            <c:dLbl>
              <c:idx val="27"/>
              <c:tx>
                <c:rich>
                  <a:bodyPr/>
                  <a:lstStyle/>
                  <a:p>
                    <a:fld id="{0BEAA150-E2AC-4D92-882A-DBBC09BE1F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3363-48D8-B751-EA6AD3438C92}"/>
                </c:ext>
              </c:extLst>
            </c:dLbl>
            <c:dLbl>
              <c:idx val="28"/>
              <c:tx>
                <c:rich>
                  <a:bodyPr/>
                  <a:lstStyle/>
                  <a:p>
                    <a:fld id="{4C5EB848-F10F-4CFC-97B3-5FB1585197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3363-48D8-B751-EA6AD3438C92}"/>
                </c:ext>
              </c:extLst>
            </c:dLbl>
            <c:dLbl>
              <c:idx val="29"/>
              <c:tx>
                <c:rich>
                  <a:bodyPr/>
                  <a:lstStyle/>
                  <a:p>
                    <a:fld id="{36737F55-2D2B-4E20-8671-158B87E9E1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3363-48D8-B751-EA6AD3438C92}"/>
                </c:ext>
              </c:extLst>
            </c:dLbl>
            <c:dLbl>
              <c:idx val="30"/>
              <c:tx>
                <c:rich>
                  <a:bodyPr/>
                  <a:lstStyle/>
                  <a:p>
                    <a:fld id="{5607A28D-3472-401E-8FD0-AD55AF39BC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3363-48D8-B751-EA6AD3438C92}"/>
                </c:ext>
              </c:extLst>
            </c:dLbl>
            <c:dLbl>
              <c:idx val="31"/>
              <c:tx>
                <c:rich>
                  <a:bodyPr/>
                  <a:lstStyle/>
                  <a:p>
                    <a:fld id="{435D6C42-955F-4E5C-9AEF-CC66563CD9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3363-48D8-B751-EA6AD3438C92}"/>
                </c:ext>
              </c:extLst>
            </c:dLbl>
            <c:dLbl>
              <c:idx val="32"/>
              <c:tx>
                <c:rich>
                  <a:bodyPr/>
                  <a:lstStyle/>
                  <a:p>
                    <a:fld id="{778FDF6D-511E-437C-9D15-03DE938EAE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3363-48D8-B751-EA6AD3438C92}"/>
                </c:ext>
              </c:extLst>
            </c:dLbl>
            <c:dLbl>
              <c:idx val="33"/>
              <c:tx>
                <c:rich>
                  <a:bodyPr/>
                  <a:lstStyle/>
                  <a:p>
                    <a:fld id="{EF51C141-258E-425B-8A41-0312AF00CE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3363-48D8-B751-EA6AD3438C92}"/>
                </c:ext>
              </c:extLst>
            </c:dLbl>
            <c:dLbl>
              <c:idx val="34"/>
              <c:tx>
                <c:rich>
                  <a:bodyPr/>
                  <a:lstStyle/>
                  <a:p>
                    <a:fld id="{5EC0F064-1DBB-487F-9696-5239CDB134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3363-48D8-B751-EA6AD3438C92}"/>
                </c:ext>
              </c:extLst>
            </c:dLbl>
            <c:dLbl>
              <c:idx val="35"/>
              <c:tx>
                <c:rich>
                  <a:bodyPr/>
                  <a:lstStyle/>
                  <a:p>
                    <a:fld id="{B090BBE0-F8E6-4E35-AA83-2768B12996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3363-48D8-B751-EA6AD3438C92}"/>
                </c:ext>
              </c:extLst>
            </c:dLbl>
            <c:dLbl>
              <c:idx val="36"/>
              <c:tx>
                <c:rich>
                  <a:bodyPr/>
                  <a:lstStyle/>
                  <a:p>
                    <a:fld id="{CD255C86-C7BB-4013-9655-AD86808BD6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3363-48D8-B751-EA6AD3438C92}"/>
                </c:ext>
              </c:extLst>
            </c:dLbl>
            <c:dLbl>
              <c:idx val="37"/>
              <c:tx>
                <c:rich>
                  <a:bodyPr/>
                  <a:lstStyle/>
                  <a:p>
                    <a:fld id="{91F42BBF-ECD7-49B3-B8DC-24CBC9C8D6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3363-48D8-B751-EA6AD3438C92}"/>
                </c:ext>
              </c:extLst>
            </c:dLbl>
            <c:dLbl>
              <c:idx val="38"/>
              <c:tx>
                <c:rich>
                  <a:bodyPr/>
                  <a:lstStyle/>
                  <a:p>
                    <a:fld id="{61499115-C485-46B0-ACF0-8A457E4295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3363-48D8-B751-EA6AD3438C92}"/>
                </c:ext>
              </c:extLst>
            </c:dLbl>
            <c:dLbl>
              <c:idx val="39"/>
              <c:tx>
                <c:rich>
                  <a:bodyPr/>
                  <a:lstStyle/>
                  <a:p>
                    <a:fld id="{E229D878-2649-45AB-A5A2-C797A22805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3363-48D8-B751-EA6AD3438C92}"/>
                </c:ext>
              </c:extLst>
            </c:dLbl>
            <c:dLbl>
              <c:idx val="40"/>
              <c:tx>
                <c:rich>
                  <a:bodyPr/>
                  <a:lstStyle/>
                  <a:p>
                    <a:fld id="{1839E35D-6048-4F0F-B64D-6E102A93D4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3363-48D8-B751-EA6AD3438C92}"/>
                </c:ext>
              </c:extLst>
            </c:dLbl>
            <c:dLbl>
              <c:idx val="41"/>
              <c:tx>
                <c:rich>
                  <a:bodyPr/>
                  <a:lstStyle/>
                  <a:p>
                    <a:fld id="{EA374E7D-FF2C-4510-BD20-64217ACD02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3363-48D8-B751-EA6AD3438C92}"/>
                </c:ext>
              </c:extLst>
            </c:dLbl>
            <c:dLbl>
              <c:idx val="42"/>
              <c:tx>
                <c:rich>
                  <a:bodyPr/>
                  <a:lstStyle/>
                  <a:p>
                    <a:fld id="{96489DE4-BBA8-4E99-BBC3-DFC6E7D0C5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3363-48D8-B751-EA6AD3438C92}"/>
                </c:ext>
              </c:extLst>
            </c:dLbl>
            <c:dLbl>
              <c:idx val="43"/>
              <c:tx>
                <c:rich>
                  <a:bodyPr/>
                  <a:lstStyle/>
                  <a:p>
                    <a:fld id="{38530A8A-80E2-4A3A-AC57-60D0B9B155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3363-48D8-B751-EA6AD3438C92}"/>
                </c:ext>
              </c:extLst>
            </c:dLbl>
            <c:dLbl>
              <c:idx val="44"/>
              <c:tx>
                <c:rich>
                  <a:bodyPr/>
                  <a:lstStyle/>
                  <a:p>
                    <a:fld id="{08694B14-B970-49CD-8905-D331C6C6B0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3363-48D8-B751-EA6AD3438C92}"/>
                </c:ext>
              </c:extLst>
            </c:dLbl>
            <c:dLbl>
              <c:idx val="45"/>
              <c:tx>
                <c:rich>
                  <a:bodyPr/>
                  <a:lstStyle/>
                  <a:p>
                    <a:fld id="{BEA02815-D161-4DB3-BA55-35234963DF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3363-48D8-B751-EA6AD3438C92}"/>
                </c:ext>
              </c:extLst>
            </c:dLbl>
            <c:dLbl>
              <c:idx val="46"/>
              <c:tx>
                <c:rich>
                  <a:bodyPr/>
                  <a:lstStyle/>
                  <a:p>
                    <a:fld id="{22D8A06A-6904-4367-BDFC-108AA88744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3363-48D8-B751-EA6AD3438C92}"/>
                </c:ext>
              </c:extLst>
            </c:dLbl>
            <c:dLbl>
              <c:idx val="47"/>
              <c:tx>
                <c:rich>
                  <a:bodyPr/>
                  <a:lstStyle/>
                  <a:p>
                    <a:fld id="{4164D50F-FC7A-4896-8683-A7087A03F6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9</c:v>
                </c:pt>
              </c:numCache>
            </c:numRef>
          </c:xVal>
          <c:yVal>
            <c:numRef>
              <c:f>Sheet1!$B$2:$B$2</c:f>
              <c:numCache>
                <c:formatCode>General</c:formatCode>
                <c:ptCount val="1"/>
                <c:pt idx="0">
                  <c:v>0.23068760673495251</c:v>
                </c:pt>
              </c:numCache>
            </c:numRef>
          </c:yVal>
          <c:bubbleSize>
            <c:numRef>
              <c:f>Sheet1!$C$2:$C$2</c:f>
              <c:numCache>
                <c:formatCode>General</c:formatCode>
                <c:ptCount val="1"/>
                <c:pt idx="0">
                  <c:v>8454937</c:v>
                </c:pt>
              </c:numCache>
            </c:numRef>
          </c:bubbleSize>
          <c:bubble3D val="0"/>
          <c:extLst>
            <c:ext xmlns:c15="http://schemas.microsoft.com/office/drawing/2012/chart" uri="{02D57815-91ED-43cb-92C2-25804820EDAC}">
              <c15:datalabelsRange>
                <c15:f>Sheet1!$E$2:$E$49</c15:f>
                <c15:dlblRangeCache>
                  <c:ptCount val="48"/>
                  <c:pt idx="0">
                    <c:v>1</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At val="1"/>
        <c:crossBetween val="midCat"/>
      </c:valAx>
      <c:valAx>
        <c:axId val="1011451359"/>
        <c:scaling>
          <c:orientation val="minMax"/>
          <c:max val="1.2"/>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At val="1.9"/>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fld id="{3630B387-E517-4467-95CC-6C61B8E85E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fld id="{95A23376-6517-4199-A6AE-AC05547B87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E4B-4312-8F62-0B51F9A74EE8}"/>
                </c:ext>
              </c:extLst>
            </c:dLbl>
            <c:dLbl>
              <c:idx val="2"/>
              <c:tx>
                <c:rich>
                  <a:bodyPr/>
                  <a:lstStyle/>
                  <a:p>
                    <a:fld id="{2ACB67BA-0767-428C-A44F-BC1663BC8CB5}" type="CELLRANGE">
                      <a:rPr lang="en-US" dirty="0">
                        <a:solidFill>
                          <a:schemeClr val="tx2"/>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87CC28F2-823B-44BC-910A-ACB19B99A2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63-48D8-B751-EA6AD3438C92}"/>
                </c:ext>
              </c:extLst>
            </c:dLbl>
            <c:dLbl>
              <c:idx val="4"/>
              <c:tx>
                <c:rich>
                  <a:bodyPr/>
                  <a:lstStyle/>
                  <a:p>
                    <a:fld id="{0F10AB17-75C5-4813-B714-B2A8A80067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363-48D8-B751-EA6AD3438C92}"/>
                </c:ext>
              </c:extLst>
            </c:dLbl>
            <c:dLbl>
              <c:idx val="5"/>
              <c:tx>
                <c:rich>
                  <a:bodyPr/>
                  <a:lstStyle/>
                  <a:p>
                    <a:fld id="{30F9B396-175B-4EE9-846E-6985153A63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3363-48D8-B751-EA6AD3438C92}"/>
                </c:ext>
              </c:extLst>
            </c:dLbl>
            <c:dLbl>
              <c:idx val="6"/>
              <c:tx>
                <c:rich>
                  <a:bodyPr/>
                  <a:lstStyle/>
                  <a:p>
                    <a:fld id="{5D478FDE-0429-4FE1-9039-05D1E3776A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3363-48D8-B751-EA6AD3438C92}"/>
                </c:ext>
              </c:extLst>
            </c:dLbl>
            <c:dLbl>
              <c:idx val="7"/>
              <c:tx>
                <c:rich>
                  <a:bodyPr/>
                  <a:lstStyle/>
                  <a:p>
                    <a:fld id="{7AD77945-11F0-4D87-9766-DE57E01CB9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3363-48D8-B751-EA6AD3438C92}"/>
                </c:ext>
              </c:extLst>
            </c:dLbl>
            <c:dLbl>
              <c:idx val="8"/>
              <c:tx>
                <c:rich>
                  <a:bodyPr/>
                  <a:lstStyle/>
                  <a:p>
                    <a:fld id="{46EA2E30-84C3-4483-BCA5-69D5D3790C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3363-48D8-B751-EA6AD3438C92}"/>
                </c:ext>
              </c:extLst>
            </c:dLbl>
            <c:dLbl>
              <c:idx val="9"/>
              <c:tx>
                <c:rich>
                  <a:bodyPr/>
                  <a:lstStyle/>
                  <a:p>
                    <a:fld id="{D6CC4125-018B-4FF2-9D6B-08D4DE6405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3363-48D8-B751-EA6AD3438C92}"/>
                </c:ext>
              </c:extLst>
            </c:dLbl>
            <c:dLbl>
              <c:idx val="10"/>
              <c:tx>
                <c:rich>
                  <a:bodyPr/>
                  <a:lstStyle/>
                  <a:p>
                    <a:fld id="{45F0FE9F-7A83-4F08-9438-8362632166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3363-48D8-B751-EA6AD3438C92}"/>
                </c:ext>
              </c:extLst>
            </c:dLbl>
            <c:dLbl>
              <c:idx val="11"/>
              <c:tx>
                <c:rich>
                  <a:bodyPr/>
                  <a:lstStyle/>
                  <a:p>
                    <a:r>
                      <a:t>12</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D-3363-48D8-B751-EA6AD3438C92}"/>
                </c:ext>
              </c:extLst>
            </c:dLbl>
            <c:dLbl>
              <c:idx val="12"/>
              <c:tx>
                <c:rich>
                  <a:bodyPr/>
                  <a:lstStyle/>
                  <a:p>
                    <a:fld id="{1E170C87-86BF-4878-9AB1-D7691D06EC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3363-48D8-B751-EA6AD3438C92}"/>
                </c:ext>
              </c:extLst>
            </c:dLbl>
            <c:dLbl>
              <c:idx val="13"/>
              <c:tx>
                <c:rich>
                  <a:bodyPr/>
                  <a:lstStyle/>
                  <a:p>
                    <a:fld id="{A4E3CAA4-D689-4AA7-AB31-6D465C9B18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3363-48D8-B751-EA6AD3438C92}"/>
                </c:ext>
              </c:extLst>
            </c:dLbl>
            <c:dLbl>
              <c:idx val="14"/>
              <c:tx>
                <c:rich>
                  <a:bodyPr/>
                  <a:lstStyle/>
                  <a:p>
                    <a:fld id="{D941CB90-98C8-4AAA-802C-64FC735F5C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3363-48D8-B751-EA6AD3438C92}"/>
                </c:ext>
              </c:extLst>
            </c:dLbl>
            <c:dLbl>
              <c:idx val="15"/>
              <c:tx>
                <c:rich>
                  <a:bodyPr/>
                  <a:lstStyle/>
                  <a:p>
                    <a:fld id="{0AF4EA5A-1F74-494F-95F5-3920FADE3D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3363-48D8-B751-EA6AD3438C92}"/>
                </c:ext>
              </c:extLst>
            </c:dLbl>
            <c:dLbl>
              <c:idx val="16"/>
              <c:tx>
                <c:rich>
                  <a:bodyPr/>
                  <a:lstStyle/>
                  <a:p>
                    <a:fld id="{6EB4DA78-ADAA-4147-B0DB-643232595A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3363-48D8-B751-EA6AD3438C92}"/>
                </c:ext>
              </c:extLst>
            </c:dLbl>
            <c:dLbl>
              <c:idx val="17"/>
              <c:tx>
                <c:rich>
                  <a:bodyPr/>
                  <a:lstStyle/>
                  <a:p>
                    <a:fld id="{BA612B81-A1B1-48A4-A769-656ABA92E9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3363-48D8-B751-EA6AD3438C92}"/>
                </c:ext>
              </c:extLst>
            </c:dLbl>
            <c:dLbl>
              <c:idx val="18"/>
              <c:tx>
                <c:rich>
                  <a:bodyPr/>
                  <a:lstStyle/>
                  <a:p>
                    <a:fld id="{3576FC9D-395D-44C2-9553-C9603B15A8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3363-48D8-B751-EA6AD3438C92}"/>
                </c:ext>
              </c:extLst>
            </c:dLbl>
            <c:dLbl>
              <c:idx val="19"/>
              <c:tx>
                <c:rich>
                  <a:bodyPr/>
                  <a:lstStyle/>
                  <a:p>
                    <a:fld id="{6D67E718-08C3-423E-AD6F-F99F178914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3363-48D8-B751-EA6AD3438C92}"/>
                </c:ext>
              </c:extLst>
            </c:dLbl>
            <c:dLbl>
              <c:idx val="20"/>
              <c:tx>
                <c:rich>
                  <a:bodyPr/>
                  <a:lstStyle/>
                  <a:p>
                    <a:fld id="{B8C2A7CC-15FB-4C78-9E40-54053377C4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3363-48D8-B751-EA6AD3438C92}"/>
                </c:ext>
              </c:extLst>
            </c:dLbl>
            <c:dLbl>
              <c:idx val="21"/>
              <c:tx>
                <c:rich>
                  <a:bodyPr/>
                  <a:lstStyle/>
                  <a:p>
                    <a:fld id="{0FBA68E9-BD6B-4F0C-98DE-D4C7C18CD3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3363-48D8-B751-EA6AD3438C92}"/>
                </c:ext>
              </c:extLst>
            </c:dLbl>
            <c:dLbl>
              <c:idx val="22"/>
              <c:tx>
                <c:rich>
                  <a:bodyPr/>
                  <a:lstStyle/>
                  <a:p>
                    <a:fld id="{E7D1F0AA-69C0-4242-A2C2-F55A137139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3363-48D8-B751-EA6AD3438C92}"/>
                </c:ext>
              </c:extLst>
            </c:dLbl>
            <c:dLbl>
              <c:idx val="23"/>
              <c:tx>
                <c:rich>
                  <a:bodyPr/>
                  <a:lstStyle/>
                  <a:p>
                    <a:fld id="{6D92ABD7-9A37-48D6-82D2-74DC02493D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3363-48D8-B751-EA6AD3438C92}"/>
                </c:ext>
              </c:extLst>
            </c:dLbl>
            <c:dLbl>
              <c:idx val="24"/>
              <c:tx>
                <c:rich>
                  <a:bodyPr/>
                  <a:lstStyle/>
                  <a:p>
                    <a:fld id="{5C387FD4-AE98-4137-957E-76000695A1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3363-48D8-B751-EA6AD3438C92}"/>
                </c:ext>
              </c:extLst>
            </c:dLbl>
            <c:dLbl>
              <c:idx val="25"/>
              <c:tx>
                <c:rich>
                  <a:bodyPr/>
                  <a:lstStyle/>
                  <a:p>
                    <a:fld id="{948B6B04-50B1-4F21-A909-8DBE47BD80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3363-48D8-B751-EA6AD3438C92}"/>
                </c:ext>
              </c:extLst>
            </c:dLbl>
            <c:dLbl>
              <c:idx val="26"/>
              <c:tx>
                <c:rich>
                  <a:bodyPr/>
                  <a:lstStyle/>
                  <a:p>
                    <a:fld id="{79C81AA2-B493-4238-812E-1DF2496B6E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3363-48D8-B751-EA6AD3438C92}"/>
                </c:ext>
              </c:extLst>
            </c:dLbl>
            <c:dLbl>
              <c:idx val="27"/>
              <c:tx>
                <c:rich>
                  <a:bodyPr/>
                  <a:lstStyle/>
                  <a:p>
                    <a:fld id="{174130D6-9423-4180-AE05-C8730678E0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3363-48D8-B751-EA6AD3438C92}"/>
                </c:ext>
              </c:extLst>
            </c:dLbl>
            <c:dLbl>
              <c:idx val="28"/>
              <c:tx>
                <c:rich>
                  <a:bodyPr/>
                  <a:lstStyle/>
                  <a:p>
                    <a:fld id="{5EF9916B-EF23-46E9-BF97-9EE278B3ED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3363-48D8-B751-EA6AD3438C92}"/>
                </c:ext>
              </c:extLst>
            </c:dLbl>
            <c:dLbl>
              <c:idx val="29"/>
              <c:tx>
                <c:rich>
                  <a:bodyPr/>
                  <a:lstStyle/>
                  <a:p>
                    <a:fld id="{8D862E65-E8EC-43D9-97AE-80DCB8E8C9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3363-48D8-B751-EA6AD3438C92}"/>
                </c:ext>
              </c:extLst>
            </c:dLbl>
            <c:dLbl>
              <c:idx val="30"/>
              <c:tx>
                <c:rich>
                  <a:bodyPr/>
                  <a:lstStyle/>
                  <a:p>
                    <a:fld id="{A70DB349-B1D4-49D7-B563-DF5C101814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3363-48D8-B751-EA6AD3438C92}"/>
                </c:ext>
              </c:extLst>
            </c:dLbl>
            <c:dLbl>
              <c:idx val="31"/>
              <c:tx>
                <c:rich>
                  <a:bodyPr/>
                  <a:lstStyle/>
                  <a:p>
                    <a:fld id="{E9C8F816-79E1-4C2D-8AE1-618672C9E3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3363-48D8-B751-EA6AD3438C92}"/>
                </c:ext>
              </c:extLst>
            </c:dLbl>
            <c:dLbl>
              <c:idx val="32"/>
              <c:tx>
                <c:rich>
                  <a:bodyPr/>
                  <a:lstStyle/>
                  <a:p>
                    <a:fld id="{C3030C4C-C229-4864-8105-6175EEAD35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3363-48D8-B751-EA6AD3438C92}"/>
                </c:ext>
              </c:extLst>
            </c:dLbl>
            <c:dLbl>
              <c:idx val="33"/>
              <c:tx>
                <c:rich>
                  <a:bodyPr/>
                  <a:lstStyle/>
                  <a:p>
                    <a:fld id="{8A8B1B3E-E8B2-4E34-8325-216F4135E2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3363-48D8-B751-EA6AD3438C92}"/>
                </c:ext>
              </c:extLst>
            </c:dLbl>
            <c:dLbl>
              <c:idx val="34"/>
              <c:tx>
                <c:rich>
                  <a:bodyPr/>
                  <a:lstStyle/>
                  <a:p>
                    <a:fld id="{8BDDB449-CCC9-472E-A7E1-6B014B7E57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3363-48D8-B751-EA6AD3438C92}"/>
                </c:ext>
              </c:extLst>
            </c:dLbl>
            <c:dLbl>
              <c:idx val="35"/>
              <c:tx>
                <c:rich>
                  <a:bodyPr/>
                  <a:lstStyle/>
                  <a:p>
                    <a:fld id="{60A4E927-5F8A-4971-A7E5-8A49FE8D67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3363-48D8-B751-EA6AD3438C92}"/>
                </c:ext>
              </c:extLst>
            </c:dLbl>
            <c:dLbl>
              <c:idx val="36"/>
              <c:tx>
                <c:rich>
                  <a:bodyPr/>
                  <a:lstStyle/>
                  <a:p>
                    <a:fld id="{BF9D4FBD-9ABC-4335-96C9-D5B9BFA63D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3363-48D8-B751-EA6AD3438C92}"/>
                </c:ext>
              </c:extLst>
            </c:dLbl>
            <c:dLbl>
              <c:idx val="37"/>
              <c:tx>
                <c:rich>
                  <a:bodyPr/>
                  <a:lstStyle/>
                  <a:p>
                    <a:fld id="{5F72AD9A-EF8E-461C-8AD7-35174A228E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3363-48D8-B751-EA6AD3438C92}"/>
                </c:ext>
              </c:extLst>
            </c:dLbl>
            <c:dLbl>
              <c:idx val="38"/>
              <c:tx>
                <c:rich>
                  <a:bodyPr/>
                  <a:lstStyle/>
                  <a:p>
                    <a:fld id="{F433C2AD-F06E-4ECA-8D35-DCC625A44D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3363-48D8-B751-EA6AD3438C92}"/>
                </c:ext>
              </c:extLst>
            </c:dLbl>
            <c:dLbl>
              <c:idx val="39"/>
              <c:tx>
                <c:rich>
                  <a:bodyPr/>
                  <a:lstStyle/>
                  <a:p>
                    <a:fld id="{0FFD817C-0D94-4031-9B46-78271E46DA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3363-48D8-B751-EA6AD3438C92}"/>
                </c:ext>
              </c:extLst>
            </c:dLbl>
            <c:dLbl>
              <c:idx val="40"/>
              <c:tx>
                <c:rich>
                  <a:bodyPr/>
                  <a:lstStyle/>
                  <a:p>
                    <a:fld id="{365FA995-C498-4BE6-9B0A-F0799CC09F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3363-48D8-B751-EA6AD3438C92}"/>
                </c:ext>
              </c:extLst>
            </c:dLbl>
            <c:dLbl>
              <c:idx val="41"/>
              <c:tx>
                <c:rich>
                  <a:bodyPr/>
                  <a:lstStyle/>
                  <a:p>
                    <a:fld id="{2D4B8A09-AB53-4EBC-B70A-2D39A964A5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3363-48D8-B751-EA6AD3438C92}"/>
                </c:ext>
              </c:extLst>
            </c:dLbl>
            <c:dLbl>
              <c:idx val="42"/>
              <c:tx>
                <c:rich>
                  <a:bodyPr/>
                  <a:lstStyle/>
                  <a:p>
                    <a:fld id="{4BFE1077-B14F-4BFA-9468-35551C0392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3363-48D8-B751-EA6AD3438C92}"/>
                </c:ext>
              </c:extLst>
            </c:dLbl>
            <c:dLbl>
              <c:idx val="43"/>
              <c:tx>
                <c:rich>
                  <a:bodyPr/>
                  <a:lstStyle/>
                  <a:p>
                    <a:fld id="{43BBC351-6C9B-4DB1-8321-E60A8F42F7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3363-48D8-B751-EA6AD3438C92}"/>
                </c:ext>
              </c:extLst>
            </c:dLbl>
            <c:dLbl>
              <c:idx val="44"/>
              <c:tx>
                <c:rich>
                  <a:bodyPr/>
                  <a:lstStyle/>
                  <a:p>
                    <a:fld id="{B739C545-E42B-48F3-9ECE-3306FBC53F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3363-48D8-B751-EA6AD3438C92}"/>
                </c:ext>
              </c:extLst>
            </c:dLbl>
            <c:dLbl>
              <c:idx val="45"/>
              <c:tx>
                <c:rich>
                  <a:bodyPr/>
                  <a:lstStyle/>
                  <a:p>
                    <a:fld id="{F3E94377-1915-4D4A-94C0-259B75A2CF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3363-48D8-B751-EA6AD3438C92}"/>
                </c:ext>
              </c:extLst>
            </c:dLbl>
            <c:dLbl>
              <c:idx val="46"/>
              <c:tx>
                <c:rich>
                  <a:bodyPr/>
                  <a:lstStyle/>
                  <a:p>
                    <a:fld id="{05DFB37A-2EC5-465E-A232-70C3A1474F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3363-48D8-B751-EA6AD3438C92}"/>
                </c:ext>
              </c:extLst>
            </c:dLbl>
            <c:dLbl>
              <c:idx val="47"/>
              <c:tx>
                <c:rich>
                  <a:bodyPr/>
                  <a:lstStyle/>
                  <a:p>
                    <a:fld id="{D7070F00-07F0-4C56-AC22-D7EEFE05DD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3</c:f>
              <c:numCache>
                <c:formatCode>General</c:formatCode>
                <c:ptCount val="12"/>
                <c:pt idx="0">
                  <c:v>1.5</c:v>
                </c:pt>
                <c:pt idx="1">
                  <c:v>1.75</c:v>
                </c:pt>
                <c:pt idx="2">
                  <c:v>1.65</c:v>
                </c:pt>
                <c:pt idx="3">
                  <c:v>1.32</c:v>
                </c:pt>
                <c:pt idx="4">
                  <c:v>1.38</c:v>
                </c:pt>
                <c:pt idx="5">
                  <c:v>0.93</c:v>
                </c:pt>
                <c:pt idx="6">
                  <c:v>0.65</c:v>
                </c:pt>
                <c:pt idx="7">
                  <c:v>0.03</c:v>
                </c:pt>
                <c:pt idx="8">
                  <c:v>-0.03</c:v>
                </c:pt>
                <c:pt idx="9">
                  <c:v>-0.69</c:v>
                </c:pt>
                <c:pt idx="10">
                  <c:v>-1.0900000000000001</c:v>
                </c:pt>
                <c:pt idx="11">
                  <c:v>-0.99</c:v>
                </c:pt>
              </c:numCache>
            </c:numRef>
          </c:xVal>
          <c:yVal>
            <c:numRef>
              <c:f>Sheet1!$B$2:$B$13</c:f>
              <c:numCache>
                <c:formatCode>General</c:formatCode>
                <c:ptCount val="12"/>
                <c:pt idx="0">
                  <c:v>0.81449754918040718</c:v>
                </c:pt>
                <c:pt idx="1">
                  <c:v>0.84587313844277057</c:v>
                </c:pt>
                <c:pt idx="2">
                  <c:v>4.1978549621281838</c:v>
                </c:pt>
                <c:pt idx="3">
                  <c:v>0.39217968880295301</c:v>
                </c:pt>
                <c:pt idx="4">
                  <c:v>0.25246185583189568</c:v>
                </c:pt>
                <c:pt idx="5">
                  <c:v>0.14999364954526481</c:v>
                </c:pt>
                <c:pt idx="6">
                  <c:v>9.1826221986235843E-2</c:v>
                </c:pt>
                <c:pt idx="7">
                  <c:v>9.9940291308417861E-2</c:v>
                </c:pt>
                <c:pt idx="8">
                  <c:v>-1.9200592066817571E-2</c:v>
                </c:pt>
                <c:pt idx="9">
                  <c:v>-5.4062409469310402E-2</c:v>
                </c:pt>
                <c:pt idx="10">
                  <c:v>-0.1123707586855017</c:v>
                </c:pt>
                <c:pt idx="11">
                  <c:v>-0.14536595350682241</c:v>
                </c:pt>
              </c:numCache>
            </c:numRef>
          </c:yVal>
          <c:bubbleSize>
            <c:numRef>
              <c:f>Sheet1!$C$2:$C$13</c:f>
              <c:numCache>
                <c:formatCode>General</c:formatCode>
                <c:ptCount val="12"/>
                <c:pt idx="0">
                  <c:v>1778216</c:v>
                </c:pt>
                <c:pt idx="1">
                  <c:v>1356208</c:v>
                </c:pt>
                <c:pt idx="2">
                  <c:v>901567</c:v>
                </c:pt>
                <c:pt idx="3">
                  <c:v>1577777</c:v>
                </c:pt>
                <c:pt idx="4">
                  <c:v>1048958</c:v>
                </c:pt>
                <c:pt idx="5">
                  <c:v>619932</c:v>
                </c:pt>
                <c:pt idx="6">
                  <c:v>755811</c:v>
                </c:pt>
                <c:pt idx="7">
                  <c:v>829105</c:v>
                </c:pt>
                <c:pt idx="8">
                  <c:v>914106</c:v>
                </c:pt>
                <c:pt idx="9">
                  <c:v>1432558</c:v>
                </c:pt>
                <c:pt idx="10">
                  <c:v>1539499</c:v>
                </c:pt>
                <c:pt idx="11">
                  <c:v>1162498</c:v>
                </c:pt>
              </c:numCache>
            </c:numRef>
          </c:bubbleSize>
          <c:bubble3D val="0"/>
          <c:extLst>
            <c:ext xmlns:c15="http://schemas.microsoft.com/office/drawing/2012/chart" uri="{02D57815-91ED-43cb-92C2-25804820EDAC}">
              <c15:datalabelsRange>
                <c15:f>Sheet1!$E$2:$E$49</c15:f>
                <c15:dlblRangeCache>
                  <c:ptCount val="48"/>
                  <c:pt idx="0">
                    <c:v>1</c:v>
                  </c:pt>
                  <c:pt idx="1">
                    <c:v>2</c:v>
                  </c:pt>
                  <c:pt idx="2">
                    <c:v>3</c:v>
                  </c:pt>
                  <c:pt idx="3">
                    <c:v>4</c:v>
                  </c:pt>
                  <c:pt idx="4">
                    <c:v>5</c:v>
                  </c:pt>
                  <c:pt idx="5">
                    <c:v>6</c:v>
                  </c:pt>
                  <c:pt idx="6">
                    <c:v>7</c:v>
                  </c:pt>
                  <c:pt idx="7">
                    <c:v>8</c:v>
                  </c:pt>
                  <c:pt idx="8">
                    <c:v>9</c:v>
                  </c:pt>
                  <c:pt idx="9">
                    <c:v>10</c:v>
                  </c:pt>
                  <c:pt idx="10">
                    <c:v>11</c:v>
                  </c:pt>
                  <c:pt idx="11">
                    <c:v>12</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2"/>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At val="1"/>
        <c:crossBetween val="midCat"/>
      </c:valAx>
      <c:valAx>
        <c:axId val="1011451359"/>
        <c:scaling>
          <c:orientation val="minMax"/>
          <c:max val="1.2"/>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At val="1"/>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fld id="{302ACEB2-64F4-48D4-B37A-85893E0988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fld id="{39183DF8-9857-4FDE-902B-00E0BB79B2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E4B-4312-8F62-0B51F9A74EE8}"/>
                </c:ext>
              </c:extLst>
            </c:dLbl>
            <c:dLbl>
              <c:idx val="2"/>
              <c:tx>
                <c:rich>
                  <a:bodyPr/>
                  <a:lstStyle/>
                  <a:p>
                    <a:fld id="{2ACB67BA-0767-428C-A44F-BC1663BC8CB5}" type="CELLRANGE">
                      <a:rPr lang="en-US" dirty="0">
                        <a:solidFill>
                          <a:schemeClr val="tx2"/>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A9E71F38-B273-411B-AECC-1E53975716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63-48D8-B751-EA6AD3438C92}"/>
                </c:ext>
              </c:extLst>
            </c:dLbl>
            <c:dLbl>
              <c:idx val="4"/>
              <c:tx>
                <c:rich>
                  <a:bodyPr/>
                  <a:lstStyle/>
                  <a:p>
                    <a:r>
                      <a:t>5</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3363-48D8-B751-EA6AD3438C92}"/>
                </c:ext>
              </c:extLst>
            </c:dLbl>
            <c:dLbl>
              <c:idx val="5"/>
              <c:tx>
                <c:rich>
                  <a:bodyPr/>
                  <a:lstStyle/>
                  <a:p>
                    <a:fld id="{17EBC8F9-C3F7-4BBD-BEB1-A20EAF9B60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3363-48D8-B751-EA6AD3438C92}"/>
                </c:ext>
              </c:extLst>
            </c:dLbl>
            <c:dLbl>
              <c:idx val="6"/>
              <c:tx>
                <c:rich>
                  <a:bodyPr/>
                  <a:lstStyle/>
                  <a:p>
                    <a:fld id="{212F4961-9D93-468D-97AA-654C218314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3363-48D8-B751-EA6AD3438C92}"/>
                </c:ext>
              </c:extLst>
            </c:dLbl>
            <c:dLbl>
              <c:idx val="7"/>
              <c:tx>
                <c:rich>
                  <a:bodyPr/>
                  <a:lstStyle/>
                  <a:p>
                    <a:fld id="{5498CB7E-B13D-4019-9689-B36F502E2C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3363-48D8-B751-EA6AD3438C92}"/>
                </c:ext>
              </c:extLst>
            </c:dLbl>
            <c:dLbl>
              <c:idx val="8"/>
              <c:tx>
                <c:rich>
                  <a:bodyPr/>
                  <a:lstStyle/>
                  <a:p>
                    <a:fld id="{534F0F57-EE8D-43CD-993E-F06EC7B0AB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3363-48D8-B751-EA6AD3438C92}"/>
                </c:ext>
              </c:extLst>
            </c:dLbl>
            <c:dLbl>
              <c:idx val="9"/>
              <c:tx>
                <c:rich>
                  <a:bodyPr/>
                  <a:lstStyle/>
                  <a:p>
                    <a:fld id="{63EC758D-143E-457E-9116-E706FD3683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3363-48D8-B751-EA6AD3438C92}"/>
                </c:ext>
              </c:extLst>
            </c:dLbl>
            <c:dLbl>
              <c:idx val="10"/>
              <c:tx>
                <c:rich>
                  <a:bodyPr/>
                  <a:lstStyle/>
                  <a:p>
                    <a:fld id="{76E55C93-A525-4090-8F6D-0F064788CB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3363-48D8-B751-EA6AD3438C92}"/>
                </c:ext>
              </c:extLst>
            </c:dLbl>
            <c:dLbl>
              <c:idx val="11"/>
              <c:tx>
                <c:rich>
                  <a:bodyPr/>
                  <a:lstStyle/>
                  <a:p>
                    <a:fld id="{99C6BDB6-CD78-4936-96ED-482CC45C84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3363-48D8-B751-EA6AD3438C92}"/>
                </c:ext>
              </c:extLst>
            </c:dLbl>
            <c:dLbl>
              <c:idx val="12"/>
              <c:tx>
                <c:rich>
                  <a:bodyPr/>
                  <a:lstStyle/>
                  <a:p>
                    <a:fld id="{61535968-10A3-475C-8E60-280806E5E6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3363-48D8-B751-EA6AD3438C92}"/>
                </c:ext>
              </c:extLst>
            </c:dLbl>
            <c:dLbl>
              <c:idx val="13"/>
              <c:tx>
                <c:rich>
                  <a:bodyPr/>
                  <a:lstStyle/>
                  <a:p>
                    <a:fld id="{BF0BF295-2C76-4F9B-928C-169B248E1F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3363-48D8-B751-EA6AD3438C92}"/>
                </c:ext>
              </c:extLst>
            </c:dLbl>
            <c:dLbl>
              <c:idx val="14"/>
              <c:tx>
                <c:rich>
                  <a:bodyPr/>
                  <a:lstStyle/>
                  <a:p>
                    <a:fld id="{B3E19B20-9DF0-4C1C-B6C3-8108667F41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3363-48D8-B751-EA6AD3438C92}"/>
                </c:ext>
              </c:extLst>
            </c:dLbl>
            <c:dLbl>
              <c:idx val="15"/>
              <c:tx>
                <c:rich>
                  <a:bodyPr/>
                  <a:lstStyle/>
                  <a:p>
                    <a:fld id="{58AE76A1-0150-4BB8-997F-52F37C1B9E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3363-48D8-B751-EA6AD3438C92}"/>
                </c:ext>
              </c:extLst>
            </c:dLbl>
            <c:dLbl>
              <c:idx val="16"/>
              <c:tx>
                <c:rich>
                  <a:bodyPr/>
                  <a:lstStyle/>
                  <a:p>
                    <a:fld id="{0E98FB19-F10E-4B5C-B4BB-50B1280CD1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3363-48D8-B751-EA6AD3438C92}"/>
                </c:ext>
              </c:extLst>
            </c:dLbl>
            <c:dLbl>
              <c:idx val="17"/>
              <c:tx>
                <c:rich>
                  <a:bodyPr/>
                  <a:lstStyle/>
                  <a:p>
                    <a:fld id="{7F5F1BF9-5E8F-44D2-ABCF-A03CCCBB0D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3363-48D8-B751-EA6AD3438C92}"/>
                </c:ext>
              </c:extLst>
            </c:dLbl>
            <c:dLbl>
              <c:idx val="18"/>
              <c:tx>
                <c:rich>
                  <a:bodyPr/>
                  <a:lstStyle/>
                  <a:p>
                    <a:fld id="{51119B0F-2E07-4E26-A2D2-121ABDC031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3363-48D8-B751-EA6AD3438C92}"/>
                </c:ext>
              </c:extLst>
            </c:dLbl>
            <c:dLbl>
              <c:idx val="19"/>
              <c:tx>
                <c:rich>
                  <a:bodyPr/>
                  <a:lstStyle/>
                  <a:p>
                    <a:fld id="{592C9459-ECA3-490C-A006-BE3D10772B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3363-48D8-B751-EA6AD3438C92}"/>
                </c:ext>
              </c:extLst>
            </c:dLbl>
            <c:dLbl>
              <c:idx val="20"/>
              <c:tx>
                <c:rich>
                  <a:bodyPr/>
                  <a:lstStyle/>
                  <a:p>
                    <a:fld id="{68C1D1AB-775C-45C2-979A-DCF02A6E20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3363-48D8-B751-EA6AD3438C92}"/>
                </c:ext>
              </c:extLst>
            </c:dLbl>
            <c:dLbl>
              <c:idx val="21"/>
              <c:tx>
                <c:rich>
                  <a:bodyPr/>
                  <a:lstStyle/>
                  <a:p>
                    <a:fld id="{A7FC8F34-306F-4FB3-B377-2A6C151564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3363-48D8-B751-EA6AD3438C92}"/>
                </c:ext>
              </c:extLst>
            </c:dLbl>
            <c:dLbl>
              <c:idx val="22"/>
              <c:tx>
                <c:rich>
                  <a:bodyPr/>
                  <a:lstStyle/>
                  <a:p>
                    <a:fld id="{F333708A-E0F1-4AC1-A92F-68CB1CD9CA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3363-48D8-B751-EA6AD3438C92}"/>
                </c:ext>
              </c:extLst>
            </c:dLbl>
            <c:dLbl>
              <c:idx val="23"/>
              <c:tx>
                <c:rich>
                  <a:bodyPr/>
                  <a:lstStyle/>
                  <a:p>
                    <a:fld id="{C8E013CF-8E3F-4C9B-A479-F725AB863D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3363-48D8-B751-EA6AD3438C92}"/>
                </c:ext>
              </c:extLst>
            </c:dLbl>
            <c:dLbl>
              <c:idx val="24"/>
              <c:tx>
                <c:rich>
                  <a:bodyPr/>
                  <a:lstStyle/>
                  <a:p>
                    <a:fld id="{BFAC9AAE-4EBA-404A-A128-1CB45E9DE0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3363-48D8-B751-EA6AD3438C92}"/>
                </c:ext>
              </c:extLst>
            </c:dLbl>
            <c:dLbl>
              <c:idx val="25"/>
              <c:tx>
                <c:rich>
                  <a:bodyPr/>
                  <a:lstStyle/>
                  <a:p>
                    <a:fld id="{6F223E0B-8463-4439-A031-4866FC8324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3363-48D8-B751-EA6AD3438C92}"/>
                </c:ext>
              </c:extLst>
            </c:dLbl>
            <c:dLbl>
              <c:idx val="26"/>
              <c:tx>
                <c:rich>
                  <a:bodyPr/>
                  <a:lstStyle/>
                  <a:p>
                    <a:fld id="{F02E8DF3-F3D2-4539-B031-21FD7A1816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3363-48D8-B751-EA6AD3438C92}"/>
                </c:ext>
              </c:extLst>
            </c:dLbl>
            <c:dLbl>
              <c:idx val="27"/>
              <c:tx>
                <c:rich>
                  <a:bodyPr/>
                  <a:lstStyle/>
                  <a:p>
                    <a:fld id="{62873350-7AA7-4548-806E-174FD46CCF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3363-48D8-B751-EA6AD3438C92}"/>
                </c:ext>
              </c:extLst>
            </c:dLbl>
            <c:dLbl>
              <c:idx val="28"/>
              <c:tx>
                <c:rich>
                  <a:bodyPr/>
                  <a:lstStyle/>
                  <a:p>
                    <a:fld id="{D9536B23-EA4E-401C-ACFC-6979624E89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3363-48D8-B751-EA6AD3438C92}"/>
                </c:ext>
              </c:extLst>
            </c:dLbl>
            <c:dLbl>
              <c:idx val="29"/>
              <c:tx>
                <c:rich>
                  <a:bodyPr/>
                  <a:lstStyle/>
                  <a:p>
                    <a:fld id="{1BCDAC11-86C4-4519-9CB8-4A5520C9D0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3363-48D8-B751-EA6AD3438C92}"/>
                </c:ext>
              </c:extLst>
            </c:dLbl>
            <c:dLbl>
              <c:idx val="30"/>
              <c:tx>
                <c:rich>
                  <a:bodyPr/>
                  <a:lstStyle/>
                  <a:p>
                    <a:fld id="{A63F47E1-B297-414F-B74B-0EB348871E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3363-48D8-B751-EA6AD3438C92}"/>
                </c:ext>
              </c:extLst>
            </c:dLbl>
            <c:dLbl>
              <c:idx val="31"/>
              <c:tx>
                <c:rich>
                  <a:bodyPr/>
                  <a:lstStyle/>
                  <a:p>
                    <a:fld id="{CAC8EF5E-B417-4609-89FE-62314237A7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3363-48D8-B751-EA6AD3438C92}"/>
                </c:ext>
              </c:extLst>
            </c:dLbl>
            <c:dLbl>
              <c:idx val="32"/>
              <c:tx>
                <c:rich>
                  <a:bodyPr/>
                  <a:lstStyle/>
                  <a:p>
                    <a:fld id="{CDF2609A-3EEC-48E4-ACCA-6A5FA5DE45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3363-48D8-B751-EA6AD3438C92}"/>
                </c:ext>
              </c:extLst>
            </c:dLbl>
            <c:dLbl>
              <c:idx val="33"/>
              <c:tx>
                <c:rich>
                  <a:bodyPr/>
                  <a:lstStyle/>
                  <a:p>
                    <a:fld id="{907005ED-7BEE-44B7-976C-1B0B7D3D5D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3363-48D8-B751-EA6AD3438C92}"/>
                </c:ext>
              </c:extLst>
            </c:dLbl>
            <c:dLbl>
              <c:idx val="34"/>
              <c:tx>
                <c:rich>
                  <a:bodyPr/>
                  <a:lstStyle/>
                  <a:p>
                    <a:fld id="{23A99C34-F63B-4062-9A07-60835871DF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3363-48D8-B751-EA6AD3438C92}"/>
                </c:ext>
              </c:extLst>
            </c:dLbl>
            <c:dLbl>
              <c:idx val="35"/>
              <c:tx>
                <c:rich>
                  <a:bodyPr/>
                  <a:lstStyle/>
                  <a:p>
                    <a:fld id="{EF6F537B-1010-4DC5-994D-8D4FE582C2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3363-48D8-B751-EA6AD3438C92}"/>
                </c:ext>
              </c:extLst>
            </c:dLbl>
            <c:dLbl>
              <c:idx val="36"/>
              <c:tx>
                <c:rich>
                  <a:bodyPr/>
                  <a:lstStyle/>
                  <a:p>
                    <a:fld id="{8A6BA176-8E36-4971-8680-C481A1EBFF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3363-48D8-B751-EA6AD3438C92}"/>
                </c:ext>
              </c:extLst>
            </c:dLbl>
            <c:dLbl>
              <c:idx val="37"/>
              <c:tx>
                <c:rich>
                  <a:bodyPr/>
                  <a:lstStyle/>
                  <a:p>
                    <a:fld id="{91837BA7-EE95-40E0-8549-3636E286F9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3363-48D8-B751-EA6AD3438C92}"/>
                </c:ext>
              </c:extLst>
            </c:dLbl>
            <c:dLbl>
              <c:idx val="38"/>
              <c:tx>
                <c:rich>
                  <a:bodyPr/>
                  <a:lstStyle/>
                  <a:p>
                    <a:fld id="{54216F1B-1AAF-4750-A837-752F9F4FE8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3363-48D8-B751-EA6AD3438C92}"/>
                </c:ext>
              </c:extLst>
            </c:dLbl>
            <c:dLbl>
              <c:idx val="39"/>
              <c:tx>
                <c:rich>
                  <a:bodyPr/>
                  <a:lstStyle/>
                  <a:p>
                    <a:fld id="{411512CE-FBE3-4DCB-9CA2-44D1741693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3363-48D8-B751-EA6AD3438C92}"/>
                </c:ext>
              </c:extLst>
            </c:dLbl>
            <c:dLbl>
              <c:idx val="40"/>
              <c:tx>
                <c:rich>
                  <a:bodyPr/>
                  <a:lstStyle/>
                  <a:p>
                    <a:fld id="{EA3CE287-5091-4E8B-8F6D-266C6BC1BE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3363-48D8-B751-EA6AD3438C92}"/>
                </c:ext>
              </c:extLst>
            </c:dLbl>
            <c:dLbl>
              <c:idx val="41"/>
              <c:tx>
                <c:rich>
                  <a:bodyPr/>
                  <a:lstStyle/>
                  <a:p>
                    <a:fld id="{D010596B-34E9-401B-A790-8FA0603346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3363-48D8-B751-EA6AD3438C92}"/>
                </c:ext>
              </c:extLst>
            </c:dLbl>
            <c:dLbl>
              <c:idx val="42"/>
              <c:tx>
                <c:rich>
                  <a:bodyPr/>
                  <a:lstStyle/>
                  <a:p>
                    <a:fld id="{7A699539-EDDA-4975-B65C-293095F380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3363-48D8-B751-EA6AD3438C92}"/>
                </c:ext>
              </c:extLst>
            </c:dLbl>
            <c:dLbl>
              <c:idx val="43"/>
              <c:tx>
                <c:rich>
                  <a:bodyPr/>
                  <a:lstStyle/>
                  <a:p>
                    <a:fld id="{CD621EFC-477B-490A-AF25-D5EBF0CF20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3363-48D8-B751-EA6AD3438C92}"/>
                </c:ext>
              </c:extLst>
            </c:dLbl>
            <c:dLbl>
              <c:idx val="44"/>
              <c:tx>
                <c:rich>
                  <a:bodyPr/>
                  <a:lstStyle/>
                  <a:p>
                    <a:fld id="{707DF21A-A960-49E5-9D37-42A84667FB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3363-48D8-B751-EA6AD3438C92}"/>
                </c:ext>
              </c:extLst>
            </c:dLbl>
            <c:dLbl>
              <c:idx val="45"/>
              <c:tx>
                <c:rich>
                  <a:bodyPr/>
                  <a:lstStyle/>
                  <a:p>
                    <a:fld id="{ED62AE28-F150-4CB5-AA38-9CE90388F9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3363-48D8-B751-EA6AD3438C92}"/>
                </c:ext>
              </c:extLst>
            </c:dLbl>
            <c:dLbl>
              <c:idx val="46"/>
              <c:tx>
                <c:rich>
                  <a:bodyPr/>
                  <a:lstStyle/>
                  <a:p>
                    <a:fld id="{C5A21C35-A0B3-4E19-B92D-559119EB8F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3363-48D8-B751-EA6AD3438C92}"/>
                </c:ext>
              </c:extLst>
            </c:dLbl>
            <c:dLbl>
              <c:idx val="47"/>
              <c:tx>
                <c:rich>
                  <a:bodyPr/>
                  <a:lstStyle/>
                  <a:p>
                    <a:fld id="{7B821A72-3AC5-472D-BA12-D4B364246F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62</c:v>
                </c:pt>
                <c:pt idx="1">
                  <c:v>1.45</c:v>
                </c:pt>
                <c:pt idx="2">
                  <c:v>0.06</c:v>
                </c:pt>
                <c:pt idx="3">
                  <c:v>0</c:v>
                </c:pt>
                <c:pt idx="4">
                  <c:v>0</c:v>
                </c:pt>
              </c:numCache>
            </c:numRef>
          </c:xVal>
          <c:yVal>
            <c:numRef>
              <c:f>Sheet1!$B$2:$B$6</c:f>
              <c:numCache>
                <c:formatCode>General</c:formatCode>
                <c:ptCount val="5"/>
                <c:pt idx="0">
                  <c:v>0.48949278056319978</c:v>
                </c:pt>
                <c:pt idx="1">
                  <c:v>0.25635793006900048</c:v>
                </c:pt>
                <c:pt idx="2">
                  <c:v>1.509793829165107E-2</c:v>
                </c:pt>
                <c:pt idx="3">
                  <c:v>0</c:v>
                </c:pt>
                <c:pt idx="4">
                  <c:v>0</c:v>
                </c:pt>
              </c:numCache>
            </c:numRef>
          </c:yVal>
          <c:bubbleSize>
            <c:numRef>
              <c:f>Sheet1!$C$2:$C$6</c:f>
              <c:numCache>
                <c:formatCode>General</c:formatCode>
                <c:ptCount val="5"/>
                <c:pt idx="0">
                  <c:v>1128687</c:v>
                </c:pt>
                <c:pt idx="1">
                  <c:v>709097</c:v>
                </c:pt>
                <c:pt idx="2">
                  <c:v>612423</c:v>
                </c:pt>
                <c:pt idx="3">
                  <c:v>350447</c:v>
                </c:pt>
                <c:pt idx="4">
                  <c:v>287346</c:v>
                </c:pt>
              </c:numCache>
            </c:numRef>
          </c:bubbleSize>
          <c:bubble3D val="0"/>
          <c:extLst>
            <c:ext xmlns:c15="http://schemas.microsoft.com/office/drawing/2012/chart" uri="{02D57815-91ED-43cb-92C2-25804820EDAC}">
              <c15:datalabelsRange>
                <c15:f>Sheet1!$E$2:$E$49</c15:f>
                <c15:dlblRangeCache>
                  <c:ptCount val="48"/>
                  <c:pt idx="0">
                    <c:v>1</c:v>
                  </c:pt>
                  <c:pt idx="1">
                    <c:v>2</c:v>
                  </c:pt>
                  <c:pt idx="2">
                    <c:v>3</c:v>
                  </c:pt>
                  <c:pt idx="3">
                    <c:v>4</c:v>
                  </c:pt>
                  <c:pt idx="4">
                    <c:v>5</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2"/>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At val="1"/>
        <c:crossBetween val="midCat"/>
      </c:valAx>
      <c:valAx>
        <c:axId val="1011451359"/>
        <c:scaling>
          <c:orientation val="minMax"/>
          <c:max val="1.2"/>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At val="1"/>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r>
                      <a:t>1</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EE4B-4312-8F62-0B51F9A74EE8}"/>
                </c:ext>
              </c:extLst>
            </c:dLbl>
            <c:dLbl>
              <c:idx val="1"/>
              <c:tx>
                <c:rich>
                  <a:bodyPr/>
                  <a:lstStyle/>
                  <a:p>
                    <a:fld id="{A14900F9-FA02-40E7-9033-7D08BB6140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EE4B-4312-8F62-0B51F9A74EE8}"/>
                </c:ext>
              </c:extLst>
            </c:dLbl>
            <c:dLbl>
              <c:idx val="2"/>
              <c:tx>
                <c:rich>
                  <a:bodyPr wrap="square" lIns="38100" tIns="19050" rIns="38100" bIns="19050" anchor="ctr">
                    <a:noAutofit/>
                  </a:bodyPr>
                  <a:lstStyle/>
                  <a:p>
                    <a:pPr>
                      <a:defRPr>
                        <a:solidFill>
                          <a:schemeClr val="tx2"/>
                        </a:solidFill>
                      </a:defRPr>
                    </a:pPr>
                    <a:fld id="{2ACB67BA-0767-428C-A44F-BC1663BC8CB5}" type="CELLRANGE">
                      <a:rPr lang="en-US" dirty="0">
                        <a:solidFill>
                          <a:schemeClr val="tx2"/>
                        </a:solidFill>
                      </a:rPr>
                      <a:pPr>
                        <a:defRPr>
                          <a:solidFill>
                            <a:schemeClr val="tx2"/>
                          </a:solidFill>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78C5F7AF-4F96-4DB9-96FC-4B416C89F2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3363-48D8-B751-EA6AD3438C92}"/>
                </c:ext>
              </c:extLst>
            </c:dLbl>
            <c:dLbl>
              <c:idx val="4"/>
              <c:tx>
                <c:rich>
                  <a:bodyPr/>
                  <a:lstStyle/>
                  <a:p>
                    <a:fld id="{A12E31F7-364C-49F9-8C25-81BE862BCE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3363-48D8-B751-EA6AD3438C92}"/>
                </c:ext>
              </c:extLst>
            </c:dLbl>
            <c:dLbl>
              <c:idx val="5"/>
              <c:tx>
                <c:rich>
                  <a:bodyPr/>
                  <a:lstStyle/>
                  <a:p>
                    <a:fld id="{F7B04725-CAAC-4D98-9317-C5E1EAD760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3363-48D8-B751-EA6AD3438C92}"/>
                </c:ext>
              </c:extLst>
            </c:dLbl>
            <c:dLbl>
              <c:idx val="6"/>
              <c:tx>
                <c:rich>
                  <a:bodyPr/>
                  <a:lstStyle/>
                  <a:p>
                    <a:fld id="{9FDE524A-6FA6-4E11-B8AE-6AA71FD8FF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3363-48D8-B751-EA6AD3438C92}"/>
                </c:ext>
              </c:extLst>
            </c:dLbl>
            <c:dLbl>
              <c:idx val="7"/>
              <c:tx>
                <c:rich>
                  <a:bodyPr/>
                  <a:lstStyle/>
                  <a:p>
                    <a:fld id="{89DC92DA-BAF7-4123-93BE-1ECCBD51A0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3363-48D8-B751-EA6AD3438C92}"/>
                </c:ext>
              </c:extLst>
            </c:dLbl>
            <c:dLbl>
              <c:idx val="8"/>
              <c:tx>
                <c:rich>
                  <a:bodyPr/>
                  <a:lstStyle/>
                  <a:p>
                    <a:fld id="{4B1EBDF3-BFB7-4F9A-9308-E960AA2EA9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3363-48D8-B751-EA6AD3438C92}"/>
                </c:ext>
              </c:extLst>
            </c:dLbl>
            <c:dLbl>
              <c:idx val="9"/>
              <c:tx>
                <c:rich>
                  <a:bodyPr/>
                  <a:lstStyle/>
                  <a:p>
                    <a:fld id="{34E59E8A-9494-4A13-9B5B-6E3814A44D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3363-48D8-B751-EA6AD3438C92}"/>
                </c:ext>
              </c:extLst>
            </c:dLbl>
            <c:dLbl>
              <c:idx val="10"/>
              <c:tx>
                <c:rich>
                  <a:bodyPr/>
                  <a:lstStyle/>
                  <a:p>
                    <a:fld id="{D4EC0617-2C04-4117-B09C-3D9C4E0737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3363-48D8-B751-EA6AD3438C92}"/>
                </c:ext>
              </c:extLst>
            </c:dLbl>
            <c:dLbl>
              <c:idx val="11"/>
              <c:tx>
                <c:rich>
                  <a:bodyPr/>
                  <a:lstStyle/>
                  <a:p>
                    <a:fld id="{B784D995-FD66-41E0-AADA-EEB203ED0B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3363-48D8-B751-EA6AD3438C92}"/>
                </c:ext>
              </c:extLst>
            </c:dLbl>
            <c:dLbl>
              <c:idx val="12"/>
              <c:tx>
                <c:rich>
                  <a:bodyPr/>
                  <a:lstStyle/>
                  <a:p>
                    <a:fld id="{B1CA112A-8A7D-471A-A2FE-3BF0161112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3363-48D8-B751-EA6AD3438C92}"/>
                </c:ext>
              </c:extLst>
            </c:dLbl>
            <c:dLbl>
              <c:idx val="13"/>
              <c:tx>
                <c:rich>
                  <a:bodyPr/>
                  <a:lstStyle/>
                  <a:p>
                    <a:fld id="{DF2184A2-C91D-41AB-93A9-D02A5FFBAB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3363-48D8-B751-EA6AD3438C92}"/>
                </c:ext>
              </c:extLst>
            </c:dLbl>
            <c:dLbl>
              <c:idx val="14"/>
              <c:tx>
                <c:rich>
                  <a:bodyPr/>
                  <a:lstStyle/>
                  <a:p>
                    <a:fld id="{78AC605B-9D22-46FC-BDF7-B646D85272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3363-48D8-B751-EA6AD3438C92}"/>
                </c:ext>
              </c:extLst>
            </c:dLbl>
            <c:dLbl>
              <c:idx val="15"/>
              <c:tx>
                <c:rich>
                  <a:bodyPr/>
                  <a:lstStyle/>
                  <a:p>
                    <a:fld id="{FFADD1F2-C304-4DC6-8483-FFD664A439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3363-48D8-B751-EA6AD3438C92}"/>
                </c:ext>
              </c:extLst>
            </c:dLbl>
            <c:dLbl>
              <c:idx val="16"/>
              <c:tx>
                <c:rich>
                  <a:bodyPr/>
                  <a:lstStyle/>
                  <a:p>
                    <a:fld id="{97B5CC2E-A432-4F0C-B3DD-F8699A57F3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3363-48D8-B751-EA6AD3438C92}"/>
                </c:ext>
              </c:extLst>
            </c:dLbl>
            <c:dLbl>
              <c:idx val="17"/>
              <c:tx>
                <c:rich>
                  <a:bodyPr/>
                  <a:lstStyle/>
                  <a:p>
                    <a:fld id="{911BF2F9-A5BA-48F1-B2FC-3B4D2BFC2D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3363-48D8-B751-EA6AD3438C92}"/>
                </c:ext>
              </c:extLst>
            </c:dLbl>
            <c:dLbl>
              <c:idx val="18"/>
              <c:tx>
                <c:rich>
                  <a:bodyPr/>
                  <a:lstStyle/>
                  <a:p>
                    <a:fld id="{A91AD6D8-F796-4D33-9AAB-AE8E5D3519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3363-48D8-B751-EA6AD3438C92}"/>
                </c:ext>
              </c:extLst>
            </c:dLbl>
            <c:dLbl>
              <c:idx val="19"/>
              <c:tx>
                <c:rich>
                  <a:bodyPr/>
                  <a:lstStyle/>
                  <a:p>
                    <a:fld id="{56758AA3-DF62-489F-8225-E599A222D0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3363-48D8-B751-EA6AD3438C92}"/>
                </c:ext>
              </c:extLst>
            </c:dLbl>
            <c:dLbl>
              <c:idx val="20"/>
              <c:tx>
                <c:rich>
                  <a:bodyPr/>
                  <a:lstStyle/>
                  <a:p>
                    <a:fld id="{82827B0E-2F6A-4717-B949-2C10708892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3363-48D8-B751-EA6AD3438C92}"/>
                </c:ext>
              </c:extLst>
            </c:dLbl>
            <c:dLbl>
              <c:idx val="21"/>
              <c:tx>
                <c:rich>
                  <a:bodyPr/>
                  <a:lstStyle/>
                  <a:p>
                    <a:fld id="{33352493-BA3E-42D5-B169-F1E9AF48BB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3363-48D8-B751-EA6AD3438C92}"/>
                </c:ext>
              </c:extLst>
            </c:dLbl>
            <c:dLbl>
              <c:idx val="22"/>
              <c:tx>
                <c:rich>
                  <a:bodyPr/>
                  <a:lstStyle/>
                  <a:p>
                    <a:fld id="{D094DBC4-36EC-49CC-8580-3576F74AA2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3363-48D8-B751-EA6AD3438C92}"/>
                </c:ext>
              </c:extLst>
            </c:dLbl>
            <c:dLbl>
              <c:idx val="23"/>
              <c:tx>
                <c:rich>
                  <a:bodyPr/>
                  <a:lstStyle/>
                  <a:p>
                    <a:fld id="{EFE32236-3C83-4BE6-A193-4A34CCDE52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3363-48D8-B751-EA6AD3438C92}"/>
                </c:ext>
              </c:extLst>
            </c:dLbl>
            <c:dLbl>
              <c:idx val="24"/>
              <c:tx>
                <c:rich>
                  <a:bodyPr/>
                  <a:lstStyle/>
                  <a:p>
                    <a:fld id="{F63A6B02-8742-4CF9-9965-A2767CF76F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3363-48D8-B751-EA6AD3438C92}"/>
                </c:ext>
              </c:extLst>
            </c:dLbl>
            <c:dLbl>
              <c:idx val="25"/>
              <c:tx>
                <c:rich>
                  <a:bodyPr/>
                  <a:lstStyle/>
                  <a:p>
                    <a:fld id="{86378CCC-E8E3-4F56-A8BD-7507E8FCB3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3363-48D8-B751-EA6AD3438C92}"/>
                </c:ext>
              </c:extLst>
            </c:dLbl>
            <c:dLbl>
              <c:idx val="26"/>
              <c:tx>
                <c:rich>
                  <a:bodyPr/>
                  <a:lstStyle/>
                  <a:p>
                    <a:fld id="{0969FD4F-D60F-4089-87C6-E922F40327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3363-48D8-B751-EA6AD3438C92}"/>
                </c:ext>
              </c:extLst>
            </c:dLbl>
            <c:dLbl>
              <c:idx val="27"/>
              <c:tx>
                <c:rich>
                  <a:bodyPr/>
                  <a:lstStyle/>
                  <a:p>
                    <a:fld id="{80D2796A-2D5E-4439-A4DD-29BE18FFEA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3363-48D8-B751-EA6AD3438C92}"/>
                </c:ext>
              </c:extLst>
            </c:dLbl>
            <c:dLbl>
              <c:idx val="28"/>
              <c:tx>
                <c:rich>
                  <a:bodyPr/>
                  <a:lstStyle/>
                  <a:p>
                    <a:fld id="{22108659-D2CA-46DF-97E8-27464D5BDE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3363-48D8-B751-EA6AD3438C92}"/>
                </c:ext>
              </c:extLst>
            </c:dLbl>
            <c:dLbl>
              <c:idx val="29"/>
              <c:tx>
                <c:rich>
                  <a:bodyPr/>
                  <a:lstStyle/>
                  <a:p>
                    <a:fld id="{F59DD98E-5C71-4FC5-BE6D-DAB1F91564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3363-48D8-B751-EA6AD3438C92}"/>
                </c:ext>
              </c:extLst>
            </c:dLbl>
            <c:dLbl>
              <c:idx val="30"/>
              <c:tx>
                <c:rich>
                  <a:bodyPr/>
                  <a:lstStyle/>
                  <a:p>
                    <a:fld id="{9D03AA9C-3C65-47D7-9374-CB6E8A464D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3363-48D8-B751-EA6AD3438C92}"/>
                </c:ext>
              </c:extLst>
            </c:dLbl>
            <c:dLbl>
              <c:idx val="31"/>
              <c:tx>
                <c:rich>
                  <a:bodyPr/>
                  <a:lstStyle/>
                  <a:p>
                    <a:fld id="{27A0FA2C-5889-4989-BD88-68BC9802FB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3363-48D8-B751-EA6AD3438C92}"/>
                </c:ext>
              </c:extLst>
            </c:dLbl>
            <c:dLbl>
              <c:idx val="32"/>
              <c:tx>
                <c:rich>
                  <a:bodyPr/>
                  <a:lstStyle/>
                  <a:p>
                    <a:fld id="{1D207065-E9B6-4156-8A77-AE754B379F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3363-48D8-B751-EA6AD3438C92}"/>
                </c:ext>
              </c:extLst>
            </c:dLbl>
            <c:dLbl>
              <c:idx val="33"/>
              <c:tx>
                <c:rich>
                  <a:bodyPr/>
                  <a:lstStyle/>
                  <a:p>
                    <a:fld id="{E0E00913-4BED-41C1-8B97-26A88967E8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3363-48D8-B751-EA6AD3438C92}"/>
                </c:ext>
              </c:extLst>
            </c:dLbl>
            <c:dLbl>
              <c:idx val="34"/>
              <c:tx>
                <c:rich>
                  <a:bodyPr/>
                  <a:lstStyle/>
                  <a:p>
                    <a:fld id="{B3DD7509-B3BB-4583-88B6-C7A8BA48FD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3363-48D8-B751-EA6AD3438C92}"/>
                </c:ext>
              </c:extLst>
            </c:dLbl>
            <c:dLbl>
              <c:idx val="35"/>
              <c:tx>
                <c:rich>
                  <a:bodyPr/>
                  <a:lstStyle/>
                  <a:p>
                    <a:fld id="{737F7927-BBFE-4F93-B983-8CAA42E236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3363-48D8-B751-EA6AD3438C92}"/>
                </c:ext>
              </c:extLst>
            </c:dLbl>
            <c:dLbl>
              <c:idx val="36"/>
              <c:tx>
                <c:rich>
                  <a:bodyPr/>
                  <a:lstStyle/>
                  <a:p>
                    <a:fld id="{D5188807-CD46-4E23-8F60-E39D13BA52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3363-48D8-B751-EA6AD3438C92}"/>
                </c:ext>
              </c:extLst>
            </c:dLbl>
            <c:dLbl>
              <c:idx val="37"/>
              <c:tx>
                <c:rich>
                  <a:bodyPr/>
                  <a:lstStyle/>
                  <a:p>
                    <a:fld id="{6BCCE28F-8DEF-48AB-AAC7-D97DC2DDCA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3363-48D8-B751-EA6AD3438C92}"/>
                </c:ext>
              </c:extLst>
            </c:dLbl>
            <c:dLbl>
              <c:idx val="38"/>
              <c:tx>
                <c:rich>
                  <a:bodyPr/>
                  <a:lstStyle/>
                  <a:p>
                    <a:fld id="{38FBE317-D34C-49F9-AFFA-D29075030A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3363-48D8-B751-EA6AD3438C92}"/>
                </c:ext>
              </c:extLst>
            </c:dLbl>
            <c:dLbl>
              <c:idx val="39"/>
              <c:tx>
                <c:rich>
                  <a:bodyPr/>
                  <a:lstStyle/>
                  <a:p>
                    <a:fld id="{87E7CC92-48ED-4D3E-BE4D-FA13C30D67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3363-48D8-B751-EA6AD3438C92}"/>
                </c:ext>
              </c:extLst>
            </c:dLbl>
            <c:dLbl>
              <c:idx val="40"/>
              <c:tx>
                <c:rich>
                  <a:bodyPr/>
                  <a:lstStyle/>
                  <a:p>
                    <a:fld id="{0C24BA6E-33D5-4289-AE92-82A1F2FCF6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3363-48D8-B751-EA6AD3438C92}"/>
                </c:ext>
              </c:extLst>
            </c:dLbl>
            <c:dLbl>
              <c:idx val="41"/>
              <c:tx>
                <c:rich>
                  <a:bodyPr/>
                  <a:lstStyle/>
                  <a:p>
                    <a:fld id="{49F2B2B8-A349-4324-B8C1-E6971DCB42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3363-48D8-B751-EA6AD3438C92}"/>
                </c:ext>
              </c:extLst>
            </c:dLbl>
            <c:dLbl>
              <c:idx val="42"/>
              <c:tx>
                <c:rich>
                  <a:bodyPr/>
                  <a:lstStyle/>
                  <a:p>
                    <a:fld id="{C40DA7B5-2575-44EC-AA26-824CCE1C3E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3363-48D8-B751-EA6AD3438C92}"/>
                </c:ext>
              </c:extLst>
            </c:dLbl>
            <c:dLbl>
              <c:idx val="43"/>
              <c:tx>
                <c:rich>
                  <a:bodyPr/>
                  <a:lstStyle/>
                  <a:p>
                    <a:fld id="{A1669C31-278F-4DBD-B303-D60DD2AE17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3363-48D8-B751-EA6AD3438C92}"/>
                </c:ext>
              </c:extLst>
            </c:dLbl>
            <c:dLbl>
              <c:idx val="44"/>
              <c:tx>
                <c:rich>
                  <a:bodyPr/>
                  <a:lstStyle/>
                  <a:p>
                    <a:fld id="{BBCCCF73-7072-4E8C-9643-B8BC39FACB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3363-48D8-B751-EA6AD3438C92}"/>
                </c:ext>
              </c:extLst>
            </c:dLbl>
            <c:dLbl>
              <c:idx val="45"/>
              <c:tx>
                <c:rich>
                  <a:bodyPr/>
                  <a:lstStyle/>
                  <a:p>
                    <a:fld id="{A7267A39-67D4-41C3-B3C9-04FBF2D987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3363-48D8-B751-EA6AD3438C92}"/>
                </c:ext>
              </c:extLst>
            </c:dLbl>
            <c:dLbl>
              <c:idx val="46"/>
              <c:tx>
                <c:rich>
                  <a:bodyPr/>
                  <a:lstStyle/>
                  <a:p>
                    <a:fld id="{CE24FC15-A4FB-4340-99EC-9D4080F871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3363-48D8-B751-EA6AD3438C92}"/>
                </c:ext>
              </c:extLst>
            </c:dLbl>
            <c:dLbl>
              <c:idx val="47"/>
              <c:tx>
                <c:rich>
                  <a:bodyPr/>
                  <a:lstStyle/>
                  <a:p>
                    <a:fld id="{35425923-4531-4FCC-840D-FE4169043F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9</c:v>
                </c:pt>
              </c:numCache>
            </c:numRef>
          </c:xVal>
          <c:yVal>
            <c:numRef>
              <c:f>Sheet1!$B$2:$B$2</c:f>
              <c:numCache>
                <c:formatCode>General</c:formatCode>
                <c:ptCount val="1"/>
                <c:pt idx="0">
                  <c:v>0.23068760673495251</c:v>
                </c:pt>
              </c:numCache>
            </c:numRef>
          </c:yVal>
          <c:bubbleSize>
            <c:numRef>
              <c:f>Sheet1!$C$2:$C$2</c:f>
              <c:numCache>
                <c:formatCode>General</c:formatCode>
                <c:ptCount val="1"/>
                <c:pt idx="0">
                  <c:v>8454937</c:v>
                </c:pt>
              </c:numCache>
            </c:numRef>
          </c:bubbleSize>
          <c:bubble3D val="0"/>
          <c:extLst>
            <c:ext xmlns:c15="http://schemas.microsoft.com/office/drawing/2012/chart" uri="{02D57815-91ED-43cb-92C2-25804820EDAC}">
              <c15:datalabelsRange>
                <c15:f>Sheet1!$E$2:$E$49</c15:f>
                <c15:dlblRangeCache>
                  <c:ptCount val="48"/>
                  <c:pt idx="0">
                    <c:v>1</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At val="1"/>
        <c:crossBetween val="midCat"/>
      </c:valAx>
      <c:valAx>
        <c:axId val="1011451359"/>
        <c:scaling>
          <c:orientation val="minMax"/>
          <c:max val="1.2"/>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At val="1.9"/>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3-3C16-4125-B97A-D0EBA9D0B1CF}"/>
              </c:ext>
            </c:extLst>
          </c:dPt>
          <c:dPt>
            <c:idx val="1"/>
            <c:invertIfNegative val="0"/>
            <c:bubble3D val="0"/>
            <c:spPr>
              <a:solidFill>
                <a:srgbClr val="FFBFBF"/>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c:v>
                </c:pt>
                <c:pt idx="1">
                  <c:v>Harry's</c:v>
                </c:pt>
              </c:strCache>
            </c:strRef>
          </c:cat>
          <c:val>
            <c:numRef>
              <c:f>Sheet1!$B$2:$B$3</c:f>
              <c:numCache>
                <c:formatCode>General</c:formatCode>
                <c:ptCount val="2"/>
                <c:pt idx="0">
                  <c:v>-9.6999999999999975E-2</c:v>
                </c:pt>
                <c:pt idx="1">
                  <c:v>-0.52</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fld id="{32BD9A24-8076-47DC-98A5-F393EB6E8E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fld id="{716D422A-456C-415E-8EEE-ECD52A6F34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E4B-4312-8F62-0B51F9A74EE8}"/>
                </c:ext>
              </c:extLst>
            </c:dLbl>
            <c:dLbl>
              <c:idx val="2"/>
              <c:tx>
                <c:rich>
                  <a:bodyPr/>
                  <a:lstStyle/>
                  <a:p>
                    <a:fld id="{2ACB67BA-0767-428C-A44F-BC1663BC8CB5}" type="CELLRANGE">
                      <a:rPr lang="en-US" dirty="0">
                        <a:solidFill>
                          <a:schemeClr val="tx2"/>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4E5FFA2A-FCCA-401B-AF59-5C86C1223A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63-48D8-B751-EA6AD3438C92}"/>
                </c:ext>
              </c:extLst>
            </c:dLbl>
            <c:dLbl>
              <c:idx val="4"/>
              <c:tx>
                <c:rich>
                  <a:bodyPr/>
                  <a:lstStyle/>
                  <a:p>
                    <a:r>
                      <a:t>5</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3363-48D8-B751-EA6AD3438C92}"/>
                </c:ext>
              </c:extLst>
            </c:dLbl>
            <c:dLbl>
              <c:idx val="5"/>
              <c:tx>
                <c:rich>
                  <a:bodyPr/>
                  <a:lstStyle/>
                  <a:p>
                    <a:fld id="{61F3F8F4-AC23-4108-94BD-4C034497A5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3363-48D8-B751-EA6AD3438C92}"/>
                </c:ext>
              </c:extLst>
            </c:dLbl>
            <c:dLbl>
              <c:idx val="6"/>
              <c:tx>
                <c:rich>
                  <a:bodyPr/>
                  <a:lstStyle/>
                  <a:p>
                    <a:fld id="{A1EF0936-80CA-4385-AA71-C8CC0DDBC7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3363-48D8-B751-EA6AD3438C92}"/>
                </c:ext>
              </c:extLst>
            </c:dLbl>
            <c:dLbl>
              <c:idx val="7"/>
              <c:tx>
                <c:rich>
                  <a:bodyPr/>
                  <a:lstStyle/>
                  <a:p>
                    <a:fld id="{492E23C9-916C-4C0D-A347-4BCC7540F6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3363-48D8-B751-EA6AD3438C92}"/>
                </c:ext>
              </c:extLst>
            </c:dLbl>
            <c:dLbl>
              <c:idx val="8"/>
              <c:tx>
                <c:rich>
                  <a:bodyPr/>
                  <a:lstStyle/>
                  <a:p>
                    <a:fld id="{15BA1248-BC78-4478-9CD4-F1312ED8EF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3363-48D8-B751-EA6AD3438C92}"/>
                </c:ext>
              </c:extLst>
            </c:dLbl>
            <c:dLbl>
              <c:idx val="9"/>
              <c:tx>
                <c:rich>
                  <a:bodyPr/>
                  <a:lstStyle/>
                  <a:p>
                    <a:fld id="{323BB8F3-E3C1-430D-BE80-D42CE26292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3363-48D8-B751-EA6AD3438C92}"/>
                </c:ext>
              </c:extLst>
            </c:dLbl>
            <c:dLbl>
              <c:idx val="10"/>
              <c:tx>
                <c:rich>
                  <a:bodyPr/>
                  <a:lstStyle/>
                  <a:p>
                    <a:fld id="{569D7B74-D7C9-4F46-8029-7DBA57845F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3363-48D8-B751-EA6AD3438C92}"/>
                </c:ext>
              </c:extLst>
            </c:dLbl>
            <c:dLbl>
              <c:idx val="11"/>
              <c:tx>
                <c:rich>
                  <a:bodyPr/>
                  <a:lstStyle/>
                  <a:p>
                    <a:fld id="{B8016FD6-D318-4522-9086-CF7EF20A8A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3363-48D8-B751-EA6AD3438C92}"/>
                </c:ext>
              </c:extLst>
            </c:dLbl>
            <c:dLbl>
              <c:idx val="12"/>
              <c:tx>
                <c:rich>
                  <a:bodyPr/>
                  <a:lstStyle/>
                  <a:p>
                    <a:fld id="{AC73A0B6-CE51-4BB3-8618-C6C06246BC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3363-48D8-B751-EA6AD3438C92}"/>
                </c:ext>
              </c:extLst>
            </c:dLbl>
            <c:dLbl>
              <c:idx val="13"/>
              <c:tx>
                <c:rich>
                  <a:bodyPr/>
                  <a:lstStyle/>
                  <a:p>
                    <a:fld id="{F309DCF5-7E07-470F-9F15-622DC15630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3363-48D8-B751-EA6AD3438C92}"/>
                </c:ext>
              </c:extLst>
            </c:dLbl>
            <c:dLbl>
              <c:idx val="14"/>
              <c:tx>
                <c:rich>
                  <a:bodyPr/>
                  <a:lstStyle/>
                  <a:p>
                    <a:fld id="{B974C081-FA34-4B78-B81D-2AA03E7891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3363-48D8-B751-EA6AD3438C92}"/>
                </c:ext>
              </c:extLst>
            </c:dLbl>
            <c:dLbl>
              <c:idx val="15"/>
              <c:tx>
                <c:rich>
                  <a:bodyPr/>
                  <a:lstStyle/>
                  <a:p>
                    <a:fld id="{F0724174-AC20-4BEE-8C0F-EA8038FAFD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3363-48D8-B751-EA6AD3438C92}"/>
                </c:ext>
              </c:extLst>
            </c:dLbl>
            <c:dLbl>
              <c:idx val="16"/>
              <c:tx>
                <c:rich>
                  <a:bodyPr/>
                  <a:lstStyle/>
                  <a:p>
                    <a:fld id="{C63CAABD-6893-47E2-907A-D1BD3A8787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3363-48D8-B751-EA6AD3438C92}"/>
                </c:ext>
              </c:extLst>
            </c:dLbl>
            <c:dLbl>
              <c:idx val="17"/>
              <c:tx>
                <c:rich>
                  <a:bodyPr/>
                  <a:lstStyle/>
                  <a:p>
                    <a:fld id="{10372D6F-F94F-4CA9-8FCE-A1479687B4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3363-48D8-B751-EA6AD3438C92}"/>
                </c:ext>
              </c:extLst>
            </c:dLbl>
            <c:dLbl>
              <c:idx val="18"/>
              <c:tx>
                <c:rich>
                  <a:bodyPr/>
                  <a:lstStyle/>
                  <a:p>
                    <a:fld id="{E073B627-CA42-4C62-B432-6237CD5999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3363-48D8-B751-EA6AD3438C92}"/>
                </c:ext>
              </c:extLst>
            </c:dLbl>
            <c:dLbl>
              <c:idx val="19"/>
              <c:tx>
                <c:rich>
                  <a:bodyPr/>
                  <a:lstStyle/>
                  <a:p>
                    <a:fld id="{B1E75762-D2DD-424F-98FB-B00C300B97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3363-48D8-B751-EA6AD3438C92}"/>
                </c:ext>
              </c:extLst>
            </c:dLbl>
            <c:dLbl>
              <c:idx val="20"/>
              <c:tx>
                <c:rich>
                  <a:bodyPr/>
                  <a:lstStyle/>
                  <a:p>
                    <a:fld id="{142E3248-3E4E-41F7-86D3-B50174D3BB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3363-48D8-B751-EA6AD3438C92}"/>
                </c:ext>
              </c:extLst>
            </c:dLbl>
            <c:dLbl>
              <c:idx val="21"/>
              <c:tx>
                <c:rich>
                  <a:bodyPr/>
                  <a:lstStyle/>
                  <a:p>
                    <a:fld id="{5661EA88-F708-41B1-9FEE-BE18E3DE21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3363-48D8-B751-EA6AD3438C92}"/>
                </c:ext>
              </c:extLst>
            </c:dLbl>
            <c:dLbl>
              <c:idx val="22"/>
              <c:tx>
                <c:rich>
                  <a:bodyPr/>
                  <a:lstStyle/>
                  <a:p>
                    <a:fld id="{458410AB-8D69-4A22-9F26-700B2858DD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3363-48D8-B751-EA6AD3438C92}"/>
                </c:ext>
              </c:extLst>
            </c:dLbl>
            <c:dLbl>
              <c:idx val="23"/>
              <c:tx>
                <c:rich>
                  <a:bodyPr/>
                  <a:lstStyle/>
                  <a:p>
                    <a:fld id="{80399A8F-6CF7-4548-9E25-A55BC8538C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3363-48D8-B751-EA6AD3438C92}"/>
                </c:ext>
              </c:extLst>
            </c:dLbl>
            <c:dLbl>
              <c:idx val="24"/>
              <c:tx>
                <c:rich>
                  <a:bodyPr/>
                  <a:lstStyle/>
                  <a:p>
                    <a:fld id="{ED4EBC79-29C9-45DD-B4ED-4A8E7C1011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3363-48D8-B751-EA6AD3438C92}"/>
                </c:ext>
              </c:extLst>
            </c:dLbl>
            <c:dLbl>
              <c:idx val="25"/>
              <c:tx>
                <c:rich>
                  <a:bodyPr/>
                  <a:lstStyle/>
                  <a:p>
                    <a:fld id="{ECC1C93D-BEAF-480D-84DA-F643293C7D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3363-48D8-B751-EA6AD3438C92}"/>
                </c:ext>
              </c:extLst>
            </c:dLbl>
            <c:dLbl>
              <c:idx val="26"/>
              <c:tx>
                <c:rich>
                  <a:bodyPr/>
                  <a:lstStyle/>
                  <a:p>
                    <a:fld id="{78A7E15E-2AC3-453A-A78E-0700F42B2C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3363-48D8-B751-EA6AD3438C92}"/>
                </c:ext>
              </c:extLst>
            </c:dLbl>
            <c:dLbl>
              <c:idx val="27"/>
              <c:tx>
                <c:rich>
                  <a:bodyPr/>
                  <a:lstStyle/>
                  <a:p>
                    <a:fld id="{85F4F665-9A7C-4EF0-8739-72B6E9CC12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3363-48D8-B751-EA6AD3438C92}"/>
                </c:ext>
              </c:extLst>
            </c:dLbl>
            <c:dLbl>
              <c:idx val="28"/>
              <c:tx>
                <c:rich>
                  <a:bodyPr/>
                  <a:lstStyle/>
                  <a:p>
                    <a:fld id="{84A62CB4-1CBD-4CBC-AFBA-0975E97A76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3363-48D8-B751-EA6AD3438C92}"/>
                </c:ext>
              </c:extLst>
            </c:dLbl>
            <c:dLbl>
              <c:idx val="29"/>
              <c:tx>
                <c:rich>
                  <a:bodyPr/>
                  <a:lstStyle/>
                  <a:p>
                    <a:fld id="{A36B2E7D-071C-43A7-8264-0006E0A17E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3363-48D8-B751-EA6AD3438C92}"/>
                </c:ext>
              </c:extLst>
            </c:dLbl>
            <c:dLbl>
              <c:idx val="30"/>
              <c:tx>
                <c:rich>
                  <a:bodyPr/>
                  <a:lstStyle/>
                  <a:p>
                    <a:fld id="{E8706678-3D67-47D5-B491-2DBDF81F5D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3363-48D8-B751-EA6AD3438C92}"/>
                </c:ext>
              </c:extLst>
            </c:dLbl>
            <c:dLbl>
              <c:idx val="31"/>
              <c:tx>
                <c:rich>
                  <a:bodyPr/>
                  <a:lstStyle/>
                  <a:p>
                    <a:fld id="{F74114D5-EB45-40DD-A1A4-EEEFD5EBE3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3363-48D8-B751-EA6AD3438C92}"/>
                </c:ext>
              </c:extLst>
            </c:dLbl>
            <c:dLbl>
              <c:idx val="32"/>
              <c:tx>
                <c:rich>
                  <a:bodyPr/>
                  <a:lstStyle/>
                  <a:p>
                    <a:fld id="{79435441-59A9-4F89-AFF6-338280E9BA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3363-48D8-B751-EA6AD3438C92}"/>
                </c:ext>
              </c:extLst>
            </c:dLbl>
            <c:dLbl>
              <c:idx val="33"/>
              <c:tx>
                <c:rich>
                  <a:bodyPr/>
                  <a:lstStyle/>
                  <a:p>
                    <a:fld id="{5ED7532A-CE52-4DD8-B0A4-541EEB580E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3363-48D8-B751-EA6AD3438C92}"/>
                </c:ext>
              </c:extLst>
            </c:dLbl>
            <c:dLbl>
              <c:idx val="34"/>
              <c:tx>
                <c:rich>
                  <a:bodyPr/>
                  <a:lstStyle/>
                  <a:p>
                    <a:fld id="{01919D80-AD61-44B0-8E49-78CD5B0E5A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3363-48D8-B751-EA6AD3438C92}"/>
                </c:ext>
              </c:extLst>
            </c:dLbl>
            <c:dLbl>
              <c:idx val="35"/>
              <c:tx>
                <c:rich>
                  <a:bodyPr/>
                  <a:lstStyle/>
                  <a:p>
                    <a:fld id="{348D6C86-2410-4697-9BD9-80EDB0E0BB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3363-48D8-B751-EA6AD3438C92}"/>
                </c:ext>
              </c:extLst>
            </c:dLbl>
            <c:dLbl>
              <c:idx val="36"/>
              <c:tx>
                <c:rich>
                  <a:bodyPr/>
                  <a:lstStyle/>
                  <a:p>
                    <a:fld id="{A61165BB-B1F2-4B0E-8B22-24440C9934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3363-48D8-B751-EA6AD3438C92}"/>
                </c:ext>
              </c:extLst>
            </c:dLbl>
            <c:dLbl>
              <c:idx val="37"/>
              <c:tx>
                <c:rich>
                  <a:bodyPr/>
                  <a:lstStyle/>
                  <a:p>
                    <a:fld id="{C9EFFA14-5554-42FF-A3D2-7BAAFBA88D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3363-48D8-B751-EA6AD3438C92}"/>
                </c:ext>
              </c:extLst>
            </c:dLbl>
            <c:dLbl>
              <c:idx val="38"/>
              <c:tx>
                <c:rich>
                  <a:bodyPr/>
                  <a:lstStyle/>
                  <a:p>
                    <a:fld id="{95EA298E-8384-456D-AC9A-F23D77D48A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3363-48D8-B751-EA6AD3438C92}"/>
                </c:ext>
              </c:extLst>
            </c:dLbl>
            <c:dLbl>
              <c:idx val="39"/>
              <c:tx>
                <c:rich>
                  <a:bodyPr/>
                  <a:lstStyle/>
                  <a:p>
                    <a:fld id="{0D3B42A3-FCED-4657-A4B6-B3175ECBC1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3363-48D8-B751-EA6AD3438C92}"/>
                </c:ext>
              </c:extLst>
            </c:dLbl>
            <c:dLbl>
              <c:idx val="40"/>
              <c:tx>
                <c:rich>
                  <a:bodyPr/>
                  <a:lstStyle/>
                  <a:p>
                    <a:fld id="{27842E0F-530A-4785-BA15-DC27ABA3B1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3363-48D8-B751-EA6AD3438C92}"/>
                </c:ext>
              </c:extLst>
            </c:dLbl>
            <c:dLbl>
              <c:idx val="41"/>
              <c:tx>
                <c:rich>
                  <a:bodyPr/>
                  <a:lstStyle/>
                  <a:p>
                    <a:fld id="{69EC75D8-F22F-49F4-9878-3CB3EE33EB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3363-48D8-B751-EA6AD3438C92}"/>
                </c:ext>
              </c:extLst>
            </c:dLbl>
            <c:dLbl>
              <c:idx val="42"/>
              <c:tx>
                <c:rich>
                  <a:bodyPr/>
                  <a:lstStyle/>
                  <a:p>
                    <a:fld id="{7E2FFA6E-D2D2-411A-B491-2AD6798A1E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3363-48D8-B751-EA6AD3438C92}"/>
                </c:ext>
              </c:extLst>
            </c:dLbl>
            <c:dLbl>
              <c:idx val="43"/>
              <c:tx>
                <c:rich>
                  <a:bodyPr/>
                  <a:lstStyle/>
                  <a:p>
                    <a:fld id="{F4F5A15B-A97D-486F-97D4-5DFA2FE85A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3363-48D8-B751-EA6AD3438C92}"/>
                </c:ext>
              </c:extLst>
            </c:dLbl>
            <c:dLbl>
              <c:idx val="44"/>
              <c:tx>
                <c:rich>
                  <a:bodyPr/>
                  <a:lstStyle/>
                  <a:p>
                    <a:fld id="{BC6E9085-35FB-4F58-B87A-A6FBCED65E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3363-48D8-B751-EA6AD3438C92}"/>
                </c:ext>
              </c:extLst>
            </c:dLbl>
            <c:dLbl>
              <c:idx val="45"/>
              <c:tx>
                <c:rich>
                  <a:bodyPr/>
                  <a:lstStyle/>
                  <a:p>
                    <a:fld id="{52D19151-A9FA-46D9-8CC6-B3130B5211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3363-48D8-B751-EA6AD3438C92}"/>
                </c:ext>
              </c:extLst>
            </c:dLbl>
            <c:dLbl>
              <c:idx val="46"/>
              <c:tx>
                <c:rich>
                  <a:bodyPr/>
                  <a:lstStyle/>
                  <a:p>
                    <a:fld id="{1C6AA211-07E7-475D-BB33-39A86FD76D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3363-48D8-B751-EA6AD3438C92}"/>
                </c:ext>
              </c:extLst>
            </c:dLbl>
            <c:dLbl>
              <c:idx val="47"/>
              <c:tx>
                <c:rich>
                  <a:bodyPr/>
                  <a:lstStyle/>
                  <a:p>
                    <a:fld id="{D427AEF1-7AD3-46E5-9AFC-1DC0E591A6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62</c:v>
                </c:pt>
                <c:pt idx="1">
                  <c:v>1.45</c:v>
                </c:pt>
                <c:pt idx="2">
                  <c:v>0.06</c:v>
                </c:pt>
                <c:pt idx="3">
                  <c:v>0</c:v>
                </c:pt>
                <c:pt idx="4">
                  <c:v>0</c:v>
                </c:pt>
              </c:numCache>
            </c:numRef>
          </c:xVal>
          <c:yVal>
            <c:numRef>
              <c:f>Sheet1!$B$2:$B$6</c:f>
              <c:numCache>
                <c:formatCode>General</c:formatCode>
                <c:ptCount val="5"/>
                <c:pt idx="0">
                  <c:v>0.48949278056319978</c:v>
                </c:pt>
                <c:pt idx="1">
                  <c:v>0.25635793006900048</c:v>
                </c:pt>
                <c:pt idx="2">
                  <c:v>1.509793829165107E-2</c:v>
                </c:pt>
                <c:pt idx="3">
                  <c:v>0</c:v>
                </c:pt>
                <c:pt idx="4">
                  <c:v>0</c:v>
                </c:pt>
              </c:numCache>
            </c:numRef>
          </c:yVal>
          <c:bubbleSize>
            <c:numRef>
              <c:f>Sheet1!$C$2:$C$6</c:f>
              <c:numCache>
                <c:formatCode>General</c:formatCode>
                <c:ptCount val="5"/>
                <c:pt idx="0">
                  <c:v>1128687</c:v>
                </c:pt>
                <c:pt idx="1">
                  <c:v>709097</c:v>
                </c:pt>
                <c:pt idx="2">
                  <c:v>612423</c:v>
                </c:pt>
                <c:pt idx="3">
                  <c:v>350447</c:v>
                </c:pt>
                <c:pt idx="4">
                  <c:v>287346</c:v>
                </c:pt>
              </c:numCache>
            </c:numRef>
          </c:bubbleSize>
          <c:bubble3D val="0"/>
          <c:extLst>
            <c:ext xmlns:c15="http://schemas.microsoft.com/office/drawing/2012/chart" uri="{02D57815-91ED-43cb-92C2-25804820EDAC}">
              <c15:datalabelsRange>
                <c15:f>Sheet1!$E$2:$E$49</c15:f>
                <c15:dlblRangeCache>
                  <c:ptCount val="48"/>
                  <c:pt idx="0">
                    <c:v>1</c:v>
                  </c:pt>
                  <c:pt idx="1">
                    <c:v>2</c:v>
                  </c:pt>
                  <c:pt idx="2">
                    <c:v>3</c:v>
                  </c:pt>
                  <c:pt idx="3">
                    <c:v>4</c:v>
                  </c:pt>
                  <c:pt idx="4">
                    <c:v>5</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2"/>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At val="1"/>
        <c:crossBetween val="midCat"/>
      </c:valAx>
      <c:valAx>
        <c:axId val="1011451359"/>
        <c:scaling>
          <c:orientation val="minMax"/>
          <c:max val="1.2"/>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At val="1"/>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r>
                      <a:t>1</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EE4B-4312-8F62-0B51F9A74EE8}"/>
                </c:ext>
              </c:extLst>
            </c:dLbl>
            <c:dLbl>
              <c:idx val="1"/>
              <c:tx>
                <c:rich>
                  <a:bodyPr/>
                  <a:lstStyle/>
                  <a:p>
                    <a:fld id="{C7E011EE-2391-4F5C-A807-F024F90239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EE4B-4312-8F62-0B51F9A74EE8}"/>
                </c:ext>
              </c:extLst>
            </c:dLbl>
            <c:dLbl>
              <c:idx val="2"/>
              <c:tx>
                <c:rich>
                  <a:bodyPr wrap="square" lIns="38100" tIns="19050" rIns="38100" bIns="19050" anchor="ctr">
                    <a:noAutofit/>
                  </a:bodyPr>
                  <a:lstStyle/>
                  <a:p>
                    <a:pPr>
                      <a:defRPr>
                        <a:solidFill>
                          <a:schemeClr val="tx2"/>
                        </a:solidFill>
                      </a:defRPr>
                    </a:pPr>
                    <a:fld id="{2ACB67BA-0767-428C-A44F-BC1663BC8CB5}" type="CELLRANGE">
                      <a:rPr lang="en-US" dirty="0">
                        <a:solidFill>
                          <a:schemeClr val="tx2"/>
                        </a:solidFill>
                      </a:rPr>
                      <a:pPr>
                        <a:defRPr>
                          <a:solidFill>
                            <a:schemeClr val="tx2"/>
                          </a:solidFill>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D2FF943C-CC1A-4B7A-A691-21B49D4F15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3363-48D8-B751-EA6AD3438C92}"/>
                </c:ext>
              </c:extLst>
            </c:dLbl>
            <c:dLbl>
              <c:idx val="4"/>
              <c:tx>
                <c:rich>
                  <a:bodyPr/>
                  <a:lstStyle/>
                  <a:p>
                    <a:fld id="{EE87BA09-4E92-45B2-AA15-9F323C54EE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3363-48D8-B751-EA6AD3438C92}"/>
                </c:ext>
              </c:extLst>
            </c:dLbl>
            <c:dLbl>
              <c:idx val="5"/>
              <c:tx>
                <c:rich>
                  <a:bodyPr/>
                  <a:lstStyle/>
                  <a:p>
                    <a:fld id="{C24D4057-DC28-41BA-A2C8-1C97D6A6CE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3363-48D8-B751-EA6AD3438C92}"/>
                </c:ext>
              </c:extLst>
            </c:dLbl>
            <c:dLbl>
              <c:idx val="6"/>
              <c:tx>
                <c:rich>
                  <a:bodyPr/>
                  <a:lstStyle/>
                  <a:p>
                    <a:fld id="{2432AF2B-47C0-40E8-B61D-5B8700F8B5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3363-48D8-B751-EA6AD3438C92}"/>
                </c:ext>
              </c:extLst>
            </c:dLbl>
            <c:dLbl>
              <c:idx val="7"/>
              <c:tx>
                <c:rich>
                  <a:bodyPr/>
                  <a:lstStyle/>
                  <a:p>
                    <a:fld id="{C8988A6D-5A46-4AAE-8399-D953685055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3363-48D8-B751-EA6AD3438C92}"/>
                </c:ext>
              </c:extLst>
            </c:dLbl>
            <c:dLbl>
              <c:idx val="8"/>
              <c:tx>
                <c:rich>
                  <a:bodyPr/>
                  <a:lstStyle/>
                  <a:p>
                    <a:fld id="{CBA783E7-6881-4C6B-8F61-517D92447C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3363-48D8-B751-EA6AD3438C92}"/>
                </c:ext>
              </c:extLst>
            </c:dLbl>
            <c:dLbl>
              <c:idx val="9"/>
              <c:tx>
                <c:rich>
                  <a:bodyPr/>
                  <a:lstStyle/>
                  <a:p>
                    <a:fld id="{4CBA9E4A-EBB6-487D-8724-4C1F687A4C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3363-48D8-B751-EA6AD3438C92}"/>
                </c:ext>
              </c:extLst>
            </c:dLbl>
            <c:dLbl>
              <c:idx val="10"/>
              <c:tx>
                <c:rich>
                  <a:bodyPr/>
                  <a:lstStyle/>
                  <a:p>
                    <a:fld id="{CF9DD5C8-DBB2-4CD3-8530-EE9EABF4F1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3363-48D8-B751-EA6AD3438C92}"/>
                </c:ext>
              </c:extLst>
            </c:dLbl>
            <c:dLbl>
              <c:idx val="11"/>
              <c:tx>
                <c:rich>
                  <a:bodyPr/>
                  <a:lstStyle/>
                  <a:p>
                    <a:fld id="{D1A3E59F-EA84-4029-92C3-57F328E969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3363-48D8-B751-EA6AD3438C92}"/>
                </c:ext>
              </c:extLst>
            </c:dLbl>
            <c:dLbl>
              <c:idx val="12"/>
              <c:tx>
                <c:rich>
                  <a:bodyPr/>
                  <a:lstStyle/>
                  <a:p>
                    <a:fld id="{D0A4E6A4-505B-45BD-865F-8A7BE748E7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3363-48D8-B751-EA6AD3438C92}"/>
                </c:ext>
              </c:extLst>
            </c:dLbl>
            <c:dLbl>
              <c:idx val="13"/>
              <c:tx>
                <c:rich>
                  <a:bodyPr/>
                  <a:lstStyle/>
                  <a:p>
                    <a:fld id="{A59949CC-FE84-4AF0-A4F5-E90BA71CF8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3363-48D8-B751-EA6AD3438C92}"/>
                </c:ext>
              </c:extLst>
            </c:dLbl>
            <c:dLbl>
              <c:idx val="14"/>
              <c:tx>
                <c:rich>
                  <a:bodyPr/>
                  <a:lstStyle/>
                  <a:p>
                    <a:fld id="{5BE98E0F-A46B-4927-9521-3B3B547E4C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3363-48D8-B751-EA6AD3438C92}"/>
                </c:ext>
              </c:extLst>
            </c:dLbl>
            <c:dLbl>
              <c:idx val="15"/>
              <c:tx>
                <c:rich>
                  <a:bodyPr/>
                  <a:lstStyle/>
                  <a:p>
                    <a:fld id="{8535228C-5152-4965-969D-B96B790F93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3363-48D8-B751-EA6AD3438C92}"/>
                </c:ext>
              </c:extLst>
            </c:dLbl>
            <c:dLbl>
              <c:idx val="16"/>
              <c:tx>
                <c:rich>
                  <a:bodyPr/>
                  <a:lstStyle/>
                  <a:p>
                    <a:fld id="{4B887CE1-F974-48BE-A849-15D63D98C6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3363-48D8-B751-EA6AD3438C92}"/>
                </c:ext>
              </c:extLst>
            </c:dLbl>
            <c:dLbl>
              <c:idx val="17"/>
              <c:tx>
                <c:rich>
                  <a:bodyPr/>
                  <a:lstStyle/>
                  <a:p>
                    <a:fld id="{517738EE-B787-40E7-92AD-0A4C2382D7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3363-48D8-B751-EA6AD3438C92}"/>
                </c:ext>
              </c:extLst>
            </c:dLbl>
            <c:dLbl>
              <c:idx val="18"/>
              <c:tx>
                <c:rich>
                  <a:bodyPr/>
                  <a:lstStyle/>
                  <a:p>
                    <a:fld id="{194DCBD3-C0C3-46E6-B0F0-F8615057F6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3363-48D8-B751-EA6AD3438C92}"/>
                </c:ext>
              </c:extLst>
            </c:dLbl>
            <c:dLbl>
              <c:idx val="19"/>
              <c:tx>
                <c:rich>
                  <a:bodyPr/>
                  <a:lstStyle/>
                  <a:p>
                    <a:fld id="{FCE576F8-9D63-4CD8-ACE2-2A488CEB46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3363-48D8-B751-EA6AD3438C92}"/>
                </c:ext>
              </c:extLst>
            </c:dLbl>
            <c:dLbl>
              <c:idx val="20"/>
              <c:tx>
                <c:rich>
                  <a:bodyPr/>
                  <a:lstStyle/>
                  <a:p>
                    <a:fld id="{5A777A9A-2EC8-4861-9843-1461A17B09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3363-48D8-B751-EA6AD3438C92}"/>
                </c:ext>
              </c:extLst>
            </c:dLbl>
            <c:dLbl>
              <c:idx val="21"/>
              <c:tx>
                <c:rich>
                  <a:bodyPr/>
                  <a:lstStyle/>
                  <a:p>
                    <a:fld id="{25053E7B-01D9-4925-BAB8-241E902063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3363-48D8-B751-EA6AD3438C92}"/>
                </c:ext>
              </c:extLst>
            </c:dLbl>
            <c:dLbl>
              <c:idx val="22"/>
              <c:tx>
                <c:rich>
                  <a:bodyPr/>
                  <a:lstStyle/>
                  <a:p>
                    <a:fld id="{54D5A92A-570A-47C4-A529-8869CB63B3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3363-48D8-B751-EA6AD3438C92}"/>
                </c:ext>
              </c:extLst>
            </c:dLbl>
            <c:dLbl>
              <c:idx val="23"/>
              <c:tx>
                <c:rich>
                  <a:bodyPr/>
                  <a:lstStyle/>
                  <a:p>
                    <a:fld id="{98FE1950-89D9-4E79-941F-82C3C31C34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3363-48D8-B751-EA6AD3438C92}"/>
                </c:ext>
              </c:extLst>
            </c:dLbl>
            <c:dLbl>
              <c:idx val="24"/>
              <c:tx>
                <c:rich>
                  <a:bodyPr/>
                  <a:lstStyle/>
                  <a:p>
                    <a:fld id="{8CD96796-A5BF-4DB8-883E-FC5185CC14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3363-48D8-B751-EA6AD3438C92}"/>
                </c:ext>
              </c:extLst>
            </c:dLbl>
            <c:dLbl>
              <c:idx val="25"/>
              <c:tx>
                <c:rich>
                  <a:bodyPr/>
                  <a:lstStyle/>
                  <a:p>
                    <a:fld id="{C533FABB-A299-44A9-8813-7C558A7BAC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3363-48D8-B751-EA6AD3438C92}"/>
                </c:ext>
              </c:extLst>
            </c:dLbl>
            <c:dLbl>
              <c:idx val="26"/>
              <c:tx>
                <c:rich>
                  <a:bodyPr/>
                  <a:lstStyle/>
                  <a:p>
                    <a:fld id="{DE04CFFB-E76E-40FA-B35B-CB230D86B9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3363-48D8-B751-EA6AD3438C92}"/>
                </c:ext>
              </c:extLst>
            </c:dLbl>
            <c:dLbl>
              <c:idx val="27"/>
              <c:tx>
                <c:rich>
                  <a:bodyPr/>
                  <a:lstStyle/>
                  <a:p>
                    <a:fld id="{B56AC334-AF45-4D4D-9FD6-FA7E6C8D7F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3363-48D8-B751-EA6AD3438C92}"/>
                </c:ext>
              </c:extLst>
            </c:dLbl>
            <c:dLbl>
              <c:idx val="28"/>
              <c:tx>
                <c:rich>
                  <a:bodyPr/>
                  <a:lstStyle/>
                  <a:p>
                    <a:fld id="{D6A69B6A-9058-4935-83A4-8320B1DA2F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3363-48D8-B751-EA6AD3438C92}"/>
                </c:ext>
              </c:extLst>
            </c:dLbl>
            <c:dLbl>
              <c:idx val="29"/>
              <c:tx>
                <c:rich>
                  <a:bodyPr/>
                  <a:lstStyle/>
                  <a:p>
                    <a:fld id="{36EACC23-3E9C-4A53-95D9-56893DC924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3363-48D8-B751-EA6AD3438C92}"/>
                </c:ext>
              </c:extLst>
            </c:dLbl>
            <c:dLbl>
              <c:idx val="30"/>
              <c:tx>
                <c:rich>
                  <a:bodyPr/>
                  <a:lstStyle/>
                  <a:p>
                    <a:fld id="{2C8C3690-8C59-4563-B860-421E96DCF1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3363-48D8-B751-EA6AD3438C92}"/>
                </c:ext>
              </c:extLst>
            </c:dLbl>
            <c:dLbl>
              <c:idx val="31"/>
              <c:tx>
                <c:rich>
                  <a:bodyPr/>
                  <a:lstStyle/>
                  <a:p>
                    <a:fld id="{ACFD7F87-5A5D-427C-82EC-EABB9779EC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3363-48D8-B751-EA6AD3438C92}"/>
                </c:ext>
              </c:extLst>
            </c:dLbl>
            <c:dLbl>
              <c:idx val="32"/>
              <c:tx>
                <c:rich>
                  <a:bodyPr/>
                  <a:lstStyle/>
                  <a:p>
                    <a:fld id="{36158DE4-DCC8-4241-84C9-4DD52A1CCB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3363-48D8-B751-EA6AD3438C92}"/>
                </c:ext>
              </c:extLst>
            </c:dLbl>
            <c:dLbl>
              <c:idx val="33"/>
              <c:tx>
                <c:rich>
                  <a:bodyPr/>
                  <a:lstStyle/>
                  <a:p>
                    <a:fld id="{606DB4F3-B461-4F45-9C1F-93FA65F19B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3363-48D8-B751-EA6AD3438C92}"/>
                </c:ext>
              </c:extLst>
            </c:dLbl>
            <c:dLbl>
              <c:idx val="34"/>
              <c:tx>
                <c:rich>
                  <a:bodyPr/>
                  <a:lstStyle/>
                  <a:p>
                    <a:fld id="{47816DE6-82C5-4452-98FC-0836EFC667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3363-48D8-B751-EA6AD3438C92}"/>
                </c:ext>
              </c:extLst>
            </c:dLbl>
            <c:dLbl>
              <c:idx val="35"/>
              <c:tx>
                <c:rich>
                  <a:bodyPr/>
                  <a:lstStyle/>
                  <a:p>
                    <a:fld id="{768A30B8-63F9-4A7C-8C6A-72855369B6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3363-48D8-B751-EA6AD3438C92}"/>
                </c:ext>
              </c:extLst>
            </c:dLbl>
            <c:dLbl>
              <c:idx val="36"/>
              <c:tx>
                <c:rich>
                  <a:bodyPr/>
                  <a:lstStyle/>
                  <a:p>
                    <a:fld id="{CDE2C6AD-6905-42C7-812A-7A9ECCA650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3363-48D8-B751-EA6AD3438C92}"/>
                </c:ext>
              </c:extLst>
            </c:dLbl>
            <c:dLbl>
              <c:idx val="37"/>
              <c:tx>
                <c:rich>
                  <a:bodyPr/>
                  <a:lstStyle/>
                  <a:p>
                    <a:fld id="{C3820779-F8A3-48A8-93C7-963FA49F42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3363-48D8-B751-EA6AD3438C92}"/>
                </c:ext>
              </c:extLst>
            </c:dLbl>
            <c:dLbl>
              <c:idx val="38"/>
              <c:tx>
                <c:rich>
                  <a:bodyPr/>
                  <a:lstStyle/>
                  <a:p>
                    <a:fld id="{47187260-E606-49E0-A0A7-435F52F45E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3363-48D8-B751-EA6AD3438C92}"/>
                </c:ext>
              </c:extLst>
            </c:dLbl>
            <c:dLbl>
              <c:idx val="39"/>
              <c:tx>
                <c:rich>
                  <a:bodyPr/>
                  <a:lstStyle/>
                  <a:p>
                    <a:fld id="{011E9DF2-C326-46C3-815A-EEC9DCE3B5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3363-48D8-B751-EA6AD3438C92}"/>
                </c:ext>
              </c:extLst>
            </c:dLbl>
            <c:dLbl>
              <c:idx val="40"/>
              <c:tx>
                <c:rich>
                  <a:bodyPr/>
                  <a:lstStyle/>
                  <a:p>
                    <a:fld id="{C1399C51-94CC-487C-A580-05E7189255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3363-48D8-B751-EA6AD3438C92}"/>
                </c:ext>
              </c:extLst>
            </c:dLbl>
            <c:dLbl>
              <c:idx val="41"/>
              <c:tx>
                <c:rich>
                  <a:bodyPr/>
                  <a:lstStyle/>
                  <a:p>
                    <a:fld id="{497DA47C-74FD-452C-9B91-05DB6C6BB7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3363-48D8-B751-EA6AD3438C92}"/>
                </c:ext>
              </c:extLst>
            </c:dLbl>
            <c:dLbl>
              <c:idx val="42"/>
              <c:tx>
                <c:rich>
                  <a:bodyPr/>
                  <a:lstStyle/>
                  <a:p>
                    <a:fld id="{014A0BE1-C300-4EBD-9EC1-BEA5D2CC70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3363-48D8-B751-EA6AD3438C92}"/>
                </c:ext>
              </c:extLst>
            </c:dLbl>
            <c:dLbl>
              <c:idx val="43"/>
              <c:tx>
                <c:rich>
                  <a:bodyPr/>
                  <a:lstStyle/>
                  <a:p>
                    <a:fld id="{9F2C454F-2865-423A-A753-00B140499D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3363-48D8-B751-EA6AD3438C92}"/>
                </c:ext>
              </c:extLst>
            </c:dLbl>
            <c:dLbl>
              <c:idx val="44"/>
              <c:tx>
                <c:rich>
                  <a:bodyPr/>
                  <a:lstStyle/>
                  <a:p>
                    <a:fld id="{0BFEC68F-2A0A-466F-9DE3-1114CB840D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3363-48D8-B751-EA6AD3438C92}"/>
                </c:ext>
              </c:extLst>
            </c:dLbl>
            <c:dLbl>
              <c:idx val="45"/>
              <c:tx>
                <c:rich>
                  <a:bodyPr/>
                  <a:lstStyle/>
                  <a:p>
                    <a:fld id="{74E8C900-2D88-45B0-B0D4-82B9711F07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3363-48D8-B751-EA6AD3438C92}"/>
                </c:ext>
              </c:extLst>
            </c:dLbl>
            <c:dLbl>
              <c:idx val="46"/>
              <c:tx>
                <c:rich>
                  <a:bodyPr/>
                  <a:lstStyle/>
                  <a:p>
                    <a:fld id="{46D8C6C6-6DA9-4A5F-B8C9-DE7161B124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3363-48D8-B751-EA6AD3438C92}"/>
                </c:ext>
              </c:extLst>
            </c:dLbl>
            <c:dLbl>
              <c:idx val="47"/>
              <c:tx>
                <c:rich>
                  <a:bodyPr/>
                  <a:lstStyle/>
                  <a:p>
                    <a:fld id="{F9EDECA7-1EAC-45BE-A406-85F0E8DC23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1499999999999999</c:v>
                </c:pt>
              </c:numCache>
            </c:numRef>
          </c:xVal>
          <c:yVal>
            <c:numRef>
              <c:f>Sheet1!$B$2:$B$2</c:f>
              <c:numCache>
                <c:formatCode>General</c:formatCode>
                <c:ptCount val="1"/>
                <c:pt idx="0">
                  <c:v>0.12661403466246179</c:v>
                </c:pt>
              </c:numCache>
            </c:numRef>
          </c:yVal>
          <c:bubbleSize>
            <c:numRef>
              <c:f>Sheet1!$C$2:$C$2</c:f>
              <c:numCache>
                <c:formatCode>General</c:formatCode>
                <c:ptCount val="1"/>
                <c:pt idx="0">
                  <c:v>5341941</c:v>
                </c:pt>
              </c:numCache>
            </c:numRef>
          </c:bubbleSize>
          <c:bubble3D val="0"/>
          <c:extLst>
            <c:ext xmlns:c15="http://schemas.microsoft.com/office/drawing/2012/chart" uri="{02D57815-91ED-43cb-92C2-25804820EDAC}">
              <c15:datalabelsRange>
                <c15:f>Sheet1!$E$2:$E$49</c15:f>
                <c15:dlblRangeCache>
                  <c:ptCount val="48"/>
                  <c:pt idx="0">
                    <c:v>1</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At val="1"/>
        <c:crossBetween val="midCat"/>
      </c:valAx>
      <c:valAx>
        <c:axId val="1011451359"/>
        <c:scaling>
          <c:orientation val="minMax"/>
          <c:max val="1.2"/>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At val="1.1499999999999999"/>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r>
                      <a:t>1</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EE4B-4312-8F62-0B51F9A74EE8}"/>
                </c:ext>
              </c:extLst>
            </c:dLbl>
            <c:dLbl>
              <c:idx val="1"/>
              <c:tx>
                <c:rich>
                  <a:bodyPr/>
                  <a:lstStyle/>
                  <a:p>
                    <a:fld id="{706CDBF7-2399-4F53-8E3F-D03009E0C2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EE4B-4312-8F62-0B51F9A74EE8}"/>
                </c:ext>
              </c:extLst>
            </c:dLbl>
            <c:dLbl>
              <c:idx val="2"/>
              <c:tx>
                <c:rich>
                  <a:bodyPr wrap="square" lIns="38100" tIns="19050" rIns="38100" bIns="19050" anchor="ctr">
                    <a:noAutofit/>
                  </a:bodyPr>
                  <a:lstStyle/>
                  <a:p>
                    <a:pPr>
                      <a:defRPr>
                        <a:solidFill>
                          <a:schemeClr val="tx2"/>
                        </a:solidFill>
                      </a:defRPr>
                    </a:pPr>
                    <a:fld id="{2ACB67BA-0767-428C-A44F-BC1663BC8CB5}" type="CELLRANGE">
                      <a:rPr lang="en-US" dirty="0">
                        <a:solidFill>
                          <a:schemeClr val="tx2"/>
                        </a:solidFill>
                      </a:rPr>
                      <a:pPr>
                        <a:defRPr>
                          <a:solidFill>
                            <a:schemeClr val="tx2"/>
                          </a:solidFill>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59AE1029-3A82-4DD4-AB13-C96DFB3EB6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3363-48D8-B751-EA6AD3438C92}"/>
                </c:ext>
              </c:extLst>
            </c:dLbl>
            <c:dLbl>
              <c:idx val="4"/>
              <c:tx>
                <c:rich>
                  <a:bodyPr/>
                  <a:lstStyle/>
                  <a:p>
                    <a:fld id="{FA5E124D-F51C-4463-9796-CDD01084AA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3363-48D8-B751-EA6AD3438C92}"/>
                </c:ext>
              </c:extLst>
            </c:dLbl>
            <c:dLbl>
              <c:idx val="5"/>
              <c:tx>
                <c:rich>
                  <a:bodyPr/>
                  <a:lstStyle/>
                  <a:p>
                    <a:fld id="{043D69E1-74E3-4F2C-BDC3-2612E585BA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3363-48D8-B751-EA6AD3438C92}"/>
                </c:ext>
              </c:extLst>
            </c:dLbl>
            <c:dLbl>
              <c:idx val="6"/>
              <c:tx>
                <c:rich>
                  <a:bodyPr/>
                  <a:lstStyle/>
                  <a:p>
                    <a:fld id="{2A180A08-B894-4627-8382-C82019499D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3363-48D8-B751-EA6AD3438C92}"/>
                </c:ext>
              </c:extLst>
            </c:dLbl>
            <c:dLbl>
              <c:idx val="7"/>
              <c:tx>
                <c:rich>
                  <a:bodyPr/>
                  <a:lstStyle/>
                  <a:p>
                    <a:fld id="{4E7E0CE7-222A-428F-B6F3-81CFBFF284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3363-48D8-B751-EA6AD3438C92}"/>
                </c:ext>
              </c:extLst>
            </c:dLbl>
            <c:dLbl>
              <c:idx val="8"/>
              <c:tx>
                <c:rich>
                  <a:bodyPr/>
                  <a:lstStyle/>
                  <a:p>
                    <a:fld id="{B899A0BE-77F1-488D-A37D-FA1D46EDD5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3363-48D8-B751-EA6AD3438C92}"/>
                </c:ext>
              </c:extLst>
            </c:dLbl>
            <c:dLbl>
              <c:idx val="9"/>
              <c:tx>
                <c:rich>
                  <a:bodyPr/>
                  <a:lstStyle/>
                  <a:p>
                    <a:fld id="{DB8BD667-748D-4E31-AC37-5A75599086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3363-48D8-B751-EA6AD3438C92}"/>
                </c:ext>
              </c:extLst>
            </c:dLbl>
            <c:dLbl>
              <c:idx val="10"/>
              <c:tx>
                <c:rich>
                  <a:bodyPr/>
                  <a:lstStyle/>
                  <a:p>
                    <a:fld id="{ABD8CDF9-046C-4232-8612-7B1D45D71A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3363-48D8-B751-EA6AD3438C92}"/>
                </c:ext>
              </c:extLst>
            </c:dLbl>
            <c:dLbl>
              <c:idx val="11"/>
              <c:tx>
                <c:rich>
                  <a:bodyPr/>
                  <a:lstStyle/>
                  <a:p>
                    <a:fld id="{E3268600-02FC-4012-9339-3D117E28B7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3363-48D8-B751-EA6AD3438C92}"/>
                </c:ext>
              </c:extLst>
            </c:dLbl>
            <c:dLbl>
              <c:idx val="12"/>
              <c:tx>
                <c:rich>
                  <a:bodyPr/>
                  <a:lstStyle/>
                  <a:p>
                    <a:fld id="{8C89B8D8-215C-4640-BFD1-9D7AC3AA8E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3363-48D8-B751-EA6AD3438C92}"/>
                </c:ext>
              </c:extLst>
            </c:dLbl>
            <c:dLbl>
              <c:idx val="13"/>
              <c:tx>
                <c:rich>
                  <a:bodyPr/>
                  <a:lstStyle/>
                  <a:p>
                    <a:fld id="{FFD7FD8E-1991-432E-B4F6-8B2A567C2D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3363-48D8-B751-EA6AD3438C92}"/>
                </c:ext>
              </c:extLst>
            </c:dLbl>
            <c:dLbl>
              <c:idx val="14"/>
              <c:tx>
                <c:rich>
                  <a:bodyPr/>
                  <a:lstStyle/>
                  <a:p>
                    <a:fld id="{F5E1D0B8-F74C-477D-9A7E-99335FACFA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3363-48D8-B751-EA6AD3438C92}"/>
                </c:ext>
              </c:extLst>
            </c:dLbl>
            <c:dLbl>
              <c:idx val="15"/>
              <c:tx>
                <c:rich>
                  <a:bodyPr/>
                  <a:lstStyle/>
                  <a:p>
                    <a:fld id="{5097D51E-9F3B-4568-9DF9-29C82A6B7A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3363-48D8-B751-EA6AD3438C92}"/>
                </c:ext>
              </c:extLst>
            </c:dLbl>
            <c:dLbl>
              <c:idx val="16"/>
              <c:tx>
                <c:rich>
                  <a:bodyPr/>
                  <a:lstStyle/>
                  <a:p>
                    <a:fld id="{88B2244A-A8D0-4B6A-8ACE-B11B8291E9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3363-48D8-B751-EA6AD3438C92}"/>
                </c:ext>
              </c:extLst>
            </c:dLbl>
            <c:dLbl>
              <c:idx val="17"/>
              <c:tx>
                <c:rich>
                  <a:bodyPr/>
                  <a:lstStyle/>
                  <a:p>
                    <a:fld id="{AA5A868C-1015-49FE-B554-11F9C82B11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3363-48D8-B751-EA6AD3438C92}"/>
                </c:ext>
              </c:extLst>
            </c:dLbl>
            <c:dLbl>
              <c:idx val="18"/>
              <c:tx>
                <c:rich>
                  <a:bodyPr/>
                  <a:lstStyle/>
                  <a:p>
                    <a:fld id="{62E535E4-B4E8-40CA-8379-44680EEE87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3363-48D8-B751-EA6AD3438C92}"/>
                </c:ext>
              </c:extLst>
            </c:dLbl>
            <c:dLbl>
              <c:idx val="19"/>
              <c:tx>
                <c:rich>
                  <a:bodyPr/>
                  <a:lstStyle/>
                  <a:p>
                    <a:fld id="{CFBEBFB6-ACFB-4DFD-B479-BA2AAF3B79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3363-48D8-B751-EA6AD3438C92}"/>
                </c:ext>
              </c:extLst>
            </c:dLbl>
            <c:dLbl>
              <c:idx val="20"/>
              <c:tx>
                <c:rich>
                  <a:bodyPr/>
                  <a:lstStyle/>
                  <a:p>
                    <a:fld id="{48001BD9-D9DD-4B0B-ACD2-EFD5948095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3363-48D8-B751-EA6AD3438C92}"/>
                </c:ext>
              </c:extLst>
            </c:dLbl>
            <c:dLbl>
              <c:idx val="21"/>
              <c:tx>
                <c:rich>
                  <a:bodyPr/>
                  <a:lstStyle/>
                  <a:p>
                    <a:fld id="{3BFE3F91-E9F5-40F4-9E4D-91570D1E50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3363-48D8-B751-EA6AD3438C92}"/>
                </c:ext>
              </c:extLst>
            </c:dLbl>
            <c:dLbl>
              <c:idx val="22"/>
              <c:tx>
                <c:rich>
                  <a:bodyPr/>
                  <a:lstStyle/>
                  <a:p>
                    <a:fld id="{9E09342C-AC53-42CD-8C20-608C18D0FD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3363-48D8-B751-EA6AD3438C92}"/>
                </c:ext>
              </c:extLst>
            </c:dLbl>
            <c:dLbl>
              <c:idx val="23"/>
              <c:tx>
                <c:rich>
                  <a:bodyPr/>
                  <a:lstStyle/>
                  <a:p>
                    <a:fld id="{D622AA7E-82DB-44F0-A5CD-3CD667ED9E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3363-48D8-B751-EA6AD3438C92}"/>
                </c:ext>
              </c:extLst>
            </c:dLbl>
            <c:dLbl>
              <c:idx val="24"/>
              <c:tx>
                <c:rich>
                  <a:bodyPr/>
                  <a:lstStyle/>
                  <a:p>
                    <a:fld id="{9720A9C1-4DF8-453D-A0A9-B77381D61D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3363-48D8-B751-EA6AD3438C92}"/>
                </c:ext>
              </c:extLst>
            </c:dLbl>
            <c:dLbl>
              <c:idx val="25"/>
              <c:tx>
                <c:rich>
                  <a:bodyPr/>
                  <a:lstStyle/>
                  <a:p>
                    <a:fld id="{3F53B86A-27F2-49E4-9DE0-684D601AD4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3363-48D8-B751-EA6AD3438C92}"/>
                </c:ext>
              </c:extLst>
            </c:dLbl>
            <c:dLbl>
              <c:idx val="26"/>
              <c:tx>
                <c:rich>
                  <a:bodyPr/>
                  <a:lstStyle/>
                  <a:p>
                    <a:fld id="{F7D70FD6-70B2-45AA-B853-AE7BC18D6A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3363-48D8-B751-EA6AD3438C92}"/>
                </c:ext>
              </c:extLst>
            </c:dLbl>
            <c:dLbl>
              <c:idx val="27"/>
              <c:tx>
                <c:rich>
                  <a:bodyPr/>
                  <a:lstStyle/>
                  <a:p>
                    <a:fld id="{DEE88AB6-FEA3-4E90-8340-EC9E026922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3363-48D8-B751-EA6AD3438C92}"/>
                </c:ext>
              </c:extLst>
            </c:dLbl>
            <c:dLbl>
              <c:idx val="28"/>
              <c:tx>
                <c:rich>
                  <a:bodyPr/>
                  <a:lstStyle/>
                  <a:p>
                    <a:fld id="{4AD141B4-4F15-4358-9D2A-12491A38B8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3363-48D8-B751-EA6AD3438C92}"/>
                </c:ext>
              </c:extLst>
            </c:dLbl>
            <c:dLbl>
              <c:idx val="29"/>
              <c:tx>
                <c:rich>
                  <a:bodyPr/>
                  <a:lstStyle/>
                  <a:p>
                    <a:fld id="{565E0E0A-D12B-42E4-8F0B-33EBF08ED3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3363-48D8-B751-EA6AD3438C92}"/>
                </c:ext>
              </c:extLst>
            </c:dLbl>
            <c:dLbl>
              <c:idx val="30"/>
              <c:tx>
                <c:rich>
                  <a:bodyPr/>
                  <a:lstStyle/>
                  <a:p>
                    <a:fld id="{36ECF9CF-3CF5-49D7-8164-A41C9C45E9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3363-48D8-B751-EA6AD3438C92}"/>
                </c:ext>
              </c:extLst>
            </c:dLbl>
            <c:dLbl>
              <c:idx val="31"/>
              <c:tx>
                <c:rich>
                  <a:bodyPr/>
                  <a:lstStyle/>
                  <a:p>
                    <a:fld id="{47C77A0A-964E-40BC-A48D-63BE73C8E5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3363-48D8-B751-EA6AD3438C92}"/>
                </c:ext>
              </c:extLst>
            </c:dLbl>
            <c:dLbl>
              <c:idx val="32"/>
              <c:tx>
                <c:rich>
                  <a:bodyPr/>
                  <a:lstStyle/>
                  <a:p>
                    <a:fld id="{A9BA01B4-0A70-4264-AFAF-B89AFDD993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3363-48D8-B751-EA6AD3438C92}"/>
                </c:ext>
              </c:extLst>
            </c:dLbl>
            <c:dLbl>
              <c:idx val="33"/>
              <c:tx>
                <c:rich>
                  <a:bodyPr/>
                  <a:lstStyle/>
                  <a:p>
                    <a:fld id="{BAEB6511-287B-4D44-9DFB-909D9852E6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3363-48D8-B751-EA6AD3438C92}"/>
                </c:ext>
              </c:extLst>
            </c:dLbl>
            <c:dLbl>
              <c:idx val="34"/>
              <c:tx>
                <c:rich>
                  <a:bodyPr/>
                  <a:lstStyle/>
                  <a:p>
                    <a:fld id="{83F8263A-A86A-44D4-859C-0FF4248EDC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3363-48D8-B751-EA6AD3438C92}"/>
                </c:ext>
              </c:extLst>
            </c:dLbl>
            <c:dLbl>
              <c:idx val="35"/>
              <c:tx>
                <c:rich>
                  <a:bodyPr/>
                  <a:lstStyle/>
                  <a:p>
                    <a:fld id="{67741752-DA4B-4FC5-8BC6-3A21A6CBEF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3363-48D8-B751-EA6AD3438C92}"/>
                </c:ext>
              </c:extLst>
            </c:dLbl>
            <c:dLbl>
              <c:idx val="36"/>
              <c:tx>
                <c:rich>
                  <a:bodyPr/>
                  <a:lstStyle/>
                  <a:p>
                    <a:fld id="{BC8A5E39-7A6C-4129-917A-7B82FB946A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3363-48D8-B751-EA6AD3438C92}"/>
                </c:ext>
              </c:extLst>
            </c:dLbl>
            <c:dLbl>
              <c:idx val="37"/>
              <c:tx>
                <c:rich>
                  <a:bodyPr/>
                  <a:lstStyle/>
                  <a:p>
                    <a:fld id="{A1DF124D-6861-40B0-AC2C-BC67721E9B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3363-48D8-B751-EA6AD3438C92}"/>
                </c:ext>
              </c:extLst>
            </c:dLbl>
            <c:dLbl>
              <c:idx val="38"/>
              <c:tx>
                <c:rich>
                  <a:bodyPr/>
                  <a:lstStyle/>
                  <a:p>
                    <a:fld id="{81C0EBD2-F436-4E89-947F-0C5E7A7C7F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3363-48D8-B751-EA6AD3438C92}"/>
                </c:ext>
              </c:extLst>
            </c:dLbl>
            <c:dLbl>
              <c:idx val="39"/>
              <c:tx>
                <c:rich>
                  <a:bodyPr/>
                  <a:lstStyle/>
                  <a:p>
                    <a:fld id="{C5C82F10-A460-4A80-90A9-E495713296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3363-48D8-B751-EA6AD3438C92}"/>
                </c:ext>
              </c:extLst>
            </c:dLbl>
            <c:dLbl>
              <c:idx val="40"/>
              <c:tx>
                <c:rich>
                  <a:bodyPr/>
                  <a:lstStyle/>
                  <a:p>
                    <a:fld id="{AB09556F-866A-45B6-BD85-044439A227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3363-48D8-B751-EA6AD3438C92}"/>
                </c:ext>
              </c:extLst>
            </c:dLbl>
            <c:dLbl>
              <c:idx val="41"/>
              <c:tx>
                <c:rich>
                  <a:bodyPr/>
                  <a:lstStyle/>
                  <a:p>
                    <a:fld id="{2CFA79FF-877E-429B-8DB8-626A776F51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3363-48D8-B751-EA6AD3438C92}"/>
                </c:ext>
              </c:extLst>
            </c:dLbl>
            <c:dLbl>
              <c:idx val="42"/>
              <c:tx>
                <c:rich>
                  <a:bodyPr/>
                  <a:lstStyle/>
                  <a:p>
                    <a:fld id="{9C25F48D-8EC8-4C14-9921-AD58FE6DED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3363-48D8-B751-EA6AD3438C92}"/>
                </c:ext>
              </c:extLst>
            </c:dLbl>
            <c:dLbl>
              <c:idx val="43"/>
              <c:tx>
                <c:rich>
                  <a:bodyPr/>
                  <a:lstStyle/>
                  <a:p>
                    <a:fld id="{8555C762-A04A-431A-AEBA-52584198DE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3363-48D8-B751-EA6AD3438C92}"/>
                </c:ext>
              </c:extLst>
            </c:dLbl>
            <c:dLbl>
              <c:idx val="44"/>
              <c:tx>
                <c:rich>
                  <a:bodyPr/>
                  <a:lstStyle/>
                  <a:p>
                    <a:fld id="{67E84B30-010D-4D06-810C-58D68C10D8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3363-48D8-B751-EA6AD3438C92}"/>
                </c:ext>
              </c:extLst>
            </c:dLbl>
            <c:dLbl>
              <c:idx val="45"/>
              <c:tx>
                <c:rich>
                  <a:bodyPr/>
                  <a:lstStyle/>
                  <a:p>
                    <a:fld id="{5F609CA3-90D4-4E4F-BA39-348A7BD3A2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3363-48D8-B751-EA6AD3438C92}"/>
                </c:ext>
              </c:extLst>
            </c:dLbl>
            <c:dLbl>
              <c:idx val="46"/>
              <c:tx>
                <c:rich>
                  <a:bodyPr/>
                  <a:lstStyle/>
                  <a:p>
                    <a:fld id="{5010B576-908C-4A67-9E9C-EC2DBC04BF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3363-48D8-B751-EA6AD3438C92}"/>
                </c:ext>
              </c:extLst>
            </c:dLbl>
            <c:dLbl>
              <c:idx val="47"/>
              <c:tx>
                <c:rich>
                  <a:bodyPr/>
                  <a:lstStyle/>
                  <a:p>
                    <a:fld id="{8A30B228-C2BC-4C7B-B690-F109131C8C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86</c:v>
                </c:pt>
              </c:numCache>
            </c:numRef>
          </c:xVal>
          <c:yVal>
            <c:numRef>
              <c:f>Sheet1!$B$2:$B$2</c:f>
              <c:numCache>
                <c:formatCode>General</c:formatCode>
                <c:ptCount val="1"/>
                <c:pt idx="0">
                  <c:v>0.27278666274240682</c:v>
                </c:pt>
              </c:numCache>
            </c:numRef>
          </c:yVal>
          <c:bubbleSize>
            <c:numRef>
              <c:f>Sheet1!$C$2:$C$2</c:f>
              <c:numCache>
                <c:formatCode>General</c:formatCode>
                <c:ptCount val="1"/>
                <c:pt idx="0">
                  <c:v>25406313</c:v>
                </c:pt>
              </c:numCache>
            </c:numRef>
          </c:bubbleSize>
          <c:bubble3D val="0"/>
          <c:extLst>
            <c:ext xmlns:c15="http://schemas.microsoft.com/office/drawing/2012/chart" uri="{02D57815-91ED-43cb-92C2-25804820EDAC}">
              <c15:datalabelsRange>
                <c15:f>Sheet1!$E$2:$E$49</c15:f>
                <c15:dlblRangeCache>
                  <c:ptCount val="48"/>
                  <c:pt idx="0">
                    <c:v>1</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At val="1"/>
        <c:crossBetween val="midCat"/>
      </c:valAx>
      <c:valAx>
        <c:axId val="1011451359"/>
        <c:scaling>
          <c:orientation val="minMax"/>
          <c:max val="1.2"/>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At val="1.86"/>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fld id="{E4339ECF-CE9A-41CE-9B59-38805A197E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fld id="{DA9236EB-2747-4A63-BF44-959CBF5E95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E4B-4312-8F62-0B51F9A74EE8}"/>
                </c:ext>
              </c:extLst>
            </c:dLbl>
            <c:dLbl>
              <c:idx val="2"/>
              <c:tx>
                <c:rich>
                  <a:bodyPr/>
                  <a:lstStyle/>
                  <a:p>
                    <a:fld id="{2ACB67BA-0767-428C-A44F-BC1663BC8CB5}" type="CELLRANGE">
                      <a:rPr lang="en-US" dirty="0">
                        <a:solidFill>
                          <a:schemeClr val="tx2"/>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2CD393B5-9943-497A-AE6B-6882B4D984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63-48D8-B751-EA6AD3438C92}"/>
                </c:ext>
              </c:extLst>
            </c:dLbl>
            <c:dLbl>
              <c:idx val="4"/>
              <c:tx>
                <c:rich>
                  <a:bodyPr/>
                  <a:lstStyle/>
                  <a:p>
                    <a:r>
                      <a:t>5</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3363-48D8-B751-EA6AD3438C92}"/>
                </c:ext>
              </c:extLst>
            </c:dLbl>
            <c:dLbl>
              <c:idx val="5"/>
              <c:tx>
                <c:rich>
                  <a:bodyPr/>
                  <a:lstStyle/>
                  <a:p>
                    <a:fld id="{FE84E12A-2352-4B18-BF39-7B7DFA5004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3363-48D8-B751-EA6AD3438C92}"/>
                </c:ext>
              </c:extLst>
            </c:dLbl>
            <c:dLbl>
              <c:idx val="6"/>
              <c:tx>
                <c:rich>
                  <a:bodyPr/>
                  <a:lstStyle/>
                  <a:p>
                    <a:fld id="{B2B9B722-8CE0-4484-B3DC-E9124D5F08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3363-48D8-B751-EA6AD3438C92}"/>
                </c:ext>
              </c:extLst>
            </c:dLbl>
            <c:dLbl>
              <c:idx val="7"/>
              <c:tx>
                <c:rich>
                  <a:bodyPr/>
                  <a:lstStyle/>
                  <a:p>
                    <a:fld id="{3D2ECADE-D2BB-4FBF-8700-A88760F8E5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3363-48D8-B751-EA6AD3438C92}"/>
                </c:ext>
              </c:extLst>
            </c:dLbl>
            <c:dLbl>
              <c:idx val="8"/>
              <c:tx>
                <c:rich>
                  <a:bodyPr/>
                  <a:lstStyle/>
                  <a:p>
                    <a:fld id="{C461880C-C8CD-426E-93FD-16300147F6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3363-48D8-B751-EA6AD3438C92}"/>
                </c:ext>
              </c:extLst>
            </c:dLbl>
            <c:dLbl>
              <c:idx val="9"/>
              <c:tx>
                <c:rich>
                  <a:bodyPr/>
                  <a:lstStyle/>
                  <a:p>
                    <a:fld id="{8394362C-6534-4C55-878A-7BF364CC04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3363-48D8-B751-EA6AD3438C92}"/>
                </c:ext>
              </c:extLst>
            </c:dLbl>
            <c:dLbl>
              <c:idx val="10"/>
              <c:tx>
                <c:rich>
                  <a:bodyPr/>
                  <a:lstStyle/>
                  <a:p>
                    <a:fld id="{5EEA2850-0869-4E9D-8AAF-9BD16E5ED5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3363-48D8-B751-EA6AD3438C92}"/>
                </c:ext>
              </c:extLst>
            </c:dLbl>
            <c:dLbl>
              <c:idx val="11"/>
              <c:tx>
                <c:rich>
                  <a:bodyPr/>
                  <a:lstStyle/>
                  <a:p>
                    <a:fld id="{E5165FC9-0B7B-4412-AC7A-87052443AB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3363-48D8-B751-EA6AD3438C92}"/>
                </c:ext>
              </c:extLst>
            </c:dLbl>
            <c:dLbl>
              <c:idx val="12"/>
              <c:tx>
                <c:rich>
                  <a:bodyPr/>
                  <a:lstStyle/>
                  <a:p>
                    <a:fld id="{EB7FBF6C-6F35-4C98-B797-276F0B9CEE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3363-48D8-B751-EA6AD3438C92}"/>
                </c:ext>
              </c:extLst>
            </c:dLbl>
            <c:dLbl>
              <c:idx val="13"/>
              <c:tx>
                <c:rich>
                  <a:bodyPr/>
                  <a:lstStyle/>
                  <a:p>
                    <a:fld id="{25B57CE3-7210-40BF-951E-C430A26EFA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3363-48D8-B751-EA6AD3438C92}"/>
                </c:ext>
              </c:extLst>
            </c:dLbl>
            <c:dLbl>
              <c:idx val="14"/>
              <c:tx>
                <c:rich>
                  <a:bodyPr/>
                  <a:lstStyle/>
                  <a:p>
                    <a:fld id="{48098A54-10B1-48CB-B69B-E52CB3E141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3363-48D8-B751-EA6AD3438C92}"/>
                </c:ext>
              </c:extLst>
            </c:dLbl>
            <c:dLbl>
              <c:idx val="15"/>
              <c:tx>
                <c:rich>
                  <a:bodyPr/>
                  <a:lstStyle/>
                  <a:p>
                    <a:fld id="{5ADCC654-6466-4759-9CFA-B8E6E1191C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3363-48D8-B751-EA6AD3438C92}"/>
                </c:ext>
              </c:extLst>
            </c:dLbl>
            <c:dLbl>
              <c:idx val="16"/>
              <c:tx>
                <c:rich>
                  <a:bodyPr/>
                  <a:lstStyle/>
                  <a:p>
                    <a:fld id="{298F095B-645D-4C23-B940-019CF1F95D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3363-48D8-B751-EA6AD3438C92}"/>
                </c:ext>
              </c:extLst>
            </c:dLbl>
            <c:dLbl>
              <c:idx val="17"/>
              <c:tx>
                <c:rich>
                  <a:bodyPr/>
                  <a:lstStyle/>
                  <a:p>
                    <a:fld id="{6879AFBF-34FE-4A46-BEC3-D52463B202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3363-48D8-B751-EA6AD3438C92}"/>
                </c:ext>
              </c:extLst>
            </c:dLbl>
            <c:dLbl>
              <c:idx val="18"/>
              <c:tx>
                <c:rich>
                  <a:bodyPr/>
                  <a:lstStyle/>
                  <a:p>
                    <a:fld id="{CA048F7A-CEAF-4FB8-96D9-F02AE7D87A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3363-48D8-B751-EA6AD3438C92}"/>
                </c:ext>
              </c:extLst>
            </c:dLbl>
            <c:dLbl>
              <c:idx val="19"/>
              <c:tx>
                <c:rich>
                  <a:bodyPr/>
                  <a:lstStyle/>
                  <a:p>
                    <a:fld id="{A24DCDBF-ADFB-4C8E-8A46-D27C6D58E5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3363-48D8-B751-EA6AD3438C92}"/>
                </c:ext>
              </c:extLst>
            </c:dLbl>
            <c:dLbl>
              <c:idx val="20"/>
              <c:tx>
                <c:rich>
                  <a:bodyPr/>
                  <a:lstStyle/>
                  <a:p>
                    <a:fld id="{005CE0B9-5791-4F56-A687-769EED8CD3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3363-48D8-B751-EA6AD3438C92}"/>
                </c:ext>
              </c:extLst>
            </c:dLbl>
            <c:dLbl>
              <c:idx val="21"/>
              <c:tx>
                <c:rich>
                  <a:bodyPr/>
                  <a:lstStyle/>
                  <a:p>
                    <a:fld id="{15FC0125-C1C6-42D8-9804-61D7CDE936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3363-48D8-B751-EA6AD3438C92}"/>
                </c:ext>
              </c:extLst>
            </c:dLbl>
            <c:dLbl>
              <c:idx val="22"/>
              <c:tx>
                <c:rich>
                  <a:bodyPr/>
                  <a:lstStyle/>
                  <a:p>
                    <a:fld id="{5BCEA48D-E955-4A5E-AA34-BDB6708BE7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3363-48D8-B751-EA6AD3438C92}"/>
                </c:ext>
              </c:extLst>
            </c:dLbl>
            <c:dLbl>
              <c:idx val="23"/>
              <c:tx>
                <c:rich>
                  <a:bodyPr/>
                  <a:lstStyle/>
                  <a:p>
                    <a:fld id="{390D2AA8-5904-40DA-8507-0176B9120C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3363-48D8-B751-EA6AD3438C92}"/>
                </c:ext>
              </c:extLst>
            </c:dLbl>
            <c:dLbl>
              <c:idx val="24"/>
              <c:tx>
                <c:rich>
                  <a:bodyPr/>
                  <a:lstStyle/>
                  <a:p>
                    <a:fld id="{F4E20C46-AC15-4F06-B19B-6970D13E5B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3363-48D8-B751-EA6AD3438C92}"/>
                </c:ext>
              </c:extLst>
            </c:dLbl>
            <c:dLbl>
              <c:idx val="25"/>
              <c:tx>
                <c:rich>
                  <a:bodyPr/>
                  <a:lstStyle/>
                  <a:p>
                    <a:fld id="{B43DA8BB-A69E-40BF-8851-2205F91957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3363-48D8-B751-EA6AD3438C92}"/>
                </c:ext>
              </c:extLst>
            </c:dLbl>
            <c:dLbl>
              <c:idx val="26"/>
              <c:tx>
                <c:rich>
                  <a:bodyPr/>
                  <a:lstStyle/>
                  <a:p>
                    <a:fld id="{A1AFD3C5-684B-4268-8FCD-7F7A25BB9A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3363-48D8-B751-EA6AD3438C92}"/>
                </c:ext>
              </c:extLst>
            </c:dLbl>
            <c:dLbl>
              <c:idx val="27"/>
              <c:tx>
                <c:rich>
                  <a:bodyPr/>
                  <a:lstStyle/>
                  <a:p>
                    <a:fld id="{C25313FE-2664-428D-B8CF-C7444CB7C8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3363-48D8-B751-EA6AD3438C92}"/>
                </c:ext>
              </c:extLst>
            </c:dLbl>
            <c:dLbl>
              <c:idx val="28"/>
              <c:tx>
                <c:rich>
                  <a:bodyPr/>
                  <a:lstStyle/>
                  <a:p>
                    <a:fld id="{787B4302-06E1-44D8-9329-5E9F62A7FA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3363-48D8-B751-EA6AD3438C92}"/>
                </c:ext>
              </c:extLst>
            </c:dLbl>
            <c:dLbl>
              <c:idx val="29"/>
              <c:tx>
                <c:rich>
                  <a:bodyPr/>
                  <a:lstStyle/>
                  <a:p>
                    <a:fld id="{AEA1824D-9027-4793-BD8E-9F06C780DF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3363-48D8-B751-EA6AD3438C92}"/>
                </c:ext>
              </c:extLst>
            </c:dLbl>
            <c:dLbl>
              <c:idx val="30"/>
              <c:tx>
                <c:rich>
                  <a:bodyPr/>
                  <a:lstStyle/>
                  <a:p>
                    <a:fld id="{E07824CE-D6A0-4F20-BB38-98F4F4BCDF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3363-48D8-B751-EA6AD3438C92}"/>
                </c:ext>
              </c:extLst>
            </c:dLbl>
            <c:dLbl>
              <c:idx val="31"/>
              <c:tx>
                <c:rich>
                  <a:bodyPr/>
                  <a:lstStyle/>
                  <a:p>
                    <a:fld id="{A46A545D-DBE6-42AD-8245-81CF99F34E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3363-48D8-B751-EA6AD3438C92}"/>
                </c:ext>
              </c:extLst>
            </c:dLbl>
            <c:dLbl>
              <c:idx val="32"/>
              <c:tx>
                <c:rich>
                  <a:bodyPr/>
                  <a:lstStyle/>
                  <a:p>
                    <a:fld id="{90248375-3042-4AF7-9CC9-3F3BAAD2C5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3363-48D8-B751-EA6AD3438C92}"/>
                </c:ext>
              </c:extLst>
            </c:dLbl>
            <c:dLbl>
              <c:idx val="33"/>
              <c:tx>
                <c:rich>
                  <a:bodyPr/>
                  <a:lstStyle/>
                  <a:p>
                    <a:fld id="{DDC4BF13-7D21-4B95-96CD-2A6DBD5956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3363-48D8-B751-EA6AD3438C92}"/>
                </c:ext>
              </c:extLst>
            </c:dLbl>
            <c:dLbl>
              <c:idx val="34"/>
              <c:tx>
                <c:rich>
                  <a:bodyPr/>
                  <a:lstStyle/>
                  <a:p>
                    <a:fld id="{43217E23-A02F-4A36-A2A5-9C0AE5A66A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3363-48D8-B751-EA6AD3438C92}"/>
                </c:ext>
              </c:extLst>
            </c:dLbl>
            <c:dLbl>
              <c:idx val="35"/>
              <c:tx>
                <c:rich>
                  <a:bodyPr/>
                  <a:lstStyle/>
                  <a:p>
                    <a:fld id="{1A1F9B1E-348E-4398-BF3D-67138BE5C8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3363-48D8-B751-EA6AD3438C92}"/>
                </c:ext>
              </c:extLst>
            </c:dLbl>
            <c:dLbl>
              <c:idx val="36"/>
              <c:tx>
                <c:rich>
                  <a:bodyPr/>
                  <a:lstStyle/>
                  <a:p>
                    <a:fld id="{B740627C-5E55-46F6-AF58-10781A462A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3363-48D8-B751-EA6AD3438C92}"/>
                </c:ext>
              </c:extLst>
            </c:dLbl>
            <c:dLbl>
              <c:idx val="37"/>
              <c:tx>
                <c:rich>
                  <a:bodyPr/>
                  <a:lstStyle/>
                  <a:p>
                    <a:fld id="{03727F22-8CD3-4ADA-B99D-F4747B5360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3363-48D8-B751-EA6AD3438C92}"/>
                </c:ext>
              </c:extLst>
            </c:dLbl>
            <c:dLbl>
              <c:idx val="38"/>
              <c:tx>
                <c:rich>
                  <a:bodyPr/>
                  <a:lstStyle/>
                  <a:p>
                    <a:fld id="{49978D0C-9FB8-4D6C-842E-7C25825060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3363-48D8-B751-EA6AD3438C92}"/>
                </c:ext>
              </c:extLst>
            </c:dLbl>
            <c:dLbl>
              <c:idx val="39"/>
              <c:tx>
                <c:rich>
                  <a:bodyPr/>
                  <a:lstStyle/>
                  <a:p>
                    <a:fld id="{FB202623-954E-4EB0-8741-A64F62E837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3363-48D8-B751-EA6AD3438C92}"/>
                </c:ext>
              </c:extLst>
            </c:dLbl>
            <c:dLbl>
              <c:idx val="40"/>
              <c:tx>
                <c:rich>
                  <a:bodyPr/>
                  <a:lstStyle/>
                  <a:p>
                    <a:fld id="{5432504F-80BF-4B92-8184-FE135737EE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3363-48D8-B751-EA6AD3438C92}"/>
                </c:ext>
              </c:extLst>
            </c:dLbl>
            <c:dLbl>
              <c:idx val="41"/>
              <c:tx>
                <c:rich>
                  <a:bodyPr/>
                  <a:lstStyle/>
                  <a:p>
                    <a:fld id="{2A8DF19C-1F88-42B5-9931-1FBA125C0A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3363-48D8-B751-EA6AD3438C92}"/>
                </c:ext>
              </c:extLst>
            </c:dLbl>
            <c:dLbl>
              <c:idx val="42"/>
              <c:tx>
                <c:rich>
                  <a:bodyPr/>
                  <a:lstStyle/>
                  <a:p>
                    <a:fld id="{88E11FBF-37E9-4382-857C-4E46A09AAA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3363-48D8-B751-EA6AD3438C92}"/>
                </c:ext>
              </c:extLst>
            </c:dLbl>
            <c:dLbl>
              <c:idx val="43"/>
              <c:tx>
                <c:rich>
                  <a:bodyPr/>
                  <a:lstStyle/>
                  <a:p>
                    <a:fld id="{6B97B23E-4544-48D8-AB4F-9ADCAC6CFF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3363-48D8-B751-EA6AD3438C92}"/>
                </c:ext>
              </c:extLst>
            </c:dLbl>
            <c:dLbl>
              <c:idx val="44"/>
              <c:tx>
                <c:rich>
                  <a:bodyPr/>
                  <a:lstStyle/>
                  <a:p>
                    <a:fld id="{AC93F3CE-C644-4924-B8C4-4CA3391337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3363-48D8-B751-EA6AD3438C92}"/>
                </c:ext>
              </c:extLst>
            </c:dLbl>
            <c:dLbl>
              <c:idx val="45"/>
              <c:tx>
                <c:rich>
                  <a:bodyPr/>
                  <a:lstStyle/>
                  <a:p>
                    <a:fld id="{8125F774-D791-49FC-BC92-8C5F6F4A30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3363-48D8-B751-EA6AD3438C92}"/>
                </c:ext>
              </c:extLst>
            </c:dLbl>
            <c:dLbl>
              <c:idx val="46"/>
              <c:tx>
                <c:rich>
                  <a:bodyPr/>
                  <a:lstStyle/>
                  <a:p>
                    <a:fld id="{2B2DC12F-15DA-464F-9CE9-ED78EB8FD1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3363-48D8-B751-EA6AD3438C92}"/>
                </c:ext>
              </c:extLst>
            </c:dLbl>
            <c:dLbl>
              <c:idx val="47"/>
              <c:tx>
                <c:rich>
                  <a:bodyPr/>
                  <a:lstStyle/>
                  <a:p>
                    <a:fld id="{48CF24BA-61DB-485B-B0F3-E3CF3CB211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5</c:v>
                </c:pt>
                <c:pt idx="1">
                  <c:v>1.75</c:v>
                </c:pt>
                <c:pt idx="2">
                  <c:v>1.65</c:v>
                </c:pt>
                <c:pt idx="3">
                  <c:v>0.93</c:v>
                </c:pt>
                <c:pt idx="4">
                  <c:v>0.03</c:v>
                </c:pt>
              </c:numCache>
            </c:numRef>
          </c:xVal>
          <c:yVal>
            <c:numRef>
              <c:f>Sheet1!$B$2:$B$6</c:f>
              <c:numCache>
                <c:formatCode>General</c:formatCode>
                <c:ptCount val="5"/>
                <c:pt idx="0">
                  <c:v>0.81449754918040718</c:v>
                </c:pt>
                <c:pt idx="1">
                  <c:v>0.84587313844277057</c:v>
                </c:pt>
                <c:pt idx="2">
                  <c:v>4.1978549621281838</c:v>
                </c:pt>
                <c:pt idx="3">
                  <c:v>0.14999364954526481</c:v>
                </c:pt>
                <c:pt idx="4">
                  <c:v>9.9940291308417861E-2</c:v>
                </c:pt>
              </c:numCache>
            </c:numRef>
          </c:yVal>
          <c:bubbleSize>
            <c:numRef>
              <c:f>Sheet1!$C$2:$C$6</c:f>
              <c:numCache>
                <c:formatCode>General</c:formatCode>
                <c:ptCount val="5"/>
                <c:pt idx="0">
                  <c:v>1778216</c:v>
                </c:pt>
                <c:pt idx="1">
                  <c:v>1356208</c:v>
                </c:pt>
                <c:pt idx="2">
                  <c:v>901567</c:v>
                </c:pt>
                <c:pt idx="3">
                  <c:v>619932</c:v>
                </c:pt>
                <c:pt idx="4">
                  <c:v>829105</c:v>
                </c:pt>
              </c:numCache>
            </c:numRef>
          </c:bubbleSize>
          <c:bubble3D val="0"/>
          <c:extLst>
            <c:ext xmlns:c15="http://schemas.microsoft.com/office/drawing/2012/chart" uri="{02D57815-91ED-43cb-92C2-25804820EDAC}">
              <c15:datalabelsRange>
                <c15:f>Sheet1!$E$2:$E$49</c15:f>
                <c15:dlblRangeCache>
                  <c:ptCount val="48"/>
                  <c:pt idx="0">
                    <c:v>1</c:v>
                  </c:pt>
                  <c:pt idx="1">
                    <c:v>2</c:v>
                  </c:pt>
                  <c:pt idx="2">
                    <c:v>3</c:v>
                  </c:pt>
                  <c:pt idx="3">
                    <c:v>4</c:v>
                  </c:pt>
                  <c:pt idx="4">
                    <c:v>5</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At val="1.2216319181210087"/>
        <c:crossBetween val="midCat"/>
      </c:valAx>
      <c:valAx>
        <c:axId val="1011451359"/>
        <c:scaling>
          <c:orientation val="minMax"/>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At val="1.1720000000000002"/>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fld id="{BBB08582-DD54-4BB6-A1C1-EC5A1BD7BD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fld id="{B9269889-2EBF-4EC9-9507-A7ECC19B49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E4B-4312-8F62-0B51F9A74EE8}"/>
                </c:ext>
              </c:extLst>
            </c:dLbl>
            <c:dLbl>
              <c:idx val="2"/>
              <c:tx>
                <c:rich>
                  <a:bodyPr/>
                  <a:lstStyle/>
                  <a:p>
                    <a:fld id="{2ACB67BA-0767-428C-A44F-BC1663BC8CB5}" type="CELLRANGE">
                      <a:rPr lang="en-US" dirty="0">
                        <a:solidFill>
                          <a:schemeClr val="tx2"/>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r>
                      <a:t>4</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3363-48D8-B751-EA6AD3438C92}"/>
                </c:ext>
              </c:extLst>
            </c:dLbl>
            <c:dLbl>
              <c:idx val="4"/>
              <c:tx>
                <c:rich>
                  <a:bodyPr/>
                  <a:lstStyle/>
                  <a:p>
                    <a:fld id="{8F7A2112-8508-4AA8-BD29-1D5A6BF54B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3363-48D8-B751-EA6AD3438C92}"/>
                </c:ext>
              </c:extLst>
            </c:dLbl>
            <c:dLbl>
              <c:idx val="5"/>
              <c:tx>
                <c:rich>
                  <a:bodyPr/>
                  <a:lstStyle/>
                  <a:p>
                    <a:fld id="{66CD8D22-B5B0-427D-90EA-AF1648A9C8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3363-48D8-B751-EA6AD3438C92}"/>
                </c:ext>
              </c:extLst>
            </c:dLbl>
            <c:dLbl>
              <c:idx val="6"/>
              <c:tx>
                <c:rich>
                  <a:bodyPr/>
                  <a:lstStyle/>
                  <a:p>
                    <a:fld id="{91941255-A057-4A6F-AEB7-13A2BA4419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3363-48D8-B751-EA6AD3438C92}"/>
                </c:ext>
              </c:extLst>
            </c:dLbl>
            <c:dLbl>
              <c:idx val="7"/>
              <c:tx>
                <c:rich>
                  <a:bodyPr/>
                  <a:lstStyle/>
                  <a:p>
                    <a:fld id="{D1C61F2F-DD3F-46A5-B988-593A28393D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3363-48D8-B751-EA6AD3438C92}"/>
                </c:ext>
              </c:extLst>
            </c:dLbl>
            <c:dLbl>
              <c:idx val="8"/>
              <c:tx>
                <c:rich>
                  <a:bodyPr/>
                  <a:lstStyle/>
                  <a:p>
                    <a:fld id="{134F1868-2C10-4A92-A42D-43995402DB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3363-48D8-B751-EA6AD3438C92}"/>
                </c:ext>
              </c:extLst>
            </c:dLbl>
            <c:dLbl>
              <c:idx val="9"/>
              <c:tx>
                <c:rich>
                  <a:bodyPr/>
                  <a:lstStyle/>
                  <a:p>
                    <a:fld id="{12496027-FF49-4951-84A8-F19B85F3A1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3363-48D8-B751-EA6AD3438C92}"/>
                </c:ext>
              </c:extLst>
            </c:dLbl>
            <c:dLbl>
              <c:idx val="10"/>
              <c:tx>
                <c:rich>
                  <a:bodyPr/>
                  <a:lstStyle/>
                  <a:p>
                    <a:fld id="{9748A0F8-2139-46B7-A721-0DFE4013ED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3363-48D8-B751-EA6AD3438C92}"/>
                </c:ext>
              </c:extLst>
            </c:dLbl>
            <c:dLbl>
              <c:idx val="11"/>
              <c:tx>
                <c:rich>
                  <a:bodyPr/>
                  <a:lstStyle/>
                  <a:p>
                    <a:fld id="{A22260CA-4C48-48DC-B393-D87399543E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3363-48D8-B751-EA6AD3438C92}"/>
                </c:ext>
              </c:extLst>
            </c:dLbl>
            <c:dLbl>
              <c:idx val="12"/>
              <c:tx>
                <c:rich>
                  <a:bodyPr/>
                  <a:lstStyle/>
                  <a:p>
                    <a:fld id="{92C36F58-F2B5-4193-BF58-6A33967121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3363-48D8-B751-EA6AD3438C92}"/>
                </c:ext>
              </c:extLst>
            </c:dLbl>
            <c:dLbl>
              <c:idx val="13"/>
              <c:tx>
                <c:rich>
                  <a:bodyPr/>
                  <a:lstStyle/>
                  <a:p>
                    <a:fld id="{83D25016-82FC-4217-849C-505E221C3E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3363-48D8-B751-EA6AD3438C92}"/>
                </c:ext>
              </c:extLst>
            </c:dLbl>
            <c:dLbl>
              <c:idx val="14"/>
              <c:tx>
                <c:rich>
                  <a:bodyPr/>
                  <a:lstStyle/>
                  <a:p>
                    <a:fld id="{340A3EF6-F32B-4D58-80D0-07FBE36E7D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3363-48D8-B751-EA6AD3438C92}"/>
                </c:ext>
              </c:extLst>
            </c:dLbl>
            <c:dLbl>
              <c:idx val="15"/>
              <c:tx>
                <c:rich>
                  <a:bodyPr/>
                  <a:lstStyle/>
                  <a:p>
                    <a:fld id="{58C83D3F-7894-48CF-8938-C81CE322EB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3363-48D8-B751-EA6AD3438C92}"/>
                </c:ext>
              </c:extLst>
            </c:dLbl>
            <c:dLbl>
              <c:idx val="16"/>
              <c:tx>
                <c:rich>
                  <a:bodyPr/>
                  <a:lstStyle/>
                  <a:p>
                    <a:fld id="{9B135788-5C0F-44A8-9E1D-9818B13674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3363-48D8-B751-EA6AD3438C92}"/>
                </c:ext>
              </c:extLst>
            </c:dLbl>
            <c:dLbl>
              <c:idx val="17"/>
              <c:tx>
                <c:rich>
                  <a:bodyPr/>
                  <a:lstStyle/>
                  <a:p>
                    <a:fld id="{7B719781-9EB0-4FA9-9C9B-6BA63F9158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3363-48D8-B751-EA6AD3438C92}"/>
                </c:ext>
              </c:extLst>
            </c:dLbl>
            <c:dLbl>
              <c:idx val="18"/>
              <c:tx>
                <c:rich>
                  <a:bodyPr/>
                  <a:lstStyle/>
                  <a:p>
                    <a:fld id="{D85620D0-2A14-4F48-A86B-3DDC7403AA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3363-48D8-B751-EA6AD3438C92}"/>
                </c:ext>
              </c:extLst>
            </c:dLbl>
            <c:dLbl>
              <c:idx val="19"/>
              <c:tx>
                <c:rich>
                  <a:bodyPr/>
                  <a:lstStyle/>
                  <a:p>
                    <a:fld id="{0AFAAFC9-BC66-4B9D-BF48-9BF7356CC3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3363-48D8-B751-EA6AD3438C92}"/>
                </c:ext>
              </c:extLst>
            </c:dLbl>
            <c:dLbl>
              <c:idx val="20"/>
              <c:tx>
                <c:rich>
                  <a:bodyPr/>
                  <a:lstStyle/>
                  <a:p>
                    <a:fld id="{51E4BD59-5434-4A59-9F6F-762DAC1042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3363-48D8-B751-EA6AD3438C92}"/>
                </c:ext>
              </c:extLst>
            </c:dLbl>
            <c:dLbl>
              <c:idx val="21"/>
              <c:tx>
                <c:rich>
                  <a:bodyPr/>
                  <a:lstStyle/>
                  <a:p>
                    <a:fld id="{ADDA8BA4-2BF4-425D-9EED-ADB59F25A4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3363-48D8-B751-EA6AD3438C92}"/>
                </c:ext>
              </c:extLst>
            </c:dLbl>
            <c:dLbl>
              <c:idx val="22"/>
              <c:tx>
                <c:rich>
                  <a:bodyPr/>
                  <a:lstStyle/>
                  <a:p>
                    <a:fld id="{9311BF5C-A5CE-43EB-8FF7-8579CAD861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3363-48D8-B751-EA6AD3438C92}"/>
                </c:ext>
              </c:extLst>
            </c:dLbl>
            <c:dLbl>
              <c:idx val="23"/>
              <c:tx>
                <c:rich>
                  <a:bodyPr/>
                  <a:lstStyle/>
                  <a:p>
                    <a:fld id="{51C084E4-8C5E-403C-B4DB-614F06BAEA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3363-48D8-B751-EA6AD3438C92}"/>
                </c:ext>
              </c:extLst>
            </c:dLbl>
            <c:dLbl>
              <c:idx val="24"/>
              <c:tx>
                <c:rich>
                  <a:bodyPr/>
                  <a:lstStyle/>
                  <a:p>
                    <a:fld id="{7DA3B556-B0E4-4B85-94B6-7FD87C8A20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3363-48D8-B751-EA6AD3438C92}"/>
                </c:ext>
              </c:extLst>
            </c:dLbl>
            <c:dLbl>
              <c:idx val="25"/>
              <c:tx>
                <c:rich>
                  <a:bodyPr/>
                  <a:lstStyle/>
                  <a:p>
                    <a:fld id="{E0BD3310-A5B6-4546-A14A-53B9E8C422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3363-48D8-B751-EA6AD3438C92}"/>
                </c:ext>
              </c:extLst>
            </c:dLbl>
            <c:dLbl>
              <c:idx val="26"/>
              <c:tx>
                <c:rich>
                  <a:bodyPr/>
                  <a:lstStyle/>
                  <a:p>
                    <a:fld id="{F308C51C-D08D-412D-AFC7-B09EB956E0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3363-48D8-B751-EA6AD3438C92}"/>
                </c:ext>
              </c:extLst>
            </c:dLbl>
            <c:dLbl>
              <c:idx val="27"/>
              <c:tx>
                <c:rich>
                  <a:bodyPr/>
                  <a:lstStyle/>
                  <a:p>
                    <a:fld id="{FE4AA79E-789A-4E78-B08F-46E911BBF6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3363-48D8-B751-EA6AD3438C92}"/>
                </c:ext>
              </c:extLst>
            </c:dLbl>
            <c:dLbl>
              <c:idx val="28"/>
              <c:tx>
                <c:rich>
                  <a:bodyPr/>
                  <a:lstStyle/>
                  <a:p>
                    <a:fld id="{6653C114-311B-495D-9AE0-7ADA905921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3363-48D8-B751-EA6AD3438C92}"/>
                </c:ext>
              </c:extLst>
            </c:dLbl>
            <c:dLbl>
              <c:idx val="29"/>
              <c:tx>
                <c:rich>
                  <a:bodyPr/>
                  <a:lstStyle/>
                  <a:p>
                    <a:fld id="{67F53E78-A240-4883-8AA7-4CA3574653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3363-48D8-B751-EA6AD3438C92}"/>
                </c:ext>
              </c:extLst>
            </c:dLbl>
            <c:dLbl>
              <c:idx val="30"/>
              <c:tx>
                <c:rich>
                  <a:bodyPr/>
                  <a:lstStyle/>
                  <a:p>
                    <a:fld id="{75AB1E98-13E3-4436-A693-F0367DC80F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3363-48D8-B751-EA6AD3438C92}"/>
                </c:ext>
              </c:extLst>
            </c:dLbl>
            <c:dLbl>
              <c:idx val="31"/>
              <c:tx>
                <c:rich>
                  <a:bodyPr/>
                  <a:lstStyle/>
                  <a:p>
                    <a:fld id="{BA01665D-48F9-4B31-BFAE-E3FA80AAED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3363-48D8-B751-EA6AD3438C92}"/>
                </c:ext>
              </c:extLst>
            </c:dLbl>
            <c:dLbl>
              <c:idx val="32"/>
              <c:tx>
                <c:rich>
                  <a:bodyPr/>
                  <a:lstStyle/>
                  <a:p>
                    <a:fld id="{40BDFAA5-3116-4041-994A-CE0CFEC634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3363-48D8-B751-EA6AD3438C92}"/>
                </c:ext>
              </c:extLst>
            </c:dLbl>
            <c:dLbl>
              <c:idx val="33"/>
              <c:tx>
                <c:rich>
                  <a:bodyPr/>
                  <a:lstStyle/>
                  <a:p>
                    <a:fld id="{FADBFF32-04EE-4373-B335-3F5CDFCF2A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3363-48D8-B751-EA6AD3438C92}"/>
                </c:ext>
              </c:extLst>
            </c:dLbl>
            <c:dLbl>
              <c:idx val="34"/>
              <c:tx>
                <c:rich>
                  <a:bodyPr/>
                  <a:lstStyle/>
                  <a:p>
                    <a:fld id="{69471CF7-3079-4838-A798-8BCA3667D2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3363-48D8-B751-EA6AD3438C92}"/>
                </c:ext>
              </c:extLst>
            </c:dLbl>
            <c:dLbl>
              <c:idx val="35"/>
              <c:tx>
                <c:rich>
                  <a:bodyPr/>
                  <a:lstStyle/>
                  <a:p>
                    <a:fld id="{C069E966-702D-4EB8-9762-BA2CA337BF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3363-48D8-B751-EA6AD3438C92}"/>
                </c:ext>
              </c:extLst>
            </c:dLbl>
            <c:dLbl>
              <c:idx val="36"/>
              <c:tx>
                <c:rich>
                  <a:bodyPr/>
                  <a:lstStyle/>
                  <a:p>
                    <a:fld id="{0A01D68B-28DA-4271-8194-809224BCDD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3363-48D8-B751-EA6AD3438C92}"/>
                </c:ext>
              </c:extLst>
            </c:dLbl>
            <c:dLbl>
              <c:idx val="37"/>
              <c:tx>
                <c:rich>
                  <a:bodyPr/>
                  <a:lstStyle/>
                  <a:p>
                    <a:fld id="{E9306D95-7B1D-40F9-84DA-E277377D44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3363-48D8-B751-EA6AD3438C92}"/>
                </c:ext>
              </c:extLst>
            </c:dLbl>
            <c:dLbl>
              <c:idx val="38"/>
              <c:tx>
                <c:rich>
                  <a:bodyPr/>
                  <a:lstStyle/>
                  <a:p>
                    <a:fld id="{63887602-6C97-404B-8F16-926A9C23EA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3363-48D8-B751-EA6AD3438C92}"/>
                </c:ext>
              </c:extLst>
            </c:dLbl>
            <c:dLbl>
              <c:idx val="39"/>
              <c:tx>
                <c:rich>
                  <a:bodyPr/>
                  <a:lstStyle/>
                  <a:p>
                    <a:fld id="{615ABEF7-FE8B-4B18-9A1F-A58DE23D09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3363-48D8-B751-EA6AD3438C92}"/>
                </c:ext>
              </c:extLst>
            </c:dLbl>
            <c:dLbl>
              <c:idx val="40"/>
              <c:tx>
                <c:rich>
                  <a:bodyPr/>
                  <a:lstStyle/>
                  <a:p>
                    <a:fld id="{C32E561B-6F08-4289-A742-24A5ABD493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3363-48D8-B751-EA6AD3438C92}"/>
                </c:ext>
              </c:extLst>
            </c:dLbl>
            <c:dLbl>
              <c:idx val="41"/>
              <c:tx>
                <c:rich>
                  <a:bodyPr/>
                  <a:lstStyle/>
                  <a:p>
                    <a:fld id="{6EA6F3AD-634A-4BA0-B8C6-D2786E1271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3363-48D8-B751-EA6AD3438C92}"/>
                </c:ext>
              </c:extLst>
            </c:dLbl>
            <c:dLbl>
              <c:idx val="42"/>
              <c:tx>
                <c:rich>
                  <a:bodyPr/>
                  <a:lstStyle/>
                  <a:p>
                    <a:fld id="{62F36ECC-74CC-409A-A1B7-7ACB67A4F5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3363-48D8-B751-EA6AD3438C92}"/>
                </c:ext>
              </c:extLst>
            </c:dLbl>
            <c:dLbl>
              <c:idx val="43"/>
              <c:tx>
                <c:rich>
                  <a:bodyPr/>
                  <a:lstStyle/>
                  <a:p>
                    <a:fld id="{2BCA188F-57B0-4B77-A44F-7D5AF98B7A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3363-48D8-B751-EA6AD3438C92}"/>
                </c:ext>
              </c:extLst>
            </c:dLbl>
            <c:dLbl>
              <c:idx val="44"/>
              <c:tx>
                <c:rich>
                  <a:bodyPr/>
                  <a:lstStyle/>
                  <a:p>
                    <a:fld id="{5254CEFF-03BF-406F-B0A1-6DF35C611B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3363-48D8-B751-EA6AD3438C92}"/>
                </c:ext>
              </c:extLst>
            </c:dLbl>
            <c:dLbl>
              <c:idx val="45"/>
              <c:tx>
                <c:rich>
                  <a:bodyPr/>
                  <a:lstStyle/>
                  <a:p>
                    <a:fld id="{70C50B10-A9D2-4291-ACDC-B735083979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3363-48D8-B751-EA6AD3438C92}"/>
                </c:ext>
              </c:extLst>
            </c:dLbl>
            <c:dLbl>
              <c:idx val="46"/>
              <c:tx>
                <c:rich>
                  <a:bodyPr/>
                  <a:lstStyle/>
                  <a:p>
                    <a:fld id="{858A1253-3F60-48DD-92F1-DA96D03530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3363-48D8-B751-EA6AD3438C92}"/>
                </c:ext>
              </c:extLst>
            </c:dLbl>
            <c:dLbl>
              <c:idx val="47"/>
              <c:tx>
                <c:rich>
                  <a:bodyPr/>
                  <a:lstStyle/>
                  <a:p>
                    <a:fld id="{E67355B9-96ED-477F-ACFF-DD2DB66B4A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0.03</c:v>
                </c:pt>
                <c:pt idx="1">
                  <c:v>-0.69</c:v>
                </c:pt>
                <c:pt idx="2">
                  <c:v>-1.0900000000000001</c:v>
                </c:pt>
                <c:pt idx="3">
                  <c:v>-0.99</c:v>
                </c:pt>
              </c:numCache>
            </c:numRef>
          </c:xVal>
          <c:yVal>
            <c:numRef>
              <c:f>Sheet1!$B$2:$B$5</c:f>
              <c:numCache>
                <c:formatCode>General</c:formatCode>
                <c:ptCount val="4"/>
                <c:pt idx="0">
                  <c:v>-1.9200592066817571E-2</c:v>
                </c:pt>
                <c:pt idx="1">
                  <c:v>-5.4062409469310402E-2</c:v>
                </c:pt>
                <c:pt idx="2">
                  <c:v>-0.1123707586855017</c:v>
                </c:pt>
                <c:pt idx="3">
                  <c:v>-0.14536595350682241</c:v>
                </c:pt>
              </c:numCache>
            </c:numRef>
          </c:yVal>
          <c:bubbleSize>
            <c:numRef>
              <c:f>Sheet1!$C$2:$C$5</c:f>
              <c:numCache>
                <c:formatCode>General</c:formatCode>
                <c:ptCount val="4"/>
                <c:pt idx="0">
                  <c:v>914106</c:v>
                </c:pt>
                <c:pt idx="1">
                  <c:v>1432558</c:v>
                </c:pt>
                <c:pt idx="2">
                  <c:v>1539499</c:v>
                </c:pt>
                <c:pt idx="3">
                  <c:v>1162498</c:v>
                </c:pt>
              </c:numCache>
            </c:numRef>
          </c:bubbleSize>
          <c:bubble3D val="0"/>
          <c:extLst>
            <c:ext xmlns:c15="http://schemas.microsoft.com/office/drawing/2012/chart" uri="{02D57815-91ED-43cb-92C2-25804820EDAC}">
              <c15:datalabelsRange>
                <c15:f>Sheet1!$E$2:$E$49</c15:f>
                <c15:dlblRangeCache>
                  <c:ptCount val="48"/>
                  <c:pt idx="0">
                    <c:v>1</c:v>
                  </c:pt>
                  <c:pt idx="1">
                    <c:v>2</c:v>
                  </c:pt>
                  <c:pt idx="2">
                    <c:v>3</c:v>
                  </c:pt>
                  <c:pt idx="3">
                    <c:v>4</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2"/>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At val="1"/>
        <c:crossBetween val="midCat"/>
      </c:valAx>
      <c:valAx>
        <c:axId val="1011451359"/>
        <c:scaling>
          <c:orientation val="minMax"/>
          <c:max val="1.2"/>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At val="1"/>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Manual Shave Men Total</c:v>
                </c:pt>
                <c:pt idx="1">
                  <c:v>Disposables</c:v>
                </c:pt>
                <c:pt idx="2">
                  <c:v>System</c:v>
                </c:pt>
              </c:strCache>
            </c:strRef>
          </c:cat>
          <c:val>
            <c:numRef>
              <c:f>Sheet1!$B$2:$B$4</c:f>
              <c:numCache>
                <c:formatCode>General</c:formatCode>
                <c:ptCount val="3"/>
                <c:pt idx="0">
                  <c:v>0.55000000000000004</c:v>
                </c:pt>
                <c:pt idx="1">
                  <c:v>0.55000000000000004</c:v>
                </c:pt>
                <c:pt idx="2">
                  <c:v>0.55000000000000004</c:v>
                </c:pt>
              </c:numCache>
            </c:numRef>
          </c:val>
          <c:extLst>
            <c:ext xmlns:c16="http://schemas.microsoft.com/office/drawing/2014/chart" uri="{C3380CC4-5D6E-409C-BE32-E72D297353CC}">
              <c16:uniqueId val="{00000004-0DAD-4482-B93F-84F75497B5DC}"/>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Manual Shave Men Total</c:v>
                </c:pt>
                <c:pt idx="1">
                  <c:v>Disposables</c:v>
                </c:pt>
                <c:pt idx="2">
                  <c:v>System</c:v>
                </c:pt>
              </c:strCache>
            </c:strRef>
          </c:cat>
          <c:val>
            <c:numRef>
              <c:f>Sheet1!$C$2:$C$4</c:f>
              <c:numCache>
                <c:formatCode>General</c:formatCode>
                <c:ptCount val="3"/>
                <c:pt idx="0">
                  <c:v>0.44999999999999996</c:v>
                </c:pt>
                <c:pt idx="1">
                  <c:v>0.44999999999999996</c:v>
                </c:pt>
                <c:pt idx="2">
                  <c:v>0.4499999999999999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Manual Shave Men Total</c:v>
                </c:pt>
                <c:pt idx="1">
                  <c:v>Disposables</c:v>
                </c:pt>
                <c:pt idx="2">
                  <c:v>System</c:v>
                </c:pt>
              </c:strCache>
            </c:strRef>
          </c:cat>
          <c:val>
            <c:numRef>
              <c:f>Sheet1!$B$2:$B$4</c:f>
              <c:numCache>
                <c:formatCode>General</c:formatCode>
                <c:ptCount val="3"/>
                <c:pt idx="0">
                  <c:v>0.57999999999999996</c:v>
                </c:pt>
                <c:pt idx="1">
                  <c:v>0.57999999999999996</c:v>
                </c:pt>
              </c:numCache>
            </c:numRef>
          </c:val>
          <c:extLst>
            <c:ext xmlns:c16="http://schemas.microsoft.com/office/drawing/2014/chart" uri="{C3380CC4-5D6E-409C-BE32-E72D297353CC}">
              <c16:uniqueId val="{00000003-E36D-45CD-A288-8E90CF32B35D}"/>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Manual Shave Men Total</c:v>
                </c:pt>
                <c:pt idx="1">
                  <c:v>Disposables</c:v>
                </c:pt>
                <c:pt idx="2">
                  <c:v>System</c:v>
                </c:pt>
              </c:strCache>
            </c:strRef>
          </c:cat>
          <c:val>
            <c:numRef>
              <c:f>Sheet1!$C$2:$C$4</c:f>
              <c:numCache>
                <c:formatCode>General</c:formatCode>
                <c:ptCount val="3"/>
                <c:pt idx="0">
                  <c:v>0.42000000000000004</c:v>
                </c:pt>
                <c:pt idx="1">
                  <c:v>0.42000000000000004</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Manual Shave Men Total</c:v>
                </c:pt>
                <c:pt idx="1">
                  <c:v>Disposables</c:v>
                </c:pt>
                <c:pt idx="2">
                  <c:v>System</c:v>
                </c:pt>
              </c:strCache>
            </c:strRef>
          </c:cat>
          <c:val>
            <c:numRef>
              <c:f>Sheet1!$B$2:$B$4</c:f>
              <c:numCache>
                <c:formatCode>General</c:formatCode>
                <c:ptCount val="3"/>
                <c:pt idx="0">
                  <c:v>0.55000000000000004</c:v>
                </c:pt>
                <c:pt idx="1">
                  <c:v>0.55000000000000004</c:v>
                </c:pt>
                <c:pt idx="2">
                  <c:v>0.55000000000000004</c:v>
                </c:pt>
              </c:numCache>
            </c:numRef>
          </c:val>
          <c:extLst>
            <c:ext xmlns:c16="http://schemas.microsoft.com/office/drawing/2014/chart" uri="{C3380CC4-5D6E-409C-BE32-E72D297353CC}">
              <c16:uniqueId val="{00000004-0DAD-4482-B93F-84F75497B5DC}"/>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Manual Shave Men Total</c:v>
                </c:pt>
                <c:pt idx="1">
                  <c:v>Disposables</c:v>
                </c:pt>
                <c:pt idx="2">
                  <c:v>System</c:v>
                </c:pt>
              </c:strCache>
            </c:strRef>
          </c:cat>
          <c:val>
            <c:numRef>
              <c:f>Sheet1!$C$2:$C$4</c:f>
              <c:numCache>
                <c:formatCode>General</c:formatCode>
                <c:ptCount val="3"/>
                <c:pt idx="0">
                  <c:v>0.44999999999999996</c:v>
                </c:pt>
                <c:pt idx="1">
                  <c:v>0.44999999999999996</c:v>
                </c:pt>
                <c:pt idx="2">
                  <c:v>0.4499999999999999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Manual Shave Men Total</c:v>
                </c:pt>
                <c:pt idx="1">
                  <c:v>Disposables</c:v>
                </c:pt>
                <c:pt idx="2">
                  <c:v>System</c:v>
                </c:pt>
              </c:strCache>
            </c:strRef>
          </c:cat>
          <c:val>
            <c:numRef>
              <c:f>Sheet1!$B$2:$B$4</c:f>
              <c:numCache>
                <c:formatCode>General</c:formatCode>
                <c:ptCount val="3"/>
                <c:pt idx="0">
                  <c:v>1</c:v>
                </c:pt>
                <c:pt idx="2">
                  <c:v>1</c:v>
                </c:pt>
              </c:numCache>
            </c:numRef>
          </c:val>
          <c:extLst>
            <c:ext xmlns:c16="http://schemas.microsoft.com/office/drawing/2014/chart" uri="{C3380CC4-5D6E-409C-BE32-E72D297353CC}">
              <c16:uniqueId val="{00000003-E36D-45CD-A288-8E90CF32B35D}"/>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Manual Shave Men Total</c:v>
                </c:pt>
                <c:pt idx="1">
                  <c:v>Disposables</c:v>
                </c:pt>
                <c:pt idx="2">
                  <c:v>System</c:v>
                </c:pt>
              </c:strCache>
            </c:strRef>
          </c:cat>
          <c:val>
            <c:numRef>
              <c:f>Sheet1!$C$2:$C$4</c:f>
              <c:numCache>
                <c:formatCode>General</c:formatCode>
                <c:ptCount val="3"/>
                <c:pt idx="0">
                  <c:v>0</c:v>
                </c:pt>
                <c:pt idx="2">
                  <c:v>0</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Manual Shave Men Total</c:v>
                </c:pt>
                <c:pt idx="1">
                  <c:v>Disposables</c:v>
                </c:pt>
                <c:pt idx="2">
                  <c:v>System</c:v>
                </c:pt>
              </c:strCache>
            </c:strRef>
          </c:cat>
          <c:val>
            <c:numRef>
              <c:f>Sheet1!$B$2:$B$4</c:f>
              <c:numCache>
                <c:formatCode>General</c:formatCode>
                <c:ptCount val="3"/>
                <c:pt idx="0">
                  <c:v>0.55000000000000004</c:v>
                </c:pt>
                <c:pt idx="1">
                  <c:v>0.55000000000000004</c:v>
                </c:pt>
                <c:pt idx="2">
                  <c:v>0.55000000000000004</c:v>
                </c:pt>
              </c:numCache>
            </c:numRef>
          </c:val>
          <c:extLst>
            <c:ext xmlns:c16="http://schemas.microsoft.com/office/drawing/2014/chart" uri="{C3380CC4-5D6E-409C-BE32-E72D297353CC}">
              <c16:uniqueId val="{00000004-0DAD-4482-B93F-84F75497B5DC}"/>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Manual Shave Men Total</c:v>
                </c:pt>
                <c:pt idx="1">
                  <c:v>Disposables</c:v>
                </c:pt>
                <c:pt idx="2">
                  <c:v>System</c:v>
                </c:pt>
              </c:strCache>
            </c:strRef>
          </c:cat>
          <c:val>
            <c:numRef>
              <c:f>Sheet1!$C$2:$C$4</c:f>
              <c:numCache>
                <c:formatCode>General</c:formatCode>
                <c:ptCount val="3"/>
                <c:pt idx="0">
                  <c:v>0.44999999999999996</c:v>
                </c:pt>
                <c:pt idx="1">
                  <c:v>0.44999999999999996</c:v>
                </c:pt>
                <c:pt idx="2">
                  <c:v>0.4499999999999999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spPr>
              <a:solidFill>
                <a:srgbClr val="FFBFBF"/>
              </a:solidFill>
            </c:spPr>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c:v>
                </c:pt>
                <c:pt idx="1">
                  <c:v>Harry's</c:v>
                </c:pt>
              </c:strCache>
            </c:strRef>
          </c:cat>
          <c:val>
            <c:numRef>
              <c:f>Sheet1!$B$2:$B$3</c:f>
              <c:numCache>
                <c:formatCode>General</c:formatCode>
                <c:ptCount val="2"/>
                <c:pt idx="0">
                  <c:v>-6.4190005156177232E-3</c:v>
                </c:pt>
                <c:pt idx="1">
                  <c:v>-4.132381541819993</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Manual Shave Men Total</c:v>
                </c:pt>
                <c:pt idx="1">
                  <c:v>Disposables</c:v>
                </c:pt>
                <c:pt idx="2">
                  <c:v>System</c:v>
                </c:pt>
              </c:strCache>
            </c:strRef>
          </c:cat>
          <c:val>
            <c:numRef>
              <c:f>Sheet1!$B$2:$B$4</c:f>
              <c:numCache>
                <c:formatCode>General</c:formatCode>
                <c:ptCount val="3"/>
                <c:pt idx="0">
                  <c:v>0.57999999999999996</c:v>
                </c:pt>
                <c:pt idx="1">
                  <c:v>0.57999999999999996</c:v>
                </c:pt>
                <c:pt idx="2">
                  <c:v>1</c:v>
                </c:pt>
              </c:numCache>
            </c:numRef>
          </c:val>
          <c:extLst>
            <c:ext xmlns:c16="http://schemas.microsoft.com/office/drawing/2014/chart" uri="{C3380CC4-5D6E-409C-BE32-E72D297353CC}">
              <c16:uniqueId val="{00000003-E36D-45CD-A288-8E90CF32B35D}"/>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Manual Shave Men Total</c:v>
                </c:pt>
                <c:pt idx="1">
                  <c:v>Disposables</c:v>
                </c:pt>
                <c:pt idx="2">
                  <c:v>System</c:v>
                </c:pt>
              </c:strCache>
            </c:strRef>
          </c:cat>
          <c:val>
            <c:numRef>
              <c:f>Sheet1!$C$2:$C$4</c:f>
              <c:numCache>
                <c:formatCode>General</c:formatCode>
                <c:ptCount val="3"/>
                <c:pt idx="0">
                  <c:v>0.42000000000000004</c:v>
                </c:pt>
                <c:pt idx="1">
                  <c:v>0.42000000000000004</c:v>
                </c:pt>
                <c:pt idx="2">
                  <c:v>0</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Manual Shave Men Total</c:v>
                </c:pt>
                <c:pt idx="1">
                  <c:v>Disposables</c:v>
                </c:pt>
                <c:pt idx="2">
                  <c:v>System</c:v>
                </c:pt>
              </c:strCache>
            </c:strRef>
          </c:cat>
          <c:val>
            <c:numRef>
              <c:f>Sheet1!$B$2:$B$4</c:f>
              <c:numCache>
                <c:formatCode>General</c:formatCode>
                <c:ptCount val="3"/>
                <c:pt idx="0">
                  <c:v>0.06</c:v>
                </c:pt>
                <c:pt idx="1">
                  <c:v>0.04</c:v>
                </c:pt>
                <c:pt idx="2">
                  <c:v>0.08</c:v>
                </c:pt>
              </c:numCache>
            </c:numRef>
          </c:val>
          <c:extLst>
            <c:ext xmlns:c16="http://schemas.microsoft.com/office/drawing/2014/chart" uri="{C3380CC4-5D6E-409C-BE32-E72D297353CC}">
              <c16:uniqueId val="{00000004-0DAD-4482-B93F-84F75497B5DC}"/>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Manual Shave Men Total</c:v>
                </c:pt>
                <c:pt idx="1">
                  <c:v>Disposables</c:v>
                </c:pt>
                <c:pt idx="2">
                  <c:v>System</c:v>
                </c:pt>
              </c:strCache>
            </c:strRef>
          </c:cat>
          <c:val>
            <c:numRef>
              <c:f>Sheet1!$C$2:$C$4</c:f>
              <c:numCache>
                <c:formatCode>General</c:formatCode>
                <c:ptCount val="3"/>
                <c:pt idx="0">
                  <c:v>0.94</c:v>
                </c:pt>
                <c:pt idx="1">
                  <c:v>0.96</c:v>
                </c:pt>
                <c:pt idx="2">
                  <c:v>0.92</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Manual Shave Men Total</c:v>
                </c:pt>
                <c:pt idx="1">
                  <c:v>Disposables</c:v>
                </c:pt>
                <c:pt idx="2">
                  <c:v>System</c:v>
                </c:pt>
              </c:strCache>
            </c:strRef>
          </c:cat>
          <c:val>
            <c:numRef>
              <c:f>Sheet1!$B$2:$B$4</c:f>
              <c:numCache>
                <c:formatCode>General</c:formatCode>
                <c:ptCount val="3"/>
                <c:pt idx="0">
                  <c:v>0.16</c:v>
                </c:pt>
                <c:pt idx="1">
                  <c:v>0.11</c:v>
                </c:pt>
                <c:pt idx="2">
                  <c:v>0.3</c:v>
                </c:pt>
              </c:numCache>
            </c:numRef>
          </c:val>
          <c:extLst>
            <c:ext xmlns:c16="http://schemas.microsoft.com/office/drawing/2014/chart" uri="{C3380CC4-5D6E-409C-BE32-E72D297353CC}">
              <c16:uniqueId val="{00000003-E36D-45CD-A288-8E90CF32B35D}"/>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Manual Shave Men Total</c:v>
                </c:pt>
                <c:pt idx="1">
                  <c:v>Disposables</c:v>
                </c:pt>
                <c:pt idx="2">
                  <c:v>System</c:v>
                </c:pt>
              </c:strCache>
            </c:strRef>
          </c:cat>
          <c:val>
            <c:numRef>
              <c:f>Sheet1!$C$2:$C$4</c:f>
              <c:numCache>
                <c:formatCode>General</c:formatCode>
                <c:ptCount val="3"/>
                <c:pt idx="0">
                  <c:v>0.84</c:v>
                </c:pt>
                <c:pt idx="1">
                  <c:v>0.89</c:v>
                </c:pt>
                <c:pt idx="2">
                  <c:v>0.7</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Manual Shave Men Total</c:v>
                </c:pt>
                <c:pt idx="1">
                  <c:v>Disposables</c:v>
                </c:pt>
                <c:pt idx="2">
                  <c:v>System</c:v>
                </c:pt>
              </c:strCache>
            </c:strRef>
          </c:cat>
          <c:val>
            <c:numRef>
              <c:f>Sheet1!$B$2:$B$4</c:f>
              <c:numCache>
                <c:formatCode>General</c:formatCode>
                <c:ptCount val="3"/>
                <c:pt idx="0">
                  <c:v>0.06</c:v>
                </c:pt>
                <c:pt idx="1">
                  <c:v>0.04</c:v>
                </c:pt>
                <c:pt idx="2">
                  <c:v>0.08</c:v>
                </c:pt>
              </c:numCache>
            </c:numRef>
          </c:val>
          <c:extLst>
            <c:ext xmlns:c16="http://schemas.microsoft.com/office/drawing/2014/chart" uri="{C3380CC4-5D6E-409C-BE32-E72D297353CC}">
              <c16:uniqueId val="{00000004-0DAD-4482-B93F-84F75497B5DC}"/>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Manual Shave Men Total</c:v>
                </c:pt>
                <c:pt idx="1">
                  <c:v>Disposables</c:v>
                </c:pt>
                <c:pt idx="2">
                  <c:v>System</c:v>
                </c:pt>
              </c:strCache>
            </c:strRef>
          </c:cat>
          <c:val>
            <c:numRef>
              <c:f>Sheet1!$C$2:$C$4</c:f>
              <c:numCache>
                <c:formatCode>General</c:formatCode>
                <c:ptCount val="3"/>
                <c:pt idx="0">
                  <c:v>0.94</c:v>
                </c:pt>
                <c:pt idx="1">
                  <c:v>0.96</c:v>
                </c:pt>
                <c:pt idx="2">
                  <c:v>0.92</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Manual Shave Men Total</c:v>
                </c:pt>
                <c:pt idx="1">
                  <c:v>Disposables</c:v>
                </c:pt>
                <c:pt idx="2">
                  <c:v>System</c:v>
                </c:pt>
              </c:strCache>
            </c:strRef>
          </c:cat>
          <c:val>
            <c:numRef>
              <c:f>Sheet1!$B$2:$B$4</c:f>
              <c:numCache>
                <c:formatCode>General</c:formatCode>
                <c:ptCount val="3"/>
                <c:pt idx="0">
                  <c:v>0.06</c:v>
                </c:pt>
                <c:pt idx="1">
                  <c:v>0.06</c:v>
                </c:pt>
                <c:pt idx="2">
                  <c:v>0.05</c:v>
                </c:pt>
              </c:numCache>
            </c:numRef>
          </c:val>
          <c:extLst>
            <c:ext xmlns:c16="http://schemas.microsoft.com/office/drawing/2014/chart" uri="{C3380CC4-5D6E-409C-BE32-E72D297353CC}">
              <c16:uniqueId val="{00000003-E36D-45CD-A288-8E90CF32B35D}"/>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Manual Shave Men Total</c:v>
                </c:pt>
                <c:pt idx="1">
                  <c:v>Disposables</c:v>
                </c:pt>
                <c:pt idx="2">
                  <c:v>System</c:v>
                </c:pt>
              </c:strCache>
            </c:strRef>
          </c:cat>
          <c:val>
            <c:numRef>
              <c:f>Sheet1!$C$2:$C$4</c:f>
              <c:numCache>
                <c:formatCode>General</c:formatCode>
                <c:ptCount val="3"/>
                <c:pt idx="0">
                  <c:v>0.94</c:v>
                </c:pt>
                <c:pt idx="1">
                  <c:v>0.94</c:v>
                </c:pt>
                <c:pt idx="2">
                  <c:v>0.95</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Manual Shave Men Total</c:v>
                </c:pt>
                <c:pt idx="1">
                  <c:v>Disposables</c:v>
                </c:pt>
                <c:pt idx="2">
                  <c:v>System</c:v>
                </c:pt>
              </c:strCache>
            </c:strRef>
          </c:cat>
          <c:val>
            <c:numRef>
              <c:f>Sheet1!$B$2:$B$4</c:f>
              <c:numCache>
                <c:formatCode>General</c:formatCode>
                <c:ptCount val="3"/>
                <c:pt idx="0">
                  <c:v>0.06</c:v>
                </c:pt>
                <c:pt idx="1">
                  <c:v>0.04</c:v>
                </c:pt>
                <c:pt idx="2">
                  <c:v>0.08</c:v>
                </c:pt>
              </c:numCache>
            </c:numRef>
          </c:val>
          <c:extLst>
            <c:ext xmlns:c16="http://schemas.microsoft.com/office/drawing/2014/chart" uri="{C3380CC4-5D6E-409C-BE32-E72D297353CC}">
              <c16:uniqueId val="{00000004-0DAD-4482-B93F-84F75497B5DC}"/>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Manual Shave Men Total</c:v>
                </c:pt>
                <c:pt idx="1">
                  <c:v>Disposables</c:v>
                </c:pt>
                <c:pt idx="2">
                  <c:v>System</c:v>
                </c:pt>
              </c:strCache>
            </c:strRef>
          </c:cat>
          <c:val>
            <c:numRef>
              <c:f>Sheet1!$C$2:$C$4</c:f>
              <c:numCache>
                <c:formatCode>General</c:formatCode>
                <c:ptCount val="3"/>
                <c:pt idx="0">
                  <c:v>0.94</c:v>
                </c:pt>
                <c:pt idx="1">
                  <c:v>0.96</c:v>
                </c:pt>
                <c:pt idx="2">
                  <c:v>0.92</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Manual Shave Men Total</c:v>
                </c:pt>
                <c:pt idx="1">
                  <c:v>Disposables</c:v>
                </c:pt>
                <c:pt idx="2">
                  <c:v>System</c:v>
                </c:pt>
              </c:strCache>
            </c:strRef>
          </c:cat>
          <c:val>
            <c:numRef>
              <c:f>Sheet1!$B$2:$B$4</c:f>
              <c:numCache>
                <c:formatCode>General</c:formatCode>
                <c:ptCount val="3"/>
                <c:pt idx="0">
                  <c:v>0.04</c:v>
                </c:pt>
                <c:pt idx="2">
                  <c:v>0.04</c:v>
                </c:pt>
              </c:numCache>
            </c:numRef>
          </c:val>
          <c:extLst>
            <c:ext xmlns:c16="http://schemas.microsoft.com/office/drawing/2014/chart" uri="{C3380CC4-5D6E-409C-BE32-E72D297353CC}">
              <c16:uniqueId val="{00000003-E36D-45CD-A288-8E90CF32B35D}"/>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Manual Shave Men Total</c:v>
                </c:pt>
                <c:pt idx="1">
                  <c:v>Disposables</c:v>
                </c:pt>
                <c:pt idx="2">
                  <c:v>System</c:v>
                </c:pt>
              </c:strCache>
            </c:strRef>
          </c:cat>
          <c:val>
            <c:numRef>
              <c:f>Sheet1!$C$2:$C$4</c:f>
              <c:numCache>
                <c:formatCode>General</c:formatCode>
                <c:ptCount val="3"/>
                <c:pt idx="0">
                  <c:v>0.96</c:v>
                </c:pt>
                <c:pt idx="2">
                  <c:v>0.96</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Manual Shave Men Total</c:v>
                </c:pt>
                <c:pt idx="1">
                  <c:v>Disposables</c:v>
                </c:pt>
                <c:pt idx="2">
                  <c:v>System</c:v>
                </c:pt>
              </c:strCache>
            </c:strRef>
          </c:cat>
          <c:val>
            <c:numRef>
              <c:f>Sheet1!$B$2:$B$4</c:f>
              <c:numCache>
                <c:formatCode>General</c:formatCode>
                <c:ptCount val="3"/>
                <c:pt idx="0">
                  <c:v>0.06</c:v>
                </c:pt>
                <c:pt idx="1">
                  <c:v>0.04</c:v>
                </c:pt>
                <c:pt idx="2">
                  <c:v>0.08</c:v>
                </c:pt>
              </c:numCache>
            </c:numRef>
          </c:val>
          <c:extLst>
            <c:ext xmlns:c16="http://schemas.microsoft.com/office/drawing/2014/chart" uri="{C3380CC4-5D6E-409C-BE32-E72D297353CC}">
              <c16:uniqueId val="{00000004-0DAD-4482-B93F-84F75497B5DC}"/>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Manual Shave Men Total</c:v>
                </c:pt>
                <c:pt idx="1">
                  <c:v>Disposables</c:v>
                </c:pt>
                <c:pt idx="2">
                  <c:v>System</c:v>
                </c:pt>
              </c:strCache>
            </c:strRef>
          </c:cat>
          <c:val>
            <c:numRef>
              <c:f>Sheet1!$C$2:$C$4</c:f>
              <c:numCache>
                <c:formatCode>General</c:formatCode>
                <c:ptCount val="3"/>
                <c:pt idx="0">
                  <c:v>0.94</c:v>
                </c:pt>
                <c:pt idx="1">
                  <c:v>0.96</c:v>
                </c:pt>
                <c:pt idx="2">
                  <c:v>0.92</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Manual Shave Men Total</c:v>
                </c:pt>
                <c:pt idx="1">
                  <c:v>Disposables</c:v>
                </c:pt>
                <c:pt idx="2">
                  <c:v>System</c:v>
                </c:pt>
              </c:strCache>
            </c:strRef>
          </c:cat>
          <c:val>
            <c:numRef>
              <c:f>Sheet1!$B$2:$B$4</c:f>
              <c:numCache>
                <c:formatCode>General</c:formatCode>
                <c:ptCount val="3"/>
                <c:pt idx="0">
                  <c:v>0.16</c:v>
                </c:pt>
                <c:pt idx="1">
                  <c:v>0.11</c:v>
                </c:pt>
                <c:pt idx="2">
                  <c:v>0.3</c:v>
                </c:pt>
              </c:numCache>
            </c:numRef>
          </c:val>
          <c:extLst>
            <c:ext xmlns:c16="http://schemas.microsoft.com/office/drawing/2014/chart" uri="{C3380CC4-5D6E-409C-BE32-E72D297353CC}">
              <c16:uniqueId val="{00000003-E36D-45CD-A288-8E90CF32B35D}"/>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Manual Shave Men Total</c:v>
                </c:pt>
                <c:pt idx="1">
                  <c:v>Disposables</c:v>
                </c:pt>
                <c:pt idx="2">
                  <c:v>System</c:v>
                </c:pt>
              </c:strCache>
            </c:strRef>
          </c:cat>
          <c:val>
            <c:numRef>
              <c:f>Sheet1!$C$2:$C$4</c:f>
              <c:numCache>
                <c:formatCode>General</c:formatCode>
                <c:ptCount val="3"/>
                <c:pt idx="0">
                  <c:v>0.84</c:v>
                </c:pt>
                <c:pt idx="1">
                  <c:v>0.89</c:v>
                </c:pt>
                <c:pt idx="2">
                  <c:v>0.7</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 Total</c:v>
                </c:pt>
                <c:pt idx="1">
                  <c:v>Disposables</c:v>
                </c:pt>
              </c:strCache>
            </c:strRef>
          </c:cat>
          <c:val>
            <c:numRef>
              <c:f>Sheet1!$B$2:$B$3</c:f>
              <c:numCache>
                <c:formatCode>General</c:formatCode>
                <c:ptCount val="2"/>
                <c:pt idx="0">
                  <c:v>0.55000000000000004</c:v>
                </c:pt>
                <c:pt idx="1">
                  <c:v>0.55000000000000004</c:v>
                </c:pt>
              </c:numCache>
            </c:numRef>
          </c:val>
          <c:extLst>
            <c:ext xmlns:c16="http://schemas.microsoft.com/office/drawing/2014/chart" uri="{C3380CC4-5D6E-409C-BE32-E72D297353CC}">
              <c16:uniqueId val="{00000004-0DAD-4482-B93F-84F75497B5DC}"/>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 Total</c:v>
                </c:pt>
                <c:pt idx="1">
                  <c:v>Disposables</c:v>
                </c:pt>
              </c:strCache>
            </c:strRef>
          </c:cat>
          <c:val>
            <c:numRef>
              <c:f>Sheet1!$C$2:$C$3</c:f>
              <c:numCache>
                <c:formatCode>General</c:formatCode>
                <c:ptCount val="2"/>
                <c:pt idx="0">
                  <c:v>0.44999999999999996</c:v>
                </c:pt>
                <c:pt idx="1">
                  <c:v>0.4499999999999999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3-3C16-4125-B97A-D0EBA9D0B1CF}"/>
              </c:ext>
            </c:extLst>
          </c:dPt>
          <c:dPt>
            <c:idx val="1"/>
            <c:invertIfNegative val="0"/>
            <c:bubble3D val="0"/>
            <c:extLst>
              <c:ext xmlns:c16="http://schemas.microsoft.com/office/drawing/2014/chart" uri="{C3380CC4-5D6E-409C-BE32-E72D297353CC}">
                <c16:uniqueId val="{00000001-615A-458F-B49B-C3992C8CBC6B}"/>
              </c:ext>
            </c:extLst>
          </c:dPt>
          <c:dPt>
            <c:idx val="2"/>
            <c:invertIfNegative val="0"/>
            <c:bubble3D val="0"/>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c:v>
                </c:pt>
                <c:pt idx="1">
                  <c:v>Schick</c:v>
                </c:pt>
                <c:pt idx="2">
                  <c:v>Bic</c:v>
                </c:pt>
              </c:strCache>
            </c:strRef>
          </c:cat>
          <c:val>
            <c:numRef>
              <c:f>Sheet1!$B$2:$B$4</c:f>
              <c:numCache>
                <c:formatCode>General</c:formatCode>
                <c:ptCount val="3"/>
                <c:pt idx="0">
                  <c:v>0.35000000000000009</c:v>
                </c:pt>
                <c:pt idx="1">
                  <c:v>0.38100000000000001</c:v>
                </c:pt>
                <c:pt idx="2">
                  <c:v>0.1519999999999999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 Total</c:v>
                </c:pt>
                <c:pt idx="1">
                  <c:v>Disposables</c:v>
                </c:pt>
              </c:strCache>
            </c:strRef>
          </c:cat>
          <c:val>
            <c:numRef>
              <c:f>Sheet1!$B$2:$B$3</c:f>
              <c:numCache>
                <c:formatCode>General</c:formatCode>
                <c:ptCount val="2"/>
                <c:pt idx="0">
                  <c:v>0.57999999999999996</c:v>
                </c:pt>
                <c:pt idx="1">
                  <c:v>0.57999999999999996</c:v>
                </c:pt>
              </c:numCache>
            </c:numRef>
          </c:val>
          <c:extLst>
            <c:ext xmlns:c16="http://schemas.microsoft.com/office/drawing/2014/chart" uri="{C3380CC4-5D6E-409C-BE32-E72D297353CC}">
              <c16:uniqueId val="{00000003-E36D-45CD-A288-8E90CF32B35D}"/>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 Total</c:v>
                </c:pt>
                <c:pt idx="1">
                  <c:v>Disposables</c:v>
                </c:pt>
              </c:strCache>
            </c:strRef>
          </c:cat>
          <c:val>
            <c:numRef>
              <c:f>Sheet1!$C$2:$C$3</c:f>
              <c:numCache>
                <c:formatCode>General</c:formatCode>
                <c:ptCount val="2"/>
                <c:pt idx="0">
                  <c:v>0.42000000000000004</c:v>
                </c:pt>
                <c:pt idx="1">
                  <c:v>0.42000000000000004</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 Total</c:v>
                </c:pt>
                <c:pt idx="1">
                  <c:v>Disposables</c:v>
                </c:pt>
              </c:strCache>
            </c:strRef>
          </c:cat>
          <c:val>
            <c:numRef>
              <c:f>Sheet1!$B$2:$B$3</c:f>
              <c:numCache>
                <c:formatCode>General</c:formatCode>
                <c:ptCount val="2"/>
                <c:pt idx="0">
                  <c:v>0.55000000000000004</c:v>
                </c:pt>
                <c:pt idx="1">
                  <c:v>0.55000000000000004</c:v>
                </c:pt>
              </c:numCache>
            </c:numRef>
          </c:val>
          <c:extLst>
            <c:ext xmlns:c16="http://schemas.microsoft.com/office/drawing/2014/chart" uri="{C3380CC4-5D6E-409C-BE32-E72D297353CC}">
              <c16:uniqueId val="{00000004-0DAD-4482-B93F-84F75497B5DC}"/>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 Total</c:v>
                </c:pt>
                <c:pt idx="1">
                  <c:v>Disposables</c:v>
                </c:pt>
              </c:strCache>
            </c:strRef>
          </c:cat>
          <c:val>
            <c:numRef>
              <c:f>Sheet1!$C$2:$C$3</c:f>
              <c:numCache>
                <c:formatCode>General</c:formatCode>
                <c:ptCount val="2"/>
                <c:pt idx="0">
                  <c:v>0.44999999999999996</c:v>
                </c:pt>
                <c:pt idx="1">
                  <c:v>0.4499999999999999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 Total</c:v>
                </c:pt>
                <c:pt idx="1">
                  <c:v>Disposables</c:v>
                </c:pt>
              </c:strCache>
            </c:strRef>
          </c:cat>
          <c:val>
            <c:numRef>
              <c:f>Sheet1!$B$2:$B$3</c:f>
              <c:numCache>
                <c:formatCode>General</c:formatCode>
                <c:ptCount val="2"/>
              </c:numCache>
            </c:numRef>
          </c:val>
          <c:extLst>
            <c:ext xmlns:c16="http://schemas.microsoft.com/office/drawing/2014/chart" uri="{C3380CC4-5D6E-409C-BE32-E72D297353CC}">
              <c16:uniqueId val="{00000003-E36D-45CD-A288-8E90CF32B35D}"/>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 Total</c:v>
                </c:pt>
                <c:pt idx="1">
                  <c:v>Disposables</c:v>
                </c:pt>
              </c:strCache>
            </c:strRef>
          </c:cat>
          <c:val>
            <c:numRef>
              <c:f>Sheet1!$C$2:$C$3</c:f>
              <c:numCache>
                <c:formatCode>General</c:formatCode>
                <c:ptCount val="2"/>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 Total</c:v>
                </c:pt>
                <c:pt idx="1">
                  <c:v>Disposables</c:v>
                </c:pt>
              </c:strCache>
            </c:strRef>
          </c:cat>
          <c:val>
            <c:numRef>
              <c:f>Sheet1!$B$2:$B$3</c:f>
              <c:numCache>
                <c:formatCode>General</c:formatCode>
                <c:ptCount val="2"/>
                <c:pt idx="0">
                  <c:v>0.55000000000000004</c:v>
                </c:pt>
                <c:pt idx="1">
                  <c:v>0.55000000000000004</c:v>
                </c:pt>
              </c:numCache>
            </c:numRef>
          </c:val>
          <c:extLst>
            <c:ext xmlns:c16="http://schemas.microsoft.com/office/drawing/2014/chart" uri="{C3380CC4-5D6E-409C-BE32-E72D297353CC}">
              <c16:uniqueId val="{00000004-0DAD-4482-B93F-84F75497B5DC}"/>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 Total</c:v>
                </c:pt>
                <c:pt idx="1">
                  <c:v>Disposables</c:v>
                </c:pt>
              </c:strCache>
            </c:strRef>
          </c:cat>
          <c:val>
            <c:numRef>
              <c:f>Sheet1!$C$2:$C$3</c:f>
              <c:numCache>
                <c:formatCode>General</c:formatCode>
                <c:ptCount val="2"/>
                <c:pt idx="0">
                  <c:v>0.44999999999999996</c:v>
                </c:pt>
                <c:pt idx="1">
                  <c:v>0.4499999999999999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 Total</c:v>
                </c:pt>
                <c:pt idx="1">
                  <c:v>Disposables</c:v>
                </c:pt>
              </c:strCache>
            </c:strRef>
          </c:cat>
          <c:val>
            <c:numRef>
              <c:f>Sheet1!$B$2:$B$3</c:f>
              <c:numCache>
                <c:formatCode>General</c:formatCode>
                <c:ptCount val="2"/>
                <c:pt idx="0">
                  <c:v>0.57999999999999996</c:v>
                </c:pt>
                <c:pt idx="1">
                  <c:v>0.57999999999999996</c:v>
                </c:pt>
              </c:numCache>
            </c:numRef>
          </c:val>
          <c:extLst>
            <c:ext xmlns:c16="http://schemas.microsoft.com/office/drawing/2014/chart" uri="{C3380CC4-5D6E-409C-BE32-E72D297353CC}">
              <c16:uniqueId val="{00000003-E36D-45CD-A288-8E90CF32B35D}"/>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 Total</c:v>
                </c:pt>
                <c:pt idx="1">
                  <c:v>Disposables</c:v>
                </c:pt>
              </c:strCache>
            </c:strRef>
          </c:cat>
          <c:val>
            <c:numRef>
              <c:f>Sheet1!$C$2:$C$3</c:f>
              <c:numCache>
                <c:formatCode>General</c:formatCode>
                <c:ptCount val="2"/>
                <c:pt idx="0">
                  <c:v>0.42000000000000004</c:v>
                </c:pt>
                <c:pt idx="1">
                  <c:v>0.42000000000000004</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System Total</c:v>
                </c:pt>
                <c:pt idx="1">
                  <c:v>Razors</c:v>
                </c:pt>
                <c:pt idx="2">
                  <c:v>Refills</c:v>
                </c:pt>
              </c:strCache>
            </c:strRef>
          </c:cat>
          <c:val>
            <c:numRef>
              <c:f>Sheet1!$B$2:$B$4</c:f>
              <c:numCache>
                <c:formatCode>General</c:formatCode>
                <c:ptCount val="3"/>
                <c:pt idx="0">
                  <c:v>0.55000000000000004</c:v>
                </c:pt>
                <c:pt idx="1">
                  <c:v>0.54</c:v>
                </c:pt>
                <c:pt idx="2">
                  <c:v>0.56000000000000005</c:v>
                </c:pt>
              </c:numCache>
            </c:numRef>
          </c:val>
          <c:extLst>
            <c:ext xmlns:c16="http://schemas.microsoft.com/office/drawing/2014/chart" uri="{C3380CC4-5D6E-409C-BE32-E72D297353CC}">
              <c16:uniqueId val="{00000004-0DAD-4482-B93F-84F75497B5DC}"/>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System Total</c:v>
                </c:pt>
                <c:pt idx="1">
                  <c:v>Razors</c:v>
                </c:pt>
                <c:pt idx="2">
                  <c:v>Refills</c:v>
                </c:pt>
              </c:strCache>
            </c:strRef>
          </c:cat>
          <c:val>
            <c:numRef>
              <c:f>Sheet1!$C$2:$C$4</c:f>
              <c:numCache>
                <c:formatCode>General</c:formatCode>
                <c:ptCount val="3"/>
                <c:pt idx="0">
                  <c:v>0.44999999999999996</c:v>
                </c:pt>
                <c:pt idx="1">
                  <c:v>0.45999999999999996</c:v>
                </c:pt>
                <c:pt idx="2">
                  <c:v>0.43999999999999995</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System Total</c:v>
                </c:pt>
                <c:pt idx="1">
                  <c:v>Razors</c:v>
                </c:pt>
                <c:pt idx="2">
                  <c:v>Refills</c:v>
                </c:pt>
              </c:strCache>
            </c:strRef>
          </c:cat>
          <c:val>
            <c:numRef>
              <c:f>Sheet1!$B$2:$B$4</c:f>
              <c:numCache>
                <c:formatCode>General</c:formatCode>
                <c:ptCount val="3"/>
              </c:numCache>
            </c:numRef>
          </c:val>
          <c:extLst>
            <c:ext xmlns:c16="http://schemas.microsoft.com/office/drawing/2014/chart" uri="{C3380CC4-5D6E-409C-BE32-E72D297353CC}">
              <c16:uniqueId val="{00000003-E36D-45CD-A288-8E90CF32B35D}"/>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System Total</c:v>
                </c:pt>
                <c:pt idx="1">
                  <c:v>Razors</c:v>
                </c:pt>
                <c:pt idx="2">
                  <c:v>Refills</c:v>
                </c:pt>
              </c:strCache>
            </c:strRef>
          </c:cat>
          <c:val>
            <c:numRef>
              <c:f>Sheet1!$C$2:$C$4</c:f>
              <c:numCache>
                <c:formatCode>General</c:formatCode>
                <c:ptCount val="3"/>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System Total</c:v>
                </c:pt>
                <c:pt idx="1">
                  <c:v>Razors</c:v>
                </c:pt>
                <c:pt idx="2">
                  <c:v>Refills</c:v>
                </c:pt>
              </c:strCache>
            </c:strRef>
          </c:cat>
          <c:val>
            <c:numRef>
              <c:f>Sheet1!$B$2:$B$4</c:f>
              <c:numCache>
                <c:formatCode>General</c:formatCode>
                <c:ptCount val="3"/>
                <c:pt idx="0">
                  <c:v>0.55000000000000004</c:v>
                </c:pt>
                <c:pt idx="1">
                  <c:v>0.54</c:v>
                </c:pt>
                <c:pt idx="2">
                  <c:v>0.56000000000000005</c:v>
                </c:pt>
              </c:numCache>
            </c:numRef>
          </c:val>
          <c:extLst>
            <c:ext xmlns:c16="http://schemas.microsoft.com/office/drawing/2014/chart" uri="{C3380CC4-5D6E-409C-BE32-E72D297353CC}">
              <c16:uniqueId val="{00000004-0DAD-4482-B93F-84F75497B5DC}"/>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System Total</c:v>
                </c:pt>
                <c:pt idx="1">
                  <c:v>Razors</c:v>
                </c:pt>
                <c:pt idx="2">
                  <c:v>Refills</c:v>
                </c:pt>
              </c:strCache>
            </c:strRef>
          </c:cat>
          <c:val>
            <c:numRef>
              <c:f>Sheet1!$C$2:$C$4</c:f>
              <c:numCache>
                <c:formatCode>General</c:formatCode>
                <c:ptCount val="3"/>
                <c:pt idx="0">
                  <c:v>0.44999999999999996</c:v>
                </c:pt>
                <c:pt idx="1">
                  <c:v>0.45999999999999996</c:v>
                </c:pt>
                <c:pt idx="2">
                  <c:v>0.43999999999999995</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System Total</c:v>
                </c:pt>
                <c:pt idx="1">
                  <c:v>Razors</c:v>
                </c:pt>
                <c:pt idx="2">
                  <c:v>Refills</c:v>
                </c:pt>
              </c:strCache>
            </c:strRef>
          </c:cat>
          <c:val>
            <c:numRef>
              <c:f>Sheet1!$B$2:$B$4</c:f>
              <c:numCache>
                <c:formatCode>General</c:formatCode>
                <c:ptCount val="3"/>
                <c:pt idx="0">
                  <c:v>1</c:v>
                </c:pt>
                <c:pt idx="1">
                  <c:v>1</c:v>
                </c:pt>
              </c:numCache>
            </c:numRef>
          </c:val>
          <c:extLst>
            <c:ext xmlns:c16="http://schemas.microsoft.com/office/drawing/2014/chart" uri="{C3380CC4-5D6E-409C-BE32-E72D297353CC}">
              <c16:uniqueId val="{00000003-E36D-45CD-A288-8E90CF32B35D}"/>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System Total</c:v>
                </c:pt>
                <c:pt idx="1">
                  <c:v>Razors</c:v>
                </c:pt>
                <c:pt idx="2">
                  <c:v>Refills</c:v>
                </c:pt>
              </c:strCache>
            </c:strRef>
          </c:cat>
          <c:val>
            <c:numRef>
              <c:f>Sheet1!$C$2:$C$4</c:f>
              <c:numCache>
                <c:formatCode>General</c:formatCode>
                <c:ptCount val="3"/>
                <c:pt idx="0">
                  <c:v>0</c:v>
                </c:pt>
                <c:pt idx="1">
                  <c:v>0</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System Total</c:v>
                </c:pt>
                <c:pt idx="1">
                  <c:v>Razors</c:v>
                </c:pt>
                <c:pt idx="2">
                  <c:v>Refills</c:v>
                </c:pt>
              </c:strCache>
            </c:strRef>
          </c:cat>
          <c:val>
            <c:numRef>
              <c:f>Sheet1!$B$2:$B$4</c:f>
              <c:numCache>
                <c:formatCode>General</c:formatCode>
                <c:ptCount val="3"/>
                <c:pt idx="0">
                  <c:v>0.55000000000000004</c:v>
                </c:pt>
                <c:pt idx="1">
                  <c:v>0.54</c:v>
                </c:pt>
                <c:pt idx="2">
                  <c:v>0.56000000000000005</c:v>
                </c:pt>
              </c:numCache>
            </c:numRef>
          </c:val>
          <c:extLst>
            <c:ext xmlns:c16="http://schemas.microsoft.com/office/drawing/2014/chart" uri="{C3380CC4-5D6E-409C-BE32-E72D297353CC}">
              <c16:uniqueId val="{00000004-0DAD-4482-B93F-84F75497B5DC}"/>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System Total</c:v>
                </c:pt>
                <c:pt idx="1">
                  <c:v>Razors</c:v>
                </c:pt>
                <c:pt idx="2">
                  <c:v>Refills</c:v>
                </c:pt>
              </c:strCache>
            </c:strRef>
          </c:cat>
          <c:val>
            <c:numRef>
              <c:f>Sheet1!$C$2:$C$4</c:f>
              <c:numCache>
                <c:formatCode>General</c:formatCode>
                <c:ptCount val="3"/>
                <c:pt idx="0">
                  <c:v>0.44999999999999996</c:v>
                </c:pt>
                <c:pt idx="1">
                  <c:v>0.45999999999999996</c:v>
                </c:pt>
                <c:pt idx="2">
                  <c:v>0.43999999999999995</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romo Value Uplift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2-B1F3-4B1C-B6BD-D7555A955EE3}"/>
              </c:ext>
            </c:extLst>
          </c:dPt>
          <c:dPt>
            <c:idx val="1"/>
            <c:invertIfNegative val="0"/>
            <c:bubble3D val="0"/>
            <c:spPr>
              <a:solidFill>
                <a:srgbClr val="FFBFBF"/>
              </a:solidFill>
            </c:spPr>
            <c:extLst>
              <c:ext xmlns:c16="http://schemas.microsoft.com/office/drawing/2014/chart" uri="{C3380CC4-5D6E-409C-BE32-E72D297353CC}">
                <c16:uniqueId val="{00000000-1D88-4E66-AA3A-770CA96ED1E8}"/>
              </c:ext>
            </c:extLst>
          </c:dPt>
          <c:dPt>
            <c:idx val="2"/>
            <c:invertIfNegative val="0"/>
            <c:bubble3D val="0"/>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c:v>
                </c:pt>
                <c:pt idx="1">
                  <c:v>Schick</c:v>
                </c:pt>
                <c:pt idx="2">
                  <c:v>Bic</c:v>
                </c:pt>
              </c:strCache>
            </c:strRef>
          </c:cat>
          <c:val>
            <c:numRef>
              <c:f>Sheet1!$B$2:$B$4</c:f>
              <c:numCache>
                <c:formatCode>General</c:formatCode>
                <c:ptCount val="3"/>
                <c:pt idx="0">
                  <c:v>1.1578368617405883</c:v>
                </c:pt>
                <c:pt idx="1">
                  <c:v>-4.9221830676291156E-2</c:v>
                </c:pt>
                <c:pt idx="2">
                  <c:v>1.4632480108613399</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System Total</c:v>
                </c:pt>
                <c:pt idx="1">
                  <c:v>Razors</c:v>
                </c:pt>
                <c:pt idx="2">
                  <c:v>Refills</c:v>
                </c:pt>
              </c:strCache>
            </c:strRef>
          </c:cat>
          <c:val>
            <c:numRef>
              <c:f>Sheet1!$B$2:$B$4</c:f>
              <c:numCache>
                <c:formatCode>General</c:formatCode>
                <c:ptCount val="3"/>
                <c:pt idx="0">
                  <c:v>1</c:v>
                </c:pt>
                <c:pt idx="1">
                  <c:v>1</c:v>
                </c:pt>
              </c:numCache>
            </c:numRef>
          </c:val>
          <c:extLst>
            <c:ext xmlns:c16="http://schemas.microsoft.com/office/drawing/2014/chart" uri="{C3380CC4-5D6E-409C-BE32-E72D297353CC}">
              <c16:uniqueId val="{00000003-E36D-45CD-A288-8E90CF32B35D}"/>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System Total</c:v>
                </c:pt>
                <c:pt idx="1">
                  <c:v>Razors</c:v>
                </c:pt>
                <c:pt idx="2">
                  <c:v>Refills</c:v>
                </c:pt>
              </c:strCache>
            </c:strRef>
          </c:cat>
          <c:val>
            <c:numRef>
              <c:f>Sheet1!$C$2:$C$4</c:f>
              <c:numCache>
                <c:formatCode>General</c:formatCode>
                <c:ptCount val="3"/>
                <c:pt idx="0">
                  <c:v>0</c:v>
                </c:pt>
                <c:pt idx="1">
                  <c:v>0</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 Total</c:v>
                </c:pt>
                <c:pt idx="1">
                  <c:v>Disposables</c:v>
                </c:pt>
              </c:strCache>
            </c:strRef>
          </c:cat>
          <c:val>
            <c:numRef>
              <c:f>Sheet1!$B$2:$B$3</c:f>
              <c:numCache>
                <c:formatCode>General</c:formatCode>
                <c:ptCount val="2"/>
                <c:pt idx="0">
                  <c:v>0.04</c:v>
                </c:pt>
                <c:pt idx="1">
                  <c:v>0.04</c:v>
                </c:pt>
              </c:numCache>
            </c:numRef>
          </c:val>
          <c:extLst>
            <c:ext xmlns:c16="http://schemas.microsoft.com/office/drawing/2014/chart" uri="{C3380CC4-5D6E-409C-BE32-E72D297353CC}">
              <c16:uniqueId val="{00000004-0DAD-4482-B93F-84F75497B5DC}"/>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 Total</c:v>
                </c:pt>
                <c:pt idx="1">
                  <c:v>Disposables</c:v>
                </c:pt>
              </c:strCache>
            </c:strRef>
          </c:cat>
          <c:val>
            <c:numRef>
              <c:f>Sheet1!$C$2:$C$3</c:f>
              <c:numCache>
                <c:formatCode>General</c:formatCode>
                <c:ptCount val="2"/>
                <c:pt idx="0">
                  <c:v>0.96</c:v>
                </c:pt>
                <c:pt idx="1">
                  <c:v>0.9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 Total</c:v>
                </c:pt>
                <c:pt idx="1">
                  <c:v>Disposables</c:v>
                </c:pt>
              </c:strCache>
            </c:strRef>
          </c:cat>
          <c:val>
            <c:numRef>
              <c:f>Sheet1!$B$2:$B$3</c:f>
              <c:numCache>
                <c:formatCode>General</c:formatCode>
                <c:ptCount val="2"/>
                <c:pt idx="0">
                  <c:v>0.11</c:v>
                </c:pt>
                <c:pt idx="1">
                  <c:v>0.11</c:v>
                </c:pt>
              </c:numCache>
            </c:numRef>
          </c:val>
          <c:extLst>
            <c:ext xmlns:c16="http://schemas.microsoft.com/office/drawing/2014/chart" uri="{C3380CC4-5D6E-409C-BE32-E72D297353CC}">
              <c16:uniqueId val="{00000003-E36D-45CD-A288-8E90CF32B35D}"/>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 Total</c:v>
                </c:pt>
                <c:pt idx="1">
                  <c:v>Disposables</c:v>
                </c:pt>
              </c:strCache>
            </c:strRef>
          </c:cat>
          <c:val>
            <c:numRef>
              <c:f>Sheet1!$C$2:$C$3</c:f>
              <c:numCache>
                <c:formatCode>General</c:formatCode>
                <c:ptCount val="2"/>
                <c:pt idx="0">
                  <c:v>0.89</c:v>
                </c:pt>
                <c:pt idx="1">
                  <c:v>0.89</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 Total</c:v>
                </c:pt>
                <c:pt idx="1">
                  <c:v>Disposables</c:v>
                </c:pt>
              </c:strCache>
            </c:strRef>
          </c:cat>
          <c:val>
            <c:numRef>
              <c:f>Sheet1!$B$2:$B$3</c:f>
              <c:numCache>
                <c:formatCode>General</c:formatCode>
                <c:ptCount val="2"/>
                <c:pt idx="0">
                  <c:v>0.04</c:v>
                </c:pt>
                <c:pt idx="1">
                  <c:v>0.04</c:v>
                </c:pt>
              </c:numCache>
            </c:numRef>
          </c:val>
          <c:extLst>
            <c:ext xmlns:c16="http://schemas.microsoft.com/office/drawing/2014/chart" uri="{C3380CC4-5D6E-409C-BE32-E72D297353CC}">
              <c16:uniqueId val="{00000004-0DAD-4482-B93F-84F75497B5DC}"/>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 Total</c:v>
                </c:pt>
                <c:pt idx="1">
                  <c:v>Disposables</c:v>
                </c:pt>
              </c:strCache>
            </c:strRef>
          </c:cat>
          <c:val>
            <c:numRef>
              <c:f>Sheet1!$C$2:$C$3</c:f>
              <c:numCache>
                <c:formatCode>General</c:formatCode>
                <c:ptCount val="2"/>
                <c:pt idx="0">
                  <c:v>0.96</c:v>
                </c:pt>
                <c:pt idx="1">
                  <c:v>0.9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 Total</c:v>
                </c:pt>
                <c:pt idx="1">
                  <c:v>Disposables</c:v>
                </c:pt>
              </c:strCache>
            </c:strRef>
          </c:cat>
          <c:val>
            <c:numRef>
              <c:f>Sheet1!$B$2:$B$3</c:f>
              <c:numCache>
                <c:formatCode>General</c:formatCode>
                <c:ptCount val="2"/>
                <c:pt idx="0">
                  <c:v>0.06</c:v>
                </c:pt>
                <c:pt idx="1">
                  <c:v>0.06</c:v>
                </c:pt>
              </c:numCache>
            </c:numRef>
          </c:val>
          <c:extLst>
            <c:ext xmlns:c16="http://schemas.microsoft.com/office/drawing/2014/chart" uri="{C3380CC4-5D6E-409C-BE32-E72D297353CC}">
              <c16:uniqueId val="{00000003-E36D-45CD-A288-8E90CF32B35D}"/>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 Total</c:v>
                </c:pt>
                <c:pt idx="1">
                  <c:v>Disposables</c:v>
                </c:pt>
              </c:strCache>
            </c:strRef>
          </c:cat>
          <c:val>
            <c:numRef>
              <c:f>Sheet1!$C$2:$C$3</c:f>
              <c:numCache>
                <c:formatCode>General</c:formatCode>
                <c:ptCount val="2"/>
                <c:pt idx="0">
                  <c:v>0.94</c:v>
                </c:pt>
                <c:pt idx="1">
                  <c:v>0.94</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 Total</c:v>
                </c:pt>
                <c:pt idx="1">
                  <c:v>Disposables</c:v>
                </c:pt>
              </c:strCache>
            </c:strRef>
          </c:cat>
          <c:val>
            <c:numRef>
              <c:f>Sheet1!$B$2:$B$3</c:f>
              <c:numCache>
                <c:formatCode>General</c:formatCode>
                <c:ptCount val="2"/>
                <c:pt idx="0">
                  <c:v>0.04</c:v>
                </c:pt>
                <c:pt idx="1">
                  <c:v>0.04</c:v>
                </c:pt>
              </c:numCache>
            </c:numRef>
          </c:val>
          <c:extLst>
            <c:ext xmlns:c16="http://schemas.microsoft.com/office/drawing/2014/chart" uri="{C3380CC4-5D6E-409C-BE32-E72D297353CC}">
              <c16:uniqueId val="{00000004-0DAD-4482-B93F-84F75497B5DC}"/>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 Total</c:v>
                </c:pt>
                <c:pt idx="1">
                  <c:v>Disposables</c:v>
                </c:pt>
              </c:strCache>
            </c:strRef>
          </c:cat>
          <c:val>
            <c:numRef>
              <c:f>Sheet1!$C$2:$C$3</c:f>
              <c:numCache>
                <c:formatCode>General</c:formatCode>
                <c:ptCount val="2"/>
                <c:pt idx="0">
                  <c:v>0.96</c:v>
                </c:pt>
                <c:pt idx="1">
                  <c:v>0.9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 Total</c:v>
                </c:pt>
                <c:pt idx="1">
                  <c:v>Disposables</c:v>
                </c:pt>
              </c:strCache>
            </c:strRef>
          </c:cat>
          <c:val>
            <c:numRef>
              <c:f>Sheet1!$B$2:$B$3</c:f>
              <c:numCache>
                <c:formatCode>General</c:formatCode>
                <c:ptCount val="2"/>
              </c:numCache>
            </c:numRef>
          </c:val>
          <c:extLst>
            <c:ext xmlns:c16="http://schemas.microsoft.com/office/drawing/2014/chart" uri="{C3380CC4-5D6E-409C-BE32-E72D297353CC}">
              <c16:uniqueId val="{00000003-E36D-45CD-A288-8E90CF32B35D}"/>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 Total</c:v>
                </c:pt>
                <c:pt idx="1">
                  <c:v>Disposables</c:v>
                </c:pt>
              </c:strCache>
            </c:strRef>
          </c:cat>
          <c:val>
            <c:numRef>
              <c:f>Sheet1!$C$2:$C$3</c:f>
              <c:numCache>
                <c:formatCode>General</c:formatCode>
                <c:ptCount val="2"/>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 Total</c:v>
                </c:pt>
                <c:pt idx="1">
                  <c:v>Disposables</c:v>
                </c:pt>
              </c:strCache>
            </c:strRef>
          </c:cat>
          <c:val>
            <c:numRef>
              <c:f>Sheet1!$B$2:$B$3</c:f>
              <c:numCache>
                <c:formatCode>General</c:formatCode>
                <c:ptCount val="2"/>
                <c:pt idx="0">
                  <c:v>0.04</c:v>
                </c:pt>
                <c:pt idx="1">
                  <c:v>0.04</c:v>
                </c:pt>
              </c:numCache>
            </c:numRef>
          </c:val>
          <c:extLst>
            <c:ext xmlns:c16="http://schemas.microsoft.com/office/drawing/2014/chart" uri="{C3380CC4-5D6E-409C-BE32-E72D297353CC}">
              <c16:uniqueId val="{00000004-0DAD-4482-B93F-84F75497B5DC}"/>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 Total</c:v>
                </c:pt>
                <c:pt idx="1">
                  <c:v>Disposables</c:v>
                </c:pt>
              </c:strCache>
            </c:strRef>
          </c:cat>
          <c:val>
            <c:numRef>
              <c:f>Sheet1!$C$2:$C$3</c:f>
              <c:numCache>
                <c:formatCode>General</c:formatCode>
                <c:ptCount val="2"/>
                <c:pt idx="0">
                  <c:v>0.96</c:v>
                </c:pt>
                <c:pt idx="1">
                  <c:v>0.9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 Total</c:v>
                </c:pt>
                <c:pt idx="1">
                  <c:v>Disposables</c:v>
                </c:pt>
              </c:strCache>
            </c:strRef>
          </c:cat>
          <c:val>
            <c:numRef>
              <c:f>Sheet1!$B$2:$B$3</c:f>
              <c:numCache>
                <c:formatCode>General</c:formatCode>
                <c:ptCount val="2"/>
                <c:pt idx="0">
                  <c:v>0.11</c:v>
                </c:pt>
                <c:pt idx="1">
                  <c:v>0.11</c:v>
                </c:pt>
              </c:numCache>
            </c:numRef>
          </c:val>
          <c:extLst>
            <c:ext xmlns:c16="http://schemas.microsoft.com/office/drawing/2014/chart" uri="{C3380CC4-5D6E-409C-BE32-E72D297353CC}">
              <c16:uniqueId val="{00000003-E36D-45CD-A288-8E90CF32B35D}"/>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3</c:f>
              <c:strCache>
                <c:ptCount val="2"/>
                <c:pt idx="0">
                  <c:v>Disposables Total</c:v>
                </c:pt>
                <c:pt idx="1">
                  <c:v>Disposables</c:v>
                </c:pt>
              </c:strCache>
            </c:strRef>
          </c:cat>
          <c:val>
            <c:numRef>
              <c:f>Sheet1!$C$2:$C$3</c:f>
              <c:numCache>
                <c:formatCode>General</c:formatCode>
                <c:ptCount val="2"/>
                <c:pt idx="0">
                  <c:v>0.89</c:v>
                </c:pt>
                <c:pt idx="1">
                  <c:v>0.89</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5</c:f>
              <c:strCache>
                <c:ptCount val="4"/>
                <c:pt idx="0">
                  <c:v>System Total</c:v>
                </c:pt>
                <c:pt idx="1">
                  <c:v>Hybrid</c:v>
                </c:pt>
                <c:pt idx="2">
                  <c:v>Razors</c:v>
                </c:pt>
                <c:pt idx="3">
                  <c:v>Refills</c:v>
                </c:pt>
              </c:strCache>
            </c:strRef>
          </c:cat>
          <c:val>
            <c:numRef>
              <c:f>Sheet1!$B$2:$B$5</c:f>
              <c:numCache>
                <c:formatCode>General</c:formatCode>
                <c:ptCount val="4"/>
                <c:pt idx="0">
                  <c:v>0.08</c:v>
                </c:pt>
                <c:pt idx="1">
                  <c:v>0.22</c:v>
                </c:pt>
                <c:pt idx="2">
                  <c:v>0.09</c:v>
                </c:pt>
                <c:pt idx="3">
                  <c:v>0.04</c:v>
                </c:pt>
              </c:numCache>
            </c:numRef>
          </c:val>
          <c:extLst>
            <c:ext xmlns:c16="http://schemas.microsoft.com/office/drawing/2014/chart" uri="{C3380CC4-5D6E-409C-BE32-E72D297353CC}">
              <c16:uniqueId val="{00000004-0DAD-4482-B93F-84F75497B5DC}"/>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5</c:f>
              <c:strCache>
                <c:ptCount val="4"/>
                <c:pt idx="0">
                  <c:v>System Total</c:v>
                </c:pt>
                <c:pt idx="1">
                  <c:v>Hybrid</c:v>
                </c:pt>
                <c:pt idx="2">
                  <c:v>Razors</c:v>
                </c:pt>
                <c:pt idx="3">
                  <c:v>Refills</c:v>
                </c:pt>
              </c:strCache>
            </c:strRef>
          </c:cat>
          <c:val>
            <c:numRef>
              <c:f>Sheet1!$C$2:$C$5</c:f>
              <c:numCache>
                <c:formatCode>General</c:formatCode>
                <c:ptCount val="4"/>
                <c:pt idx="0">
                  <c:v>0.92</c:v>
                </c:pt>
                <c:pt idx="1">
                  <c:v>0.78</c:v>
                </c:pt>
                <c:pt idx="2">
                  <c:v>0.91</c:v>
                </c:pt>
                <c:pt idx="3">
                  <c:v>0.9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VSOD Evaluation vs YA</c:v>
                </c:pt>
              </c:strCache>
            </c:strRef>
          </c:tx>
          <c:spPr>
            <a:solidFill>
              <a:srgbClr val="DEDDDD"/>
            </a:solidFill>
          </c:spPr>
          <c:invertIfNegative val="0"/>
          <c:dPt>
            <c:idx val="0"/>
            <c:invertIfNegative val="0"/>
            <c:bubble3D val="0"/>
            <c:extLst>
              <c:ext xmlns:c16="http://schemas.microsoft.com/office/drawing/2014/chart" uri="{C3380CC4-5D6E-409C-BE32-E72D297353CC}">
                <c16:uniqueId val="{00000003-3C16-4125-B97A-D0EBA9D0B1CF}"/>
              </c:ext>
            </c:extLst>
          </c:dPt>
          <c:dPt>
            <c:idx val="1"/>
            <c:invertIfNegative val="0"/>
            <c:bubble3D val="0"/>
            <c:extLst>
              <c:ext xmlns:c16="http://schemas.microsoft.com/office/drawing/2014/chart" uri="{C3380CC4-5D6E-409C-BE32-E72D297353CC}">
                <c16:uniqueId val="{00000001-615A-458F-B49B-C3992C8CBC6B}"/>
              </c:ext>
            </c:extLst>
          </c:dPt>
          <c:dPt>
            <c:idx val="2"/>
            <c:invertIfNegative val="0"/>
            <c:bubble3D val="0"/>
            <c:extLst>
              <c:ext xmlns:c16="http://schemas.microsoft.com/office/drawing/2014/chart" uri="{C3380CC4-5D6E-409C-BE32-E72D297353CC}">
                <c16:uniqueId val="{00000004-3C16-4125-B97A-D0EBA9D0B1CF}"/>
              </c:ext>
            </c:extLst>
          </c:dPt>
          <c:dPt>
            <c:idx val="3"/>
            <c:invertIfNegative val="0"/>
            <c:bubble3D val="0"/>
            <c:extLst>
              <c:ext xmlns:c16="http://schemas.microsoft.com/office/drawing/2014/chart" uri="{C3380CC4-5D6E-409C-BE32-E72D297353CC}">
                <c16:uniqueId val="{00000002-615A-458F-B49B-C3992C8CBC6B}"/>
              </c:ext>
            </c:extLst>
          </c:dPt>
          <c:dPt>
            <c:idx val="4"/>
            <c:invertIfNegative val="0"/>
            <c:bubble3D val="0"/>
            <c:extLst>
              <c:ext xmlns:c16="http://schemas.microsoft.com/office/drawing/2014/chart" uri="{C3380CC4-5D6E-409C-BE32-E72D297353CC}">
                <c16:uniqueId val="{00000002-3C16-4125-B97A-D0EBA9D0B1CF}"/>
              </c:ext>
            </c:extLst>
          </c:dPt>
          <c:dPt>
            <c:idx val="5"/>
            <c:invertIfNegative val="0"/>
            <c:bubble3D val="0"/>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c:v>
                </c:pt>
                <c:pt idx="1">
                  <c:v>Schick</c:v>
                </c:pt>
                <c:pt idx="2">
                  <c:v>Bic</c:v>
                </c:pt>
                <c:pt idx="3">
                  <c:v>Dollar Shave Club</c:v>
                </c:pt>
                <c:pt idx="4">
                  <c:v>Comfort 3</c:v>
                </c:pt>
                <c:pt idx="5">
                  <c:v>Equate</c:v>
                </c:pt>
              </c:strCache>
            </c:strRef>
          </c:cat>
          <c:val>
            <c:numRef>
              <c:f>Sheet1!$B$2:$B$7</c:f>
              <c:numCache>
                <c:formatCode>General</c:formatCode>
                <c:ptCount val="6"/>
                <c:pt idx="0">
                  <c:v>1</c:v>
                </c:pt>
                <c:pt idx="1">
                  <c:v>0.42900000000000005</c:v>
                </c:pt>
                <c:pt idx="2">
                  <c:v>8.6999999999999966E-2</c:v>
                </c:pt>
                <c:pt idx="3">
                  <c:v>0.55600000000000005</c:v>
                </c:pt>
                <c:pt idx="4">
                  <c:v>6.5</c:v>
                </c:pt>
                <c:pt idx="5">
                  <c:v>0.66700000000000004</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5</c:f>
              <c:strCache>
                <c:ptCount val="4"/>
                <c:pt idx="0">
                  <c:v>System Total</c:v>
                </c:pt>
                <c:pt idx="1">
                  <c:v>Hybrid</c:v>
                </c:pt>
                <c:pt idx="2">
                  <c:v>Razors</c:v>
                </c:pt>
                <c:pt idx="3">
                  <c:v>Refills</c:v>
                </c:pt>
              </c:strCache>
            </c:strRef>
          </c:cat>
          <c:val>
            <c:numRef>
              <c:f>Sheet1!$B$2:$B$5</c:f>
              <c:numCache>
                <c:formatCode>General</c:formatCode>
                <c:ptCount val="4"/>
                <c:pt idx="0">
                  <c:v>0.3</c:v>
                </c:pt>
                <c:pt idx="1">
                  <c:v>0.21</c:v>
                </c:pt>
                <c:pt idx="2">
                  <c:v>0.33</c:v>
                </c:pt>
                <c:pt idx="3">
                  <c:v>0.28999999999999998</c:v>
                </c:pt>
              </c:numCache>
            </c:numRef>
          </c:val>
          <c:extLst>
            <c:ext xmlns:c16="http://schemas.microsoft.com/office/drawing/2014/chart" uri="{C3380CC4-5D6E-409C-BE32-E72D297353CC}">
              <c16:uniqueId val="{00000003-E36D-45CD-A288-8E90CF32B35D}"/>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5</c:f>
              <c:strCache>
                <c:ptCount val="4"/>
                <c:pt idx="0">
                  <c:v>System Total</c:v>
                </c:pt>
                <c:pt idx="1">
                  <c:v>Hybrid</c:v>
                </c:pt>
                <c:pt idx="2">
                  <c:v>Razors</c:v>
                </c:pt>
                <c:pt idx="3">
                  <c:v>Refills</c:v>
                </c:pt>
              </c:strCache>
            </c:strRef>
          </c:cat>
          <c:val>
            <c:numRef>
              <c:f>Sheet1!$C$2:$C$5</c:f>
              <c:numCache>
                <c:formatCode>General</c:formatCode>
                <c:ptCount val="4"/>
                <c:pt idx="0">
                  <c:v>0.7</c:v>
                </c:pt>
                <c:pt idx="1">
                  <c:v>0.79</c:v>
                </c:pt>
                <c:pt idx="2">
                  <c:v>0.66999999999999993</c:v>
                </c:pt>
                <c:pt idx="3">
                  <c:v>0.71</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5</c:f>
              <c:strCache>
                <c:ptCount val="4"/>
                <c:pt idx="0">
                  <c:v>System Total</c:v>
                </c:pt>
                <c:pt idx="1">
                  <c:v>Hybrid</c:v>
                </c:pt>
                <c:pt idx="2">
                  <c:v>Razors</c:v>
                </c:pt>
                <c:pt idx="3">
                  <c:v>Refills</c:v>
                </c:pt>
              </c:strCache>
            </c:strRef>
          </c:cat>
          <c:val>
            <c:numRef>
              <c:f>Sheet1!$B$2:$B$5</c:f>
              <c:numCache>
                <c:formatCode>General</c:formatCode>
                <c:ptCount val="4"/>
                <c:pt idx="0">
                  <c:v>0.08</c:v>
                </c:pt>
                <c:pt idx="1">
                  <c:v>0.22</c:v>
                </c:pt>
                <c:pt idx="2">
                  <c:v>0.09</c:v>
                </c:pt>
                <c:pt idx="3">
                  <c:v>0.04</c:v>
                </c:pt>
              </c:numCache>
            </c:numRef>
          </c:val>
          <c:extLst>
            <c:ext xmlns:c16="http://schemas.microsoft.com/office/drawing/2014/chart" uri="{C3380CC4-5D6E-409C-BE32-E72D297353CC}">
              <c16:uniqueId val="{00000004-0DAD-4482-B93F-84F75497B5DC}"/>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5</c:f>
              <c:strCache>
                <c:ptCount val="4"/>
                <c:pt idx="0">
                  <c:v>System Total</c:v>
                </c:pt>
                <c:pt idx="1">
                  <c:v>Hybrid</c:v>
                </c:pt>
                <c:pt idx="2">
                  <c:v>Razors</c:v>
                </c:pt>
                <c:pt idx="3">
                  <c:v>Refills</c:v>
                </c:pt>
              </c:strCache>
            </c:strRef>
          </c:cat>
          <c:val>
            <c:numRef>
              <c:f>Sheet1!$C$2:$C$5</c:f>
              <c:numCache>
                <c:formatCode>General</c:formatCode>
                <c:ptCount val="4"/>
                <c:pt idx="0">
                  <c:v>0.92</c:v>
                </c:pt>
                <c:pt idx="1">
                  <c:v>0.78</c:v>
                </c:pt>
                <c:pt idx="2">
                  <c:v>0.91</c:v>
                </c:pt>
                <c:pt idx="3">
                  <c:v>0.9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5</c:f>
              <c:strCache>
                <c:ptCount val="4"/>
                <c:pt idx="0">
                  <c:v>System Total</c:v>
                </c:pt>
                <c:pt idx="1">
                  <c:v>Hybrid</c:v>
                </c:pt>
                <c:pt idx="2">
                  <c:v>Razors</c:v>
                </c:pt>
                <c:pt idx="3">
                  <c:v>Refills</c:v>
                </c:pt>
              </c:strCache>
            </c:strRef>
          </c:cat>
          <c:val>
            <c:numRef>
              <c:f>Sheet1!$B$2:$B$5</c:f>
              <c:numCache>
                <c:formatCode>General</c:formatCode>
                <c:ptCount val="4"/>
                <c:pt idx="0">
                  <c:v>0.05</c:v>
                </c:pt>
                <c:pt idx="2">
                  <c:v>0.02</c:v>
                </c:pt>
                <c:pt idx="3">
                  <c:v>0.06</c:v>
                </c:pt>
              </c:numCache>
            </c:numRef>
          </c:val>
          <c:extLst>
            <c:ext xmlns:c16="http://schemas.microsoft.com/office/drawing/2014/chart" uri="{C3380CC4-5D6E-409C-BE32-E72D297353CC}">
              <c16:uniqueId val="{00000003-E36D-45CD-A288-8E90CF32B35D}"/>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5</c:f>
              <c:strCache>
                <c:ptCount val="4"/>
                <c:pt idx="0">
                  <c:v>System Total</c:v>
                </c:pt>
                <c:pt idx="1">
                  <c:v>Hybrid</c:v>
                </c:pt>
                <c:pt idx="2">
                  <c:v>Razors</c:v>
                </c:pt>
                <c:pt idx="3">
                  <c:v>Refills</c:v>
                </c:pt>
              </c:strCache>
            </c:strRef>
          </c:cat>
          <c:val>
            <c:numRef>
              <c:f>Sheet1!$C$2:$C$5</c:f>
              <c:numCache>
                <c:formatCode>General</c:formatCode>
                <c:ptCount val="4"/>
                <c:pt idx="0">
                  <c:v>0.95</c:v>
                </c:pt>
                <c:pt idx="2">
                  <c:v>0.98</c:v>
                </c:pt>
                <c:pt idx="3">
                  <c:v>0.94</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5</c:f>
              <c:strCache>
                <c:ptCount val="4"/>
                <c:pt idx="0">
                  <c:v>System Total</c:v>
                </c:pt>
                <c:pt idx="1">
                  <c:v>Hybrid</c:v>
                </c:pt>
                <c:pt idx="2">
                  <c:v>Razors</c:v>
                </c:pt>
                <c:pt idx="3">
                  <c:v>Refills</c:v>
                </c:pt>
              </c:strCache>
            </c:strRef>
          </c:cat>
          <c:val>
            <c:numRef>
              <c:f>Sheet1!$B$2:$B$5</c:f>
              <c:numCache>
                <c:formatCode>General</c:formatCode>
                <c:ptCount val="4"/>
                <c:pt idx="0">
                  <c:v>0.08</c:v>
                </c:pt>
                <c:pt idx="1">
                  <c:v>0.22</c:v>
                </c:pt>
                <c:pt idx="2">
                  <c:v>0.09</c:v>
                </c:pt>
                <c:pt idx="3">
                  <c:v>0.04</c:v>
                </c:pt>
              </c:numCache>
            </c:numRef>
          </c:val>
          <c:extLst>
            <c:ext xmlns:c16="http://schemas.microsoft.com/office/drawing/2014/chart" uri="{C3380CC4-5D6E-409C-BE32-E72D297353CC}">
              <c16:uniqueId val="{00000004-0DAD-4482-B93F-84F75497B5DC}"/>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5</c:f>
              <c:strCache>
                <c:ptCount val="4"/>
                <c:pt idx="0">
                  <c:v>System Total</c:v>
                </c:pt>
                <c:pt idx="1">
                  <c:v>Hybrid</c:v>
                </c:pt>
                <c:pt idx="2">
                  <c:v>Razors</c:v>
                </c:pt>
                <c:pt idx="3">
                  <c:v>Refills</c:v>
                </c:pt>
              </c:strCache>
            </c:strRef>
          </c:cat>
          <c:val>
            <c:numRef>
              <c:f>Sheet1!$C$2:$C$5</c:f>
              <c:numCache>
                <c:formatCode>General</c:formatCode>
                <c:ptCount val="4"/>
                <c:pt idx="0">
                  <c:v>0.92</c:v>
                </c:pt>
                <c:pt idx="1">
                  <c:v>0.78</c:v>
                </c:pt>
                <c:pt idx="2">
                  <c:v>0.91</c:v>
                </c:pt>
                <c:pt idx="3">
                  <c:v>0.9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5</c:f>
              <c:strCache>
                <c:ptCount val="4"/>
                <c:pt idx="0">
                  <c:v>System Total</c:v>
                </c:pt>
                <c:pt idx="1">
                  <c:v>Hybrid</c:v>
                </c:pt>
                <c:pt idx="2">
                  <c:v>Razors</c:v>
                </c:pt>
                <c:pt idx="3">
                  <c:v>Refills</c:v>
                </c:pt>
              </c:strCache>
            </c:strRef>
          </c:cat>
          <c:val>
            <c:numRef>
              <c:f>Sheet1!$B$2:$B$5</c:f>
              <c:numCache>
                <c:formatCode>General</c:formatCode>
                <c:ptCount val="4"/>
                <c:pt idx="0">
                  <c:v>0.04</c:v>
                </c:pt>
                <c:pt idx="2">
                  <c:v>0.03</c:v>
                </c:pt>
                <c:pt idx="3">
                  <c:v>0.06</c:v>
                </c:pt>
              </c:numCache>
            </c:numRef>
          </c:val>
          <c:extLst>
            <c:ext xmlns:c16="http://schemas.microsoft.com/office/drawing/2014/chart" uri="{C3380CC4-5D6E-409C-BE32-E72D297353CC}">
              <c16:uniqueId val="{00000003-E36D-45CD-A288-8E90CF32B35D}"/>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5</c:f>
              <c:strCache>
                <c:ptCount val="4"/>
                <c:pt idx="0">
                  <c:v>System Total</c:v>
                </c:pt>
                <c:pt idx="1">
                  <c:v>Hybrid</c:v>
                </c:pt>
                <c:pt idx="2">
                  <c:v>Razors</c:v>
                </c:pt>
                <c:pt idx="3">
                  <c:v>Refills</c:v>
                </c:pt>
              </c:strCache>
            </c:strRef>
          </c:cat>
          <c:val>
            <c:numRef>
              <c:f>Sheet1!$C$2:$C$5</c:f>
              <c:numCache>
                <c:formatCode>General</c:formatCode>
                <c:ptCount val="4"/>
                <c:pt idx="0">
                  <c:v>0.96</c:v>
                </c:pt>
                <c:pt idx="2">
                  <c:v>0.97</c:v>
                </c:pt>
                <c:pt idx="3">
                  <c:v>0.94</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5</c:f>
              <c:strCache>
                <c:ptCount val="4"/>
                <c:pt idx="0">
                  <c:v>System Total</c:v>
                </c:pt>
                <c:pt idx="1">
                  <c:v>Hybrid</c:v>
                </c:pt>
                <c:pt idx="2">
                  <c:v>Razors</c:v>
                </c:pt>
                <c:pt idx="3">
                  <c:v>Refills</c:v>
                </c:pt>
              </c:strCache>
            </c:strRef>
          </c:cat>
          <c:val>
            <c:numRef>
              <c:f>Sheet1!$B$2:$B$5</c:f>
              <c:numCache>
                <c:formatCode>General</c:formatCode>
                <c:ptCount val="4"/>
                <c:pt idx="0">
                  <c:v>0.08</c:v>
                </c:pt>
                <c:pt idx="1">
                  <c:v>0.22</c:v>
                </c:pt>
                <c:pt idx="2">
                  <c:v>0.09</c:v>
                </c:pt>
                <c:pt idx="3">
                  <c:v>0.04</c:v>
                </c:pt>
              </c:numCache>
            </c:numRef>
          </c:val>
          <c:extLst>
            <c:ext xmlns:c16="http://schemas.microsoft.com/office/drawing/2014/chart" uri="{C3380CC4-5D6E-409C-BE32-E72D297353CC}">
              <c16:uniqueId val="{00000004-0DAD-4482-B93F-84F75497B5DC}"/>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5</c:f>
              <c:strCache>
                <c:ptCount val="4"/>
                <c:pt idx="0">
                  <c:v>System Total</c:v>
                </c:pt>
                <c:pt idx="1">
                  <c:v>Hybrid</c:v>
                </c:pt>
                <c:pt idx="2">
                  <c:v>Razors</c:v>
                </c:pt>
                <c:pt idx="3">
                  <c:v>Refills</c:v>
                </c:pt>
              </c:strCache>
            </c:strRef>
          </c:cat>
          <c:val>
            <c:numRef>
              <c:f>Sheet1!$C$2:$C$5</c:f>
              <c:numCache>
                <c:formatCode>General</c:formatCode>
                <c:ptCount val="4"/>
                <c:pt idx="0">
                  <c:v>0.92</c:v>
                </c:pt>
                <c:pt idx="1">
                  <c:v>0.78</c:v>
                </c:pt>
                <c:pt idx="2">
                  <c:v>0.91</c:v>
                </c:pt>
                <c:pt idx="3">
                  <c:v>0.9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5</c:f>
              <c:strCache>
                <c:ptCount val="4"/>
                <c:pt idx="0">
                  <c:v>System Total</c:v>
                </c:pt>
                <c:pt idx="1">
                  <c:v>Hybrid</c:v>
                </c:pt>
                <c:pt idx="2">
                  <c:v>Razors</c:v>
                </c:pt>
                <c:pt idx="3">
                  <c:v>Refills</c:v>
                </c:pt>
              </c:strCache>
            </c:strRef>
          </c:cat>
          <c:val>
            <c:numRef>
              <c:f>Sheet1!$B$2:$B$5</c:f>
              <c:numCache>
                <c:formatCode>General</c:formatCode>
                <c:ptCount val="4"/>
                <c:pt idx="0">
                  <c:v>0.3</c:v>
                </c:pt>
                <c:pt idx="1">
                  <c:v>0.21</c:v>
                </c:pt>
                <c:pt idx="2">
                  <c:v>0.33</c:v>
                </c:pt>
                <c:pt idx="3">
                  <c:v>0.28000000000000003</c:v>
                </c:pt>
              </c:numCache>
            </c:numRef>
          </c:val>
          <c:extLst>
            <c:ext xmlns:c16="http://schemas.microsoft.com/office/drawing/2014/chart" uri="{C3380CC4-5D6E-409C-BE32-E72D297353CC}">
              <c16:uniqueId val="{00000003-E36D-45CD-A288-8E90CF32B35D}"/>
            </c:ext>
          </c:extLst>
        </c:ser>
        <c:ser>
          <c:idx val="0"/>
          <c:order val="1"/>
          <c:tx>
            <c:strRef>
              <c:f>Sheet1!$C$1</c:f>
              <c:strCache>
                <c:ptCount val="1"/>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5</c:f>
              <c:strCache>
                <c:ptCount val="4"/>
                <c:pt idx="0">
                  <c:v>System Total</c:v>
                </c:pt>
                <c:pt idx="1">
                  <c:v>Hybrid</c:v>
                </c:pt>
                <c:pt idx="2">
                  <c:v>Razors</c:v>
                </c:pt>
                <c:pt idx="3">
                  <c:v>Refills</c:v>
                </c:pt>
              </c:strCache>
            </c:strRef>
          </c:cat>
          <c:val>
            <c:numRef>
              <c:f>Sheet1!$C$2:$C$5</c:f>
              <c:numCache>
                <c:formatCode>General</c:formatCode>
                <c:ptCount val="4"/>
                <c:pt idx="0">
                  <c:v>0.7</c:v>
                </c:pt>
                <c:pt idx="1">
                  <c:v>0.79</c:v>
                </c:pt>
                <c:pt idx="2">
                  <c:v>0.66999999999999993</c:v>
                </c:pt>
                <c:pt idx="3">
                  <c:v>0.72</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4-0DAD-4482-B93F-84F75497B5DC}"/>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3-E36D-45CD-A288-8E90CF32B35D}"/>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4-0DAD-4482-B93F-84F75497B5DC}"/>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5BE782C-E550-452E-9FE3-91B8E17AF226}" type="datetimeFigureOut">
              <a:rPr lang="en-AE" smtClean="0"/>
              <a:t>18/08/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FA683E8-0D0A-4C02-8331-429BD4A453B1}" type="slidenum">
              <a:rPr lang="en-AE" smtClean="0"/>
              <a:t>‹#›</a:t>
            </a:fld>
            <a:endParaRPr lang="en-AE"/>
          </a:p>
        </p:txBody>
      </p:sp>
    </p:spTree>
    <p:extLst>
      <p:ext uri="{BB962C8B-B14F-4D97-AF65-F5344CB8AC3E}">
        <p14:creationId xmlns:p14="http://schemas.microsoft.com/office/powerpoint/2010/main" val="157140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201.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204.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206.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213.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214.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2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216.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217.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218.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219.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220.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221.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222.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223.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224.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22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226.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227.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228.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229.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230.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23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68377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68377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68377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683774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01935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01935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0193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01935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01935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01935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8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9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9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9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9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9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9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9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9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9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9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0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0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0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0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854900-C643-AADF-A5A1-5DDD99B427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1D7A29-A3E1-F863-625D-3E5C5DF9FEB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BE1CC5D-DE28-F6F2-8A65-CF5C339739DF}"/>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9774E330-C8BE-C17F-9670-03AC78A3165A}"/>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94</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5421947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854900-C643-AADF-A5A1-5DDD99B427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1D7A29-A3E1-F863-625D-3E5C5DF9FEB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BE1CC5D-DE28-F6F2-8A65-CF5C339739DF}"/>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9774E330-C8BE-C17F-9670-03AC78A3165A}"/>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95</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542194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854900-C643-AADF-A5A1-5DDD99B427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1D7A29-A3E1-F863-625D-3E5C5DF9FEB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BE1CC5D-DE28-F6F2-8A65-CF5C339739DF}"/>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9774E330-C8BE-C17F-9670-03AC78A3165A}"/>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96</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5421947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6BB97D-25DE-D7EC-8FB9-FBF4D21FC1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1C9335-9D72-C5D9-B738-EEFE5273FB5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66C2B80-AF3A-E4BA-F4B9-9CB294560CDB}"/>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1869EE83-6212-B7DB-50AC-BC6D2356A462}"/>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97</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2096646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6BB97D-25DE-D7EC-8FB9-FBF4D21FC1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1C9335-9D72-C5D9-B738-EEFE5273FB5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66C2B80-AF3A-E4BA-F4B9-9CB294560CDB}"/>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1869EE83-6212-B7DB-50AC-BC6D2356A462}"/>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98</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20966462"/>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6BB97D-25DE-D7EC-8FB9-FBF4D21FC1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1C9335-9D72-C5D9-B738-EEFE5273FB5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66C2B80-AF3A-E4BA-F4B9-9CB294560CDB}"/>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1869EE83-6212-B7DB-50AC-BC6D2356A462}"/>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99</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20966462"/>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854900-C643-AADF-A5A1-5DDD99B427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1D7A29-A3E1-F863-625D-3E5C5DF9FEB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BE1CC5D-DE28-F6F2-8A65-CF5C339739DF}"/>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9774E330-C8BE-C17F-9670-03AC78A3165A}"/>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00</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54219470"/>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6BB97D-25DE-D7EC-8FB9-FBF4D21FC1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1C9335-9D72-C5D9-B738-EEFE5273FB5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66C2B80-AF3A-E4BA-F4B9-9CB294560CDB}"/>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1869EE83-6212-B7DB-50AC-BC6D2356A462}"/>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01</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20966462"/>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854900-C643-AADF-A5A1-5DDD99B427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1D7A29-A3E1-F863-625D-3E5C5DF9FEB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BE1CC5D-DE28-F6F2-8A65-CF5C339739DF}"/>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9774E330-C8BE-C17F-9670-03AC78A3165A}"/>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02</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54219470"/>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6BB97D-25DE-D7EC-8FB9-FBF4D21FC1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1C9335-9D72-C5D9-B738-EEFE5273FB5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66C2B80-AF3A-E4BA-F4B9-9CB294560CDB}"/>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1869EE83-6212-B7DB-50AC-BC6D2356A462}"/>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03</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20966462"/>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6BB97D-25DE-D7EC-8FB9-FBF4D21FC1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1C9335-9D72-C5D9-B738-EEFE5273FB5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66C2B80-AF3A-E4BA-F4B9-9CB294560CDB}"/>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1869EE83-6212-B7DB-50AC-BC6D2356A462}"/>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04</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20966462"/>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6BB97D-25DE-D7EC-8FB9-FBF4D21FC1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1C9335-9D72-C5D9-B738-EEFE5273FB5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66C2B80-AF3A-E4BA-F4B9-9CB294560CDB}"/>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1869EE83-6212-B7DB-50AC-BC6D2356A462}"/>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05</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209664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6BB97D-25DE-D7EC-8FB9-FBF4D21FC1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1C9335-9D72-C5D9-B738-EEFE5273FB5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66C2B80-AF3A-E4BA-F4B9-9CB294560CDB}"/>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1869EE83-6212-B7DB-50AC-BC6D2356A462}"/>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06</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20966462"/>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854900-C643-AADF-A5A1-5DDD99B427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1D7A29-A3E1-F863-625D-3E5C5DF9FEB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BE1CC5D-DE28-F6F2-8A65-CF5C339739DF}"/>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9774E330-C8BE-C17F-9670-03AC78A3165A}"/>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07</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54219470"/>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6BB97D-25DE-D7EC-8FB9-FBF4D21FC1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1C9335-9D72-C5D9-B738-EEFE5273FB5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66C2B80-AF3A-E4BA-F4B9-9CB294560CDB}"/>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1869EE83-6212-B7DB-50AC-BC6D2356A462}"/>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08</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20966462"/>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6BB97D-25DE-D7EC-8FB9-FBF4D21FC1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1C9335-9D72-C5D9-B738-EEFE5273FB5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66C2B80-AF3A-E4BA-F4B9-9CB294560CDB}"/>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1869EE83-6212-B7DB-50AC-BC6D2356A462}"/>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09</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20966462"/>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6837745"/>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6837745"/>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6837745"/>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68377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019359"/>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019359"/>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019359"/>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019359"/>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019359"/>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01935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dirty="0"/>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6367651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28014230"/>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660604921"/>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1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5468608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1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2158369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0193647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760177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155241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49503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8/18/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226640868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8/0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4620400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1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48166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8/0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52443848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8/0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7030468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8/0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9322980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7771756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1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37479062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8/18/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8940676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32921590"/>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71045061"/>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18859716"/>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8/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74903640"/>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8/18/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054970409"/>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04929339"/>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dirty="0"/>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8/18/2025</a:t>
            </a:fld>
            <a:endParaRPr lang="en-US"/>
          </a:p>
        </p:txBody>
      </p:sp>
    </p:spTree>
    <p:extLst>
      <p:ext uri="{BB962C8B-B14F-4D97-AF65-F5344CB8AC3E}">
        <p14:creationId xmlns:p14="http://schemas.microsoft.com/office/powerpoint/2010/main" val="1848249703"/>
      </p:ext>
    </p:extLst>
  </p:cSld>
  <p:clrMap bg1="lt1" tx1="dk1" bg2="lt2" tx2="dk2" accent1="accent1" accent2="accent2" accent3="accent3" accent4="accent4" accent5="accent5" accent6="accent6" hlink="hlink" folHlink="folHlink"/>
  <p:sldLayoutIdLst>
    <p:sldLayoutId id="2147483895" r:id="rId1"/>
    <p:sldLayoutId id="2147483899" r:id="rId2"/>
    <p:sldLayoutId id="2147483900" r:id="rId3"/>
    <p:sldLayoutId id="2147483901" r:id="rId4"/>
    <p:sldLayoutId id="2147483902" r:id="rId5"/>
    <p:sldLayoutId id="2147483903" r:id="rId6"/>
    <p:sldLayoutId id="2147483904" r:id="rId7"/>
    <p:sldLayoutId id="2147483905" r:id="rId8"/>
    <p:sldLayoutId id="2147483906" r:id="rId9"/>
    <p:sldLayoutId id="2147483907" r:id="rId10"/>
    <p:sldLayoutId id="2147483908" r:id="rId11"/>
    <p:sldLayoutId id="2147483909" r:id="rId12"/>
    <p:sldLayoutId id="2147483910" r:id="rId13"/>
    <p:sldLayoutId id="2147483911" r:id="rId14"/>
    <p:sldLayoutId id="2147483912" r:id="rId15"/>
    <p:sldLayoutId id="2147483913" r:id="rId16"/>
    <p:sldLayoutId id="2147483914" r:id="rId17"/>
    <p:sldLayoutId id="2147483915" r:id="rId18"/>
    <p:sldLayoutId id="2147483916" r:id="rId19"/>
    <p:sldLayoutId id="2147483917" r:id="rId20"/>
    <p:sldLayoutId id="2147483918" r:id="rId21"/>
    <p:sldLayoutId id="2147483919" r:id="rId22"/>
    <p:sldLayoutId id="2147483954" r:id="rId23"/>
    <p:sldLayoutId id="214748395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chart" Target="../charts/chart2.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chart" Target="../charts/chart20.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chart" Target="../charts/chart1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0.xml.rels><?xml version="1.0" encoding="UTF-8" standalone="yes"?>
<Relationships xmlns="http://schemas.openxmlformats.org/package/2006/relationships"><Relationship Id="rId3" Type="http://schemas.openxmlformats.org/officeDocument/2006/relationships/notesSlide" Target="../notesSlides/notesSlide54.xml"/><Relationship Id="rId7" Type="http://schemas.openxmlformats.org/officeDocument/2006/relationships/chart" Target="../charts/chart94.xml"/><Relationship Id="rId2" Type="http://schemas.openxmlformats.org/officeDocument/2006/relationships/slideLayout" Target="../slideLayouts/slideLayout7.xml"/><Relationship Id="rId1" Type="http://schemas.openxmlformats.org/officeDocument/2006/relationships/tags" Target="../tags/tag127.xml"/><Relationship Id="rId6" Type="http://schemas.openxmlformats.org/officeDocument/2006/relationships/chart" Target="../charts/chart9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1.xml.rels><?xml version="1.0" encoding="UTF-8" standalone="yes"?>
<Relationships xmlns="http://schemas.openxmlformats.org/package/2006/relationships"><Relationship Id="rId3" Type="http://schemas.openxmlformats.org/officeDocument/2006/relationships/notesSlide" Target="../notesSlides/notesSlide55.xml"/><Relationship Id="rId7" Type="http://schemas.openxmlformats.org/officeDocument/2006/relationships/chart" Target="../charts/chart96.xml"/><Relationship Id="rId2" Type="http://schemas.openxmlformats.org/officeDocument/2006/relationships/slideLayout" Target="../slideLayouts/slideLayout7.xml"/><Relationship Id="rId1" Type="http://schemas.openxmlformats.org/officeDocument/2006/relationships/tags" Target="../tags/tag128.xml"/><Relationship Id="rId6" Type="http://schemas.openxmlformats.org/officeDocument/2006/relationships/chart" Target="../charts/chart9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2.xml.rels><?xml version="1.0" encoding="UTF-8" standalone="yes"?>
<Relationships xmlns="http://schemas.openxmlformats.org/package/2006/relationships"><Relationship Id="rId3" Type="http://schemas.openxmlformats.org/officeDocument/2006/relationships/notesSlide" Target="../notesSlides/notesSlide56.xml"/><Relationship Id="rId7" Type="http://schemas.openxmlformats.org/officeDocument/2006/relationships/chart" Target="../charts/chart98.xml"/><Relationship Id="rId2" Type="http://schemas.openxmlformats.org/officeDocument/2006/relationships/slideLayout" Target="../slideLayouts/slideLayout7.xml"/><Relationship Id="rId1" Type="http://schemas.openxmlformats.org/officeDocument/2006/relationships/tags" Target="../tags/tag129.xml"/><Relationship Id="rId6" Type="http://schemas.openxmlformats.org/officeDocument/2006/relationships/chart" Target="../charts/chart9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3.xml.rels><?xml version="1.0" encoding="UTF-8" standalone="yes"?>
<Relationships xmlns="http://schemas.openxmlformats.org/package/2006/relationships"><Relationship Id="rId3" Type="http://schemas.openxmlformats.org/officeDocument/2006/relationships/notesSlide" Target="../notesSlides/notesSlide57.xml"/><Relationship Id="rId7" Type="http://schemas.openxmlformats.org/officeDocument/2006/relationships/chart" Target="../charts/chart100.xml"/><Relationship Id="rId2" Type="http://schemas.openxmlformats.org/officeDocument/2006/relationships/slideLayout" Target="../slideLayouts/slideLayout7.xml"/><Relationship Id="rId1" Type="http://schemas.openxmlformats.org/officeDocument/2006/relationships/tags" Target="../tags/tag130.xml"/><Relationship Id="rId6" Type="http://schemas.openxmlformats.org/officeDocument/2006/relationships/chart" Target="../charts/chart9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1.xml"/><Relationship Id="rId5" Type="http://schemas.openxmlformats.org/officeDocument/2006/relationships/chart" Target="../charts/chart101.xml"/><Relationship Id="rId4" Type="http://schemas.openxmlformats.org/officeDocument/2006/relationships/image" Target="../media/image28.emf"/></Relationships>
</file>

<file path=ppt/slides/_rels/slide1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2.xml"/><Relationship Id="rId5" Type="http://schemas.openxmlformats.org/officeDocument/2006/relationships/chart" Target="../charts/chart102.xml"/><Relationship Id="rId4" Type="http://schemas.openxmlformats.org/officeDocument/2006/relationships/image" Target="../media/image28.emf"/></Relationships>
</file>

<file path=ppt/slides/_rels/slide1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3.xml"/><Relationship Id="rId5" Type="http://schemas.openxmlformats.org/officeDocument/2006/relationships/chart" Target="../charts/chart103.xml"/><Relationship Id="rId4" Type="http://schemas.openxmlformats.org/officeDocument/2006/relationships/image" Target="../media/image28.emf"/></Relationships>
</file>

<file path=ppt/slides/_rels/slide1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4.xml"/><Relationship Id="rId5" Type="http://schemas.openxmlformats.org/officeDocument/2006/relationships/chart" Target="../charts/chart104.xml"/><Relationship Id="rId4" Type="http://schemas.openxmlformats.org/officeDocument/2006/relationships/image" Target="../media/image28.emf"/></Relationships>
</file>

<file path=ppt/slides/_rels/slide1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5.xml"/><Relationship Id="rId5" Type="http://schemas.openxmlformats.org/officeDocument/2006/relationships/chart" Target="../charts/chart105.xml"/><Relationship Id="rId4" Type="http://schemas.openxmlformats.org/officeDocument/2006/relationships/image" Target="../media/image28.emf"/></Relationships>
</file>

<file path=ppt/slides/_rels/slide1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6.xml"/><Relationship Id="rId5" Type="http://schemas.openxmlformats.org/officeDocument/2006/relationships/chart" Target="../charts/chart106.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chart" Target="../charts/chart22.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2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7.xml"/><Relationship Id="rId5" Type="http://schemas.openxmlformats.org/officeDocument/2006/relationships/chart" Target="../charts/chart107.xml"/><Relationship Id="rId4" Type="http://schemas.openxmlformats.org/officeDocument/2006/relationships/image" Target="../media/image28.emf"/></Relationships>
</file>

<file path=ppt/slides/_rels/slide1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8.xml"/><Relationship Id="rId5" Type="http://schemas.openxmlformats.org/officeDocument/2006/relationships/chart" Target="../charts/chart108.xml"/><Relationship Id="rId4" Type="http://schemas.openxmlformats.org/officeDocument/2006/relationships/image" Target="../media/image28.emf"/></Relationships>
</file>

<file path=ppt/slides/_rels/slide1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9.xml"/><Relationship Id="rId5" Type="http://schemas.openxmlformats.org/officeDocument/2006/relationships/chart" Target="../charts/chart109.xml"/><Relationship Id="rId4" Type="http://schemas.openxmlformats.org/officeDocument/2006/relationships/image" Target="../media/image28.emf"/></Relationships>
</file>

<file path=ppt/slides/_rels/slide1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0.xml"/><Relationship Id="rId5" Type="http://schemas.openxmlformats.org/officeDocument/2006/relationships/chart" Target="../charts/chart110.xml"/><Relationship Id="rId4" Type="http://schemas.openxmlformats.org/officeDocument/2006/relationships/image" Target="../media/image28.emf"/></Relationships>
</file>

<file path=ppt/slides/_rels/slide1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1.xml"/><Relationship Id="rId5" Type="http://schemas.openxmlformats.org/officeDocument/2006/relationships/chart" Target="../charts/chart111.xml"/><Relationship Id="rId4" Type="http://schemas.openxmlformats.org/officeDocument/2006/relationships/image" Target="../media/image28.emf"/></Relationships>
</file>

<file path=ppt/slides/_rels/slide1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2.xml"/><Relationship Id="rId5" Type="http://schemas.openxmlformats.org/officeDocument/2006/relationships/chart" Target="../charts/chart112.xml"/><Relationship Id="rId4" Type="http://schemas.openxmlformats.org/officeDocument/2006/relationships/image" Target="../media/image28.emf"/></Relationships>
</file>

<file path=ppt/slides/_rels/slide11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43.xml"/><Relationship Id="rId5" Type="http://schemas.openxmlformats.org/officeDocument/2006/relationships/chart" Target="../charts/chart113.xml"/><Relationship Id="rId4" Type="http://schemas.openxmlformats.org/officeDocument/2006/relationships/image" Target="../media/image28.emf"/></Relationships>
</file>

<file path=ppt/slides/_rels/slide11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44.xml"/><Relationship Id="rId5" Type="http://schemas.openxmlformats.org/officeDocument/2006/relationships/chart" Target="../charts/chart114.xml"/><Relationship Id="rId4" Type="http://schemas.openxmlformats.org/officeDocument/2006/relationships/image" Target="../media/image28.emf"/></Relationships>
</file>

<file path=ppt/slides/_rels/slide11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45.xml"/><Relationship Id="rId5" Type="http://schemas.openxmlformats.org/officeDocument/2006/relationships/chart" Target="../charts/chart115.xml"/><Relationship Id="rId4" Type="http://schemas.openxmlformats.org/officeDocument/2006/relationships/image" Target="../media/image28.emf"/></Relationships>
</file>

<file path=ppt/slides/_rels/slide11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46.xml"/><Relationship Id="rId5" Type="http://schemas.openxmlformats.org/officeDocument/2006/relationships/chart" Target="../charts/chart116.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chart" Target="../charts/chart24.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2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47.xml"/><Relationship Id="rId5" Type="http://schemas.openxmlformats.org/officeDocument/2006/relationships/chart" Target="../charts/chart117.xml"/><Relationship Id="rId4" Type="http://schemas.openxmlformats.org/officeDocument/2006/relationships/image" Target="../media/image28.emf"/></Relationships>
</file>

<file path=ppt/slides/_rels/slide12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48.xml"/><Relationship Id="rId5" Type="http://schemas.openxmlformats.org/officeDocument/2006/relationships/chart" Target="../charts/chart118.xml"/><Relationship Id="rId4" Type="http://schemas.openxmlformats.org/officeDocument/2006/relationships/image" Target="../media/image28.emf"/></Relationships>
</file>

<file path=ppt/slides/_rels/slide12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49.xml"/><Relationship Id="rId5" Type="http://schemas.openxmlformats.org/officeDocument/2006/relationships/chart" Target="../charts/chart119.xml"/><Relationship Id="rId4" Type="http://schemas.openxmlformats.org/officeDocument/2006/relationships/image" Target="../media/image28.emf"/></Relationships>
</file>

<file path=ppt/slides/_rels/slide12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50.xml"/><Relationship Id="rId5" Type="http://schemas.openxmlformats.org/officeDocument/2006/relationships/chart" Target="../charts/chart120.xml"/><Relationship Id="rId4" Type="http://schemas.openxmlformats.org/officeDocument/2006/relationships/image" Target="../media/image28.emf"/></Relationships>
</file>

<file path=ppt/slides/_rels/slide12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51.xml"/><Relationship Id="rId5" Type="http://schemas.openxmlformats.org/officeDocument/2006/relationships/chart" Target="../charts/chart121.xml"/><Relationship Id="rId4" Type="http://schemas.openxmlformats.org/officeDocument/2006/relationships/image" Target="../media/image28.emf"/></Relationships>
</file>

<file path=ppt/slides/_rels/slide12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52.xml"/><Relationship Id="rId5" Type="http://schemas.openxmlformats.org/officeDocument/2006/relationships/chart" Target="../charts/chart122.xml"/><Relationship Id="rId4" Type="http://schemas.openxmlformats.org/officeDocument/2006/relationships/image" Target="../media/image28.emf"/></Relationships>
</file>

<file path=ppt/slides/_rels/slide12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53.xml"/><Relationship Id="rId5" Type="http://schemas.openxmlformats.org/officeDocument/2006/relationships/chart" Target="../charts/chart123.xml"/><Relationship Id="rId4" Type="http://schemas.openxmlformats.org/officeDocument/2006/relationships/image" Target="../media/image28.emf"/></Relationships>
</file>

<file path=ppt/slides/_rels/slide1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54.xml"/><Relationship Id="rId5" Type="http://schemas.openxmlformats.org/officeDocument/2006/relationships/chart" Target="../charts/chart124.xml"/><Relationship Id="rId4" Type="http://schemas.openxmlformats.org/officeDocument/2006/relationships/image" Target="../media/image28.emf"/></Relationships>
</file>

<file path=ppt/slides/_rels/slide12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55.xml"/><Relationship Id="rId5" Type="http://schemas.openxmlformats.org/officeDocument/2006/relationships/chart" Target="../charts/chart125.xml"/><Relationship Id="rId4" Type="http://schemas.openxmlformats.org/officeDocument/2006/relationships/image" Target="../media/image28.emf"/></Relationships>
</file>

<file path=ppt/slides/_rels/slide12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56.xml"/><Relationship Id="rId5" Type="http://schemas.openxmlformats.org/officeDocument/2006/relationships/chart" Target="../charts/chart126.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image" Target="../media/image29.emf"/><Relationship Id="rId4" Type="http://schemas.openxmlformats.org/officeDocument/2006/relationships/oleObject" Target="../embeddings/oleObject27.bin"/></Relationships>
</file>

<file path=ppt/slides/_rels/slide13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57.xml"/><Relationship Id="rId5" Type="http://schemas.openxmlformats.org/officeDocument/2006/relationships/chart" Target="../charts/chart127.xml"/><Relationship Id="rId4" Type="http://schemas.openxmlformats.org/officeDocument/2006/relationships/image" Target="../media/image28.emf"/></Relationships>
</file>

<file path=ppt/slides/_rels/slide13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58.xml"/><Relationship Id="rId5" Type="http://schemas.openxmlformats.org/officeDocument/2006/relationships/chart" Target="../charts/chart128.xml"/><Relationship Id="rId4" Type="http://schemas.openxmlformats.org/officeDocument/2006/relationships/image" Target="../media/image28.emf"/></Relationships>
</file>

<file path=ppt/slides/_rels/slide13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59.xml"/><Relationship Id="rId5" Type="http://schemas.openxmlformats.org/officeDocument/2006/relationships/chart" Target="../charts/chart129.xml"/><Relationship Id="rId4" Type="http://schemas.openxmlformats.org/officeDocument/2006/relationships/image" Target="../media/image28.emf"/></Relationships>
</file>

<file path=ppt/slides/_rels/slide13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60.xml"/><Relationship Id="rId5" Type="http://schemas.openxmlformats.org/officeDocument/2006/relationships/chart" Target="../charts/chart130.xml"/><Relationship Id="rId4" Type="http://schemas.openxmlformats.org/officeDocument/2006/relationships/image" Target="../media/image28.emf"/></Relationships>
</file>

<file path=ppt/slides/_rels/slide13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61.xml"/><Relationship Id="rId5" Type="http://schemas.openxmlformats.org/officeDocument/2006/relationships/chart" Target="../charts/chart131.xml"/><Relationship Id="rId4" Type="http://schemas.openxmlformats.org/officeDocument/2006/relationships/image" Target="../media/image28.emf"/></Relationships>
</file>

<file path=ppt/slides/_rels/slide13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62.xml"/><Relationship Id="rId5" Type="http://schemas.openxmlformats.org/officeDocument/2006/relationships/chart" Target="../charts/chart132.xml"/><Relationship Id="rId4" Type="http://schemas.openxmlformats.org/officeDocument/2006/relationships/image" Target="../media/image28.emf"/></Relationships>
</file>

<file path=ppt/slides/_rels/slide13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63.xml"/><Relationship Id="rId5" Type="http://schemas.openxmlformats.org/officeDocument/2006/relationships/chart" Target="../charts/chart133.xml"/><Relationship Id="rId4" Type="http://schemas.openxmlformats.org/officeDocument/2006/relationships/image" Target="../media/image28.emf"/></Relationships>
</file>

<file path=ppt/slides/_rels/slide13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64.xml"/><Relationship Id="rId5" Type="http://schemas.openxmlformats.org/officeDocument/2006/relationships/chart" Target="../charts/chart134.xml"/><Relationship Id="rId4" Type="http://schemas.openxmlformats.org/officeDocument/2006/relationships/image" Target="../media/image28.emf"/></Relationships>
</file>

<file path=ppt/slides/_rels/slide13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65.xml"/><Relationship Id="rId5" Type="http://schemas.openxmlformats.org/officeDocument/2006/relationships/chart" Target="../charts/chart135.xml"/><Relationship Id="rId4" Type="http://schemas.openxmlformats.org/officeDocument/2006/relationships/image" Target="../media/image28.emf"/></Relationships>
</file>

<file path=ppt/slides/_rels/slide13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66.xml"/><Relationship Id="rId5" Type="http://schemas.openxmlformats.org/officeDocument/2006/relationships/chart" Target="../charts/chart136.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image" Target="../media/image29.emf"/><Relationship Id="rId4" Type="http://schemas.openxmlformats.org/officeDocument/2006/relationships/oleObject" Target="../embeddings/oleObject27.bin"/></Relationships>
</file>

<file path=ppt/slides/_rels/slide14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67.xml"/><Relationship Id="rId5" Type="http://schemas.openxmlformats.org/officeDocument/2006/relationships/chart" Target="../charts/chart137.xml"/><Relationship Id="rId4" Type="http://schemas.openxmlformats.org/officeDocument/2006/relationships/image" Target="../media/image28.emf"/></Relationships>
</file>

<file path=ppt/slides/_rels/slide14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68.xml"/><Relationship Id="rId5" Type="http://schemas.openxmlformats.org/officeDocument/2006/relationships/chart" Target="../charts/chart138.xml"/><Relationship Id="rId4" Type="http://schemas.openxmlformats.org/officeDocument/2006/relationships/image" Target="../media/image28.emf"/></Relationships>
</file>

<file path=ppt/slides/_rels/slide14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69.xml"/><Relationship Id="rId5" Type="http://schemas.openxmlformats.org/officeDocument/2006/relationships/chart" Target="../charts/chart139.xml"/><Relationship Id="rId4" Type="http://schemas.openxmlformats.org/officeDocument/2006/relationships/image" Target="../media/image28.emf"/></Relationships>
</file>

<file path=ppt/slides/_rels/slide14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70.xml"/><Relationship Id="rId5" Type="http://schemas.openxmlformats.org/officeDocument/2006/relationships/chart" Target="../charts/chart140.xml"/><Relationship Id="rId4" Type="http://schemas.openxmlformats.org/officeDocument/2006/relationships/image" Target="../media/image28.emf"/></Relationships>
</file>

<file path=ppt/slides/_rels/slide14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71.xml"/><Relationship Id="rId5" Type="http://schemas.openxmlformats.org/officeDocument/2006/relationships/chart" Target="../charts/chart141.xml"/><Relationship Id="rId4" Type="http://schemas.openxmlformats.org/officeDocument/2006/relationships/image" Target="../media/image28.emf"/></Relationships>
</file>

<file path=ppt/slides/_rels/slide14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72.xml"/><Relationship Id="rId5" Type="http://schemas.openxmlformats.org/officeDocument/2006/relationships/chart" Target="../charts/chart142.xml"/><Relationship Id="rId4" Type="http://schemas.openxmlformats.org/officeDocument/2006/relationships/image" Target="../media/image28.emf"/></Relationships>
</file>

<file path=ppt/slides/_rels/slide14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73.xml"/><Relationship Id="rId5" Type="http://schemas.openxmlformats.org/officeDocument/2006/relationships/chart" Target="../charts/chart143.xml"/><Relationship Id="rId4" Type="http://schemas.openxmlformats.org/officeDocument/2006/relationships/image" Target="../media/image28.emf"/></Relationships>
</file>

<file path=ppt/slides/_rels/slide14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74.xml"/><Relationship Id="rId5" Type="http://schemas.openxmlformats.org/officeDocument/2006/relationships/chart" Target="../charts/chart144.xml"/><Relationship Id="rId4" Type="http://schemas.openxmlformats.org/officeDocument/2006/relationships/image" Target="../media/image28.emf"/></Relationships>
</file>

<file path=ppt/slides/_rels/slide14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75.xml"/><Relationship Id="rId5" Type="http://schemas.openxmlformats.org/officeDocument/2006/relationships/chart" Target="../charts/chart145.xml"/><Relationship Id="rId4" Type="http://schemas.openxmlformats.org/officeDocument/2006/relationships/image" Target="../media/image28.emf"/></Relationships>
</file>

<file path=ppt/slides/_rels/slide14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76.xml"/><Relationship Id="rId6" Type="http://schemas.openxmlformats.org/officeDocument/2006/relationships/chart" Target="../charts/chart147.xml"/><Relationship Id="rId5" Type="http://schemas.openxmlformats.org/officeDocument/2006/relationships/chart" Target="../charts/chart146.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image" Target="../media/image29.emf"/><Relationship Id="rId4" Type="http://schemas.openxmlformats.org/officeDocument/2006/relationships/oleObject" Target="../embeddings/oleObject27.bin"/></Relationships>
</file>

<file path=ppt/slides/_rels/slide15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77.xml"/><Relationship Id="rId6" Type="http://schemas.openxmlformats.org/officeDocument/2006/relationships/chart" Target="../charts/chart149.xml"/><Relationship Id="rId5" Type="http://schemas.openxmlformats.org/officeDocument/2006/relationships/chart" Target="../charts/chart148.xml"/><Relationship Id="rId4" Type="http://schemas.openxmlformats.org/officeDocument/2006/relationships/image" Target="../media/image28.emf"/></Relationships>
</file>

<file path=ppt/slides/_rels/slide15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78.xml"/><Relationship Id="rId5" Type="http://schemas.openxmlformats.org/officeDocument/2006/relationships/chart" Target="../charts/chart150.xml"/><Relationship Id="rId4" Type="http://schemas.openxmlformats.org/officeDocument/2006/relationships/image" Target="../media/image28.emf"/></Relationships>
</file>

<file path=ppt/slides/_rels/slide15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79.xml"/><Relationship Id="rId6" Type="http://schemas.openxmlformats.org/officeDocument/2006/relationships/chart" Target="../charts/chart152.xml"/><Relationship Id="rId5" Type="http://schemas.openxmlformats.org/officeDocument/2006/relationships/chart" Target="../charts/chart151.xml"/><Relationship Id="rId4" Type="http://schemas.openxmlformats.org/officeDocument/2006/relationships/image" Target="../media/image28.emf"/></Relationships>
</file>

<file path=ppt/slides/_rels/slide15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80.xml"/><Relationship Id="rId6" Type="http://schemas.openxmlformats.org/officeDocument/2006/relationships/chart" Target="../charts/chart154.xml"/><Relationship Id="rId5" Type="http://schemas.openxmlformats.org/officeDocument/2006/relationships/chart" Target="../charts/chart153.xml"/><Relationship Id="rId4" Type="http://schemas.openxmlformats.org/officeDocument/2006/relationships/image" Target="../media/image28.emf"/></Relationships>
</file>

<file path=ppt/slides/_rels/slide15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81.xml"/><Relationship Id="rId6" Type="http://schemas.openxmlformats.org/officeDocument/2006/relationships/chart" Target="../charts/chart156.xml"/><Relationship Id="rId5" Type="http://schemas.openxmlformats.org/officeDocument/2006/relationships/chart" Target="../charts/chart155.xml"/><Relationship Id="rId4" Type="http://schemas.openxmlformats.org/officeDocument/2006/relationships/image" Target="../media/image28.emf"/></Relationships>
</file>

<file path=ppt/slides/_rels/slide15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82.xml"/><Relationship Id="rId6" Type="http://schemas.openxmlformats.org/officeDocument/2006/relationships/chart" Target="../charts/chart158.xml"/><Relationship Id="rId5" Type="http://schemas.openxmlformats.org/officeDocument/2006/relationships/chart" Target="../charts/chart157.xml"/><Relationship Id="rId4" Type="http://schemas.openxmlformats.org/officeDocument/2006/relationships/image" Target="../media/image28.emf"/></Relationships>
</file>

<file path=ppt/slides/_rels/slide15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83.xml"/><Relationship Id="rId5" Type="http://schemas.openxmlformats.org/officeDocument/2006/relationships/chart" Target="../charts/chart159.xml"/><Relationship Id="rId4" Type="http://schemas.openxmlformats.org/officeDocument/2006/relationships/image" Target="../media/image28.emf"/></Relationships>
</file>

<file path=ppt/slides/_rels/slide15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84.xml"/><Relationship Id="rId5" Type="http://schemas.openxmlformats.org/officeDocument/2006/relationships/chart" Target="../charts/chart160.xml"/><Relationship Id="rId4" Type="http://schemas.openxmlformats.org/officeDocument/2006/relationships/image" Target="../media/image28.emf"/></Relationships>
</file>

<file path=ppt/slides/_rels/slide15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85.xml"/><Relationship Id="rId6" Type="http://schemas.openxmlformats.org/officeDocument/2006/relationships/chart" Target="../charts/chart162.xml"/><Relationship Id="rId5" Type="http://schemas.openxmlformats.org/officeDocument/2006/relationships/chart" Target="../charts/chart161.xml"/><Relationship Id="rId4" Type="http://schemas.openxmlformats.org/officeDocument/2006/relationships/image" Target="../media/image28.emf"/></Relationships>
</file>

<file path=ppt/slides/_rels/slide15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86.xml"/><Relationship Id="rId5" Type="http://schemas.openxmlformats.org/officeDocument/2006/relationships/chart" Target="../charts/chart163.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image" Target="../media/image29.emf"/><Relationship Id="rId4" Type="http://schemas.openxmlformats.org/officeDocument/2006/relationships/oleObject" Target="../embeddings/oleObject27.bin"/></Relationships>
</file>

<file path=ppt/slides/_rels/slide16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87.xml"/><Relationship Id="rId6" Type="http://schemas.openxmlformats.org/officeDocument/2006/relationships/chart" Target="../charts/chart165.xml"/><Relationship Id="rId5" Type="http://schemas.openxmlformats.org/officeDocument/2006/relationships/chart" Target="../charts/chart164.xml"/><Relationship Id="rId4" Type="http://schemas.openxmlformats.org/officeDocument/2006/relationships/image" Target="../media/image28.emf"/></Relationships>
</file>

<file path=ppt/slides/_rels/slide16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88.xml"/><Relationship Id="rId5" Type="http://schemas.openxmlformats.org/officeDocument/2006/relationships/chart" Target="../charts/chart166.xml"/><Relationship Id="rId4" Type="http://schemas.openxmlformats.org/officeDocument/2006/relationships/image" Target="../media/image28.emf"/></Relationships>
</file>

<file path=ppt/slides/_rels/slide16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89.xml"/><Relationship Id="rId6" Type="http://schemas.openxmlformats.org/officeDocument/2006/relationships/chart" Target="../charts/chart168.xml"/><Relationship Id="rId5" Type="http://schemas.openxmlformats.org/officeDocument/2006/relationships/chart" Target="../charts/chart167.xml"/><Relationship Id="rId4" Type="http://schemas.openxmlformats.org/officeDocument/2006/relationships/image" Target="../media/image28.emf"/></Relationships>
</file>

<file path=ppt/slides/_rels/slide16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90.xml"/><Relationship Id="rId6" Type="http://schemas.openxmlformats.org/officeDocument/2006/relationships/chart" Target="../charts/chart170.xml"/><Relationship Id="rId5" Type="http://schemas.openxmlformats.org/officeDocument/2006/relationships/chart" Target="../charts/chart169.xml"/><Relationship Id="rId4" Type="http://schemas.openxmlformats.org/officeDocument/2006/relationships/image" Target="../media/image28.emf"/></Relationships>
</file>

<file path=ppt/slides/_rels/slide16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91.xml"/><Relationship Id="rId5" Type="http://schemas.openxmlformats.org/officeDocument/2006/relationships/chart" Target="../charts/chart171.xml"/><Relationship Id="rId4" Type="http://schemas.openxmlformats.org/officeDocument/2006/relationships/image" Target="../media/image28.emf"/></Relationships>
</file>

<file path=ppt/slides/_rels/slide16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92.xml"/><Relationship Id="rId5" Type="http://schemas.openxmlformats.org/officeDocument/2006/relationships/chart" Target="../charts/chart172.xml"/><Relationship Id="rId4" Type="http://schemas.openxmlformats.org/officeDocument/2006/relationships/image" Target="../media/image28.emf"/></Relationships>
</file>

<file path=ppt/slides/_rels/slide16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93.xml"/><Relationship Id="rId5" Type="http://schemas.openxmlformats.org/officeDocument/2006/relationships/chart" Target="../charts/chart173.xml"/><Relationship Id="rId4" Type="http://schemas.openxmlformats.org/officeDocument/2006/relationships/image" Target="../media/image28.emf"/></Relationships>
</file>

<file path=ppt/slides/_rels/slide16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94.xml"/><Relationship Id="rId5" Type="http://schemas.openxmlformats.org/officeDocument/2006/relationships/chart" Target="../charts/chart174.xml"/><Relationship Id="rId4" Type="http://schemas.openxmlformats.org/officeDocument/2006/relationships/image" Target="../media/image28.emf"/></Relationships>
</file>

<file path=ppt/slides/_rels/slide16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95.xml"/><Relationship Id="rId6" Type="http://schemas.openxmlformats.org/officeDocument/2006/relationships/chart" Target="../charts/chart176.xml"/><Relationship Id="rId5" Type="http://schemas.openxmlformats.org/officeDocument/2006/relationships/chart" Target="../charts/chart175.xml"/><Relationship Id="rId4" Type="http://schemas.openxmlformats.org/officeDocument/2006/relationships/image" Target="../media/image28.emf"/></Relationships>
</file>

<file path=ppt/slides/_rels/slide16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96.xml"/><Relationship Id="rId5" Type="http://schemas.openxmlformats.org/officeDocument/2006/relationships/chart" Target="../charts/chart177.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chart" Target="../charts/chart2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7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97.xml"/><Relationship Id="rId5" Type="http://schemas.openxmlformats.org/officeDocument/2006/relationships/chart" Target="../charts/chart178.xml"/><Relationship Id="rId4" Type="http://schemas.openxmlformats.org/officeDocument/2006/relationships/image" Target="../media/image28.emf"/></Relationships>
</file>

<file path=ppt/slides/_rels/slide17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98.xml"/><Relationship Id="rId6" Type="http://schemas.openxmlformats.org/officeDocument/2006/relationships/chart" Target="../charts/chart180.xml"/><Relationship Id="rId5" Type="http://schemas.openxmlformats.org/officeDocument/2006/relationships/chart" Target="../charts/chart179.xml"/><Relationship Id="rId4" Type="http://schemas.openxmlformats.org/officeDocument/2006/relationships/image" Target="../media/image28.emf"/></Relationships>
</file>

<file path=ppt/slides/_rels/slide17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99.xml"/><Relationship Id="rId6" Type="http://schemas.openxmlformats.org/officeDocument/2006/relationships/chart" Target="../charts/chart182.xml"/><Relationship Id="rId5" Type="http://schemas.openxmlformats.org/officeDocument/2006/relationships/chart" Target="../charts/chart181.xml"/><Relationship Id="rId4" Type="http://schemas.openxmlformats.org/officeDocument/2006/relationships/image" Target="../media/image28.emf"/></Relationships>
</file>

<file path=ppt/slides/_rels/slide17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00.xml"/><Relationship Id="rId6" Type="http://schemas.openxmlformats.org/officeDocument/2006/relationships/chart" Target="../charts/chart184.xml"/><Relationship Id="rId5" Type="http://schemas.openxmlformats.org/officeDocument/2006/relationships/chart" Target="../charts/chart183.xml"/><Relationship Id="rId4" Type="http://schemas.openxmlformats.org/officeDocument/2006/relationships/image" Target="../media/image28.emf"/></Relationships>
</file>

<file path=ppt/slides/_rels/slide17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01.xml"/><Relationship Id="rId6" Type="http://schemas.openxmlformats.org/officeDocument/2006/relationships/chart" Target="../charts/chart186.xml"/><Relationship Id="rId5" Type="http://schemas.openxmlformats.org/officeDocument/2006/relationships/chart" Target="../charts/chart185.xml"/><Relationship Id="rId4" Type="http://schemas.openxmlformats.org/officeDocument/2006/relationships/image" Target="../media/image28.emf"/></Relationships>
</file>

<file path=ppt/slides/_rels/slide17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02.xml"/><Relationship Id="rId6" Type="http://schemas.openxmlformats.org/officeDocument/2006/relationships/chart" Target="../charts/chart188.xml"/><Relationship Id="rId5" Type="http://schemas.openxmlformats.org/officeDocument/2006/relationships/chart" Target="../charts/chart187.xml"/><Relationship Id="rId4" Type="http://schemas.openxmlformats.org/officeDocument/2006/relationships/image" Target="../media/image28.emf"/></Relationships>
</file>

<file path=ppt/slides/_rels/slide17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03.xml"/><Relationship Id="rId6" Type="http://schemas.openxmlformats.org/officeDocument/2006/relationships/chart" Target="../charts/chart190.xml"/><Relationship Id="rId5" Type="http://schemas.openxmlformats.org/officeDocument/2006/relationships/chart" Target="../charts/chart189.xml"/><Relationship Id="rId4" Type="http://schemas.openxmlformats.org/officeDocument/2006/relationships/image" Target="../media/image28.emf"/></Relationships>
</file>

<file path=ppt/slides/_rels/slide17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04.xml"/><Relationship Id="rId6" Type="http://schemas.openxmlformats.org/officeDocument/2006/relationships/chart" Target="../charts/chart192.xml"/><Relationship Id="rId5" Type="http://schemas.openxmlformats.org/officeDocument/2006/relationships/chart" Target="../charts/chart191.xml"/><Relationship Id="rId4" Type="http://schemas.openxmlformats.org/officeDocument/2006/relationships/image" Target="../media/image28.emf"/></Relationships>
</file>

<file path=ppt/slides/_rels/slide17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05.xml"/><Relationship Id="rId6" Type="http://schemas.openxmlformats.org/officeDocument/2006/relationships/chart" Target="../charts/chart194.xml"/><Relationship Id="rId5" Type="http://schemas.openxmlformats.org/officeDocument/2006/relationships/chart" Target="../charts/chart193.xml"/><Relationship Id="rId4" Type="http://schemas.openxmlformats.org/officeDocument/2006/relationships/image" Target="../media/image28.emf"/></Relationships>
</file>

<file path=ppt/slides/_rels/slide17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06.xml"/><Relationship Id="rId6" Type="http://schemas.openxmlformats.org/officeDocument/2006/relationships/chart" Target="../charts/chart196.xml"/><Relationship Id="rId5" Type="http://schemas.openxmlformats.org/officeDocument/2006/relationships/chart" Target="../charts/chart195.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2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07.xml"/><Relationship Id="rId6" Type="http://schemas.openxmlformats.org/officeDocument/2006/relationships/chart" Target="../charts/chart198.xml"/><Relationship Id="rId5" Type="http://schemas.openxmlformats.org/officeDocument/2006/relationships/chart" Target="../charts/chart197.xml"/><Relationship Id="rId4" Type="http://schemas.openxmlformats.org/officeDocument/2006/relationships/image" Target="../media/image28.emf"/></Relationships>
</file>

<file path=ppt/slides/_rels/slide18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08.xml"/><Relationship Id="rId6" Type="http://schemas.openxmlformats.org/officeDocument/2006/relationships/chart" Target="../charts/chart200.xml"/><Relationship Id="rId5" Type="http://schemas.openxmlformats.org/officeDocument/2006/relationships/chart" Target="../charts/chart199.xml"/><Relationship Id="rId4" Type="http://schemas.openxmlformats.org/officeDocument/2006/relationships/image" Target="../media/image28.emf"/></Relationships>
</file>

<file path=ppt/slides/_rels/slide18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09.xml"/><Relationship Id="rId6" Type="http://schemas.openxmlformats.org/officeDocument/2006/relationships/chart" Target="../charts/chart202.xml"/><Relationship Id="rId5" Type="http://schemas.openxmlformats.org/officeDocument/2006/relationships/chart" Target="../charts/chart201.xml"/><Relationship Id="rId4" Type="http://schemas.openxmlformats.org/officeDocument/2006/relationships/image" Target="../media/image28.emf"/></Relationships>
</file>

<file path=ppt/slides/_rels/slide18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10.xml"/><Relationship Id="rId6" Type="http://schemas.openxmlformats.org/officeDocument/2006/relationships/chart" Target="../charts/chart204.xml"/><Relationship Id="rId5" Type="http://schemas.openxmlformats.org/officeDocument/2006/relationships/chart" Target="../charts/chart203.xml"/><Relationship Id="rId4" Type="http://schemas.openxmlformats.org/officeDocument/2006/relationships/image" Target="../media/image28.emf"/></Relationships>
</file>

<file path=ppt/slides/_rels/slide18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11.xml"/><Relationship Id="rId6" Type="http://schemas.openxmlformats.org/officeDocument/2006/relationships/chart" Target="../charts/chart206.xml"/><Relationship Id="rId5" Type="http://schemas.openxmlformats.org/officeDocument/2006/relationships/chart" Target="../charts/chart205.xml"/><Relationship Id="rId4" Type="http://schemas.openxmlformats.org/officeDocument/2006/relationships/image" Target="../media/image28.emf"/></Relationships>
</file>

<file path=ppt/slides/_rels/slide18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12.xml"/><Relationship Id="rId6" Type="http://schemas.openxmlformats.org/officeDocument/2006/relationships/chart" Target="../charts/chart208.xml"/><Relationship Id="rId5" Type="http://schemas.openxmlformats.org/officeDocument/2006/relationships/chart" Target="../charts/chart207.xml"/><Relationship Id="rId4" Type="http://schemas.openxmlformats.org/officeDocument/2006/relationships/image" Target="../media/image28.emf"/></Relationships>
</file>

<file path=ppt/slides/_rels/slide186.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213.xml"/><Relationship Id="rId5" Type="http://schemas.openxmlformats.org/officeDocument/2006/relationships/chart" Target="../charts/chart209.xml"/><Relationship Id="rId4" Type="http://schemas.openxmlformats.org/officeDocument/2006/relationships/image" Target="../media/image31.emf"/></Relationships>
</file>

<file path=ppt/slides/_rels/slide187.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214.xml"/><Relationship Id="rId5" Type="http://schemas.openxmlformats.org/officeDocument/2006/relationships/chart" Target="../charts/chart210.xml"/><Relationship Id="rId4" Type="http://schemas.openxmlformats.org/officeDocument/2006/relationships/image" Target="../media/image31.emf"/></Relationships>
</file>

<file path=ppt/slides/_rels/slide188.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215.xml"/><Relationship Id="rId6" Type="http://schemas.openxmlformats.org/officeDocument/2006/relationships/chart" Target="../charts/chart212.xml"/><Relationship Id="rId5" Type="http://schemas.openxmlformats.org/officeDocument/2006/relationships/chart" Target="../charts/chart211.xml"/><Relationship Id="rId4" Type="http://schemas.openxmlformats.org/officeDocument/2006/relationships/image" Target="../media/image31.emf"/></Relationships>
</file>

<file path=ppt/slides/_rels/slide18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216.xml"/><Relationship Id="rId6" Type="http://schemas.openxmlformats.org/officeDocument/2006/relationships/chart" Target="../charts/chart214.xml"/><Relationship Id="rId5" Type="http://schemas.openxmlformats.org/officeDocument/2006/relationships/chart" Target="../charts/chart213.xml"/><Relationship Id="rId4" Type="http://schemas.openxmlformats.org/officeDocument/2006/relationships/image" Target="../media/image31.emf"/></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2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90.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217.xml"/><Relationship Id="rId6" Type="http://schemas.openxmlformats.org/officeDocument/2006/relationships/chart" Target="../charts/chart216.xml"/><Relationship Id="rId5" Type="http://schemas.openxmlformats.org/officeDocument/2006/relationships/chart" Target="../charts/chart215.xml"/><Relationship Id="rId4" Type="http://schemas.openxmlformats.org/officeDocument/2006/relationships/image" Target="../media/image31.emf"/></Relationships>
</file>

<file path=ppt/slides/_rels/slide191.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218.xml"/><Relationship Id="rId5" Type="http://schemas.openxmlformats.org/officeDocument/2006/relationships/chart" Target="../charts/chart217.xml"/><Relationship Id="rId4" Type="http://schemas.openxmlformats.org/officeDocument/2006/relationships/image" Target="../media/image31.emf"/></Relationships>
</file>

<file path=ppt/slides/_rels/slide192.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219.xml"/><Relationship Id="rId6" Type="http://schemas.openxmlformats.org/officeDocument/2006/relationships/chart" Target="../charts/chart219.xml"/><Relationship Id="rId5" Type="http://schemas.openxmlformats.org/officeDocument/2006/relationships/chart" Target="../charts/chart218.xml"/><Relationship Id="rId4" Type="http://schemas.openxmlformats.org/officeDocument/2006/relationships/image" Target="../media/image31.emf"/></Relationships>
</file>

<file path=ppt/slides/_rels/slide193.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220.xml"/><Relationship Id="rId5" Type="http://schemas.openxmlformats.org/officeDocument/2006/relationships/chart" Target="../charts/chart220.xml"/><Relationship Id="rId4" Type="http://schemas.openxmlformats.org/officeDocument/2006/relationships/image" Target="../media/image31.emf"/></Relationships>
</file>

<file path=ppt/slides/_rels/slide194.xml.rels><?xml version="1.0" encoding="UTF-8" standalone="yes"?>
<Relationships xmlns="http://schemas.openxmlformats.org/package/2006/relationships"><Relationship Id="rId3" Type="http://schemas.openxmlformats.org/officeDocument/2006/relationships/notesSlide" Target="../notesSlides/notesSlide58.xml"/><Relationship Id="rId7" Type="http://schemas.openxmlformats.org/officeDocument/2006/relationships/chart" Target="../charts/chart222.xml"/><Relationship Id="rId2" Type="http://schemas.openxmlformats.org/officeDocument/2006/relationships/slideLayout" Target="../slideLayouts/slideLayout7.xml"/><Relationship Id="rId1" Type="http://schemas.openxmlformats.org/officeDocument/2006/relationships/tags" Target="../tags/tag221.xml"/><Relationship Id="rId6" Type="http://schemas.openxmlformats.org/officeDocument/2006/relationships/chart" Target="../charts/chart221.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195.xml.rels><?xml version="1.0" encoding="UTF-8" standalone="yes"?>
<Relationships xmlns="http://schemas.openxmlformats.org/package/2006/relationships"><Relationship Id="rId3" Type="http://schemas.openxmlformats.org/officeDocument/2006/relationships/notesSlide" Target="../notesSlides/notesSlide59.xml"/><Relationship Id="rId7" Type="http://schemas.openxmlformats.org/officeDocument/2006/relationships/chart" Target="../charts/chart224.xml"/><Relationship Id="rId2" Type="http://schemas.openxmlformats.org/officeDocument/2006/relationships/slideLayout" Target="../slideLayouts/slideLayout7.xml"/><Relationship Id="rId1" Type="http://schemas.openxmlformats.org/officeDocument/2006/relationships/tags" Target="../tags/tag222.xml"/><Relationship Id="rId6" Type="http://schemas.openxmlformats.org/officeDocument/2006/relationships/chart" Target="../charts/chart223.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196.xml.rels><?xml version="1.0" encoding="UTF-8" standalone="yes"?>
<Relationships xmlns="http://schemas.openxmlformats.org/package/2006/relationships"><Relationship Id="rId3" Type="http://schemas.openxmlformats.org/officeDocument/2006/relationships/notesSlide" Target="../notesSlides/notesSlide60.xml"/><Relationship Id="rId7" Type="http://schemas.openxmlformats.org/officeDocument/2006/relationships/chart" Target="../charts/chart226.xml"/><Relationship Id="rId2" Type="http://schemas.openxmlformats.org/officeDocument/2006/relationships/slideLayout" Target="../slideLayouts/slideLayout7.xml"/><Relationship Id="rId1" Type="http://schemas.openxmlformats.org/officeDocument/2006/relationships/tags" Target="../tags/tag223.xml"/><Relationship Id="rId6" Type="http://schemas.openxmlformats.org/officeDocument/2006/relationships/chart" Target="../charts/chart225.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197.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7.xml"/><Relationship Id="rId1" Type="http://schemas.openxmlformats.org/officeDocument/2006/relationships/tags" Target="../tags/tag224.xml"/><Relationship Id="rId6" Type="http://schemas.openxmlformats.org/officeDocument/2006/relationships/chart" Target="../charts/chart227.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198.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7.xml"/><Relationship Id="rId1" Type="http://schemas.openxmlformats.org/officeDocument/2006/relationships/tags" Target="../tags/tag225.xml"/><Relationship Id="rId6" Type="http://schemas.openxmlformats.org/officeDocument/2006/relationships/chart" Target="../charts/chart228.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199.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7.xml"/><Relationship Id="rId1" Type="http://schemas.openxmlformats.org/officeDocument/2006/relationships/tags" Target="../tags/tag226.xml"/><Relationship Id="rId6" Type="http://schemas.openxmlformats.org/officeDocument/2006/relationships/chart" Target="../charts/chart229.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chart" Target="../charts/chart4.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2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00.xml.rels><?xml version="1.0" encoding="UTF-8" standalone="yes"?>
<Relationships xmlns="http://schemas.openxmlformats.org/package/2006/relationships"><Relationship Id="rId3" Type="http://schemas.openxmlformats.org/officeDocument/2006/relationships/notesSlide" Target="../notesSlides/notesSlide64.xml"/><Relationship Id="rId7" Type="http://schemas.openxmlformats.org/officeDocument/2006/relationships/chart" Target="../charts/chart231.xml"/><Relationship Id="rId2" Type="http://schemas.openxmlformats.org/officeDocument/2006/relationships/slideLayout" Target="../slideLayouts/slideLayout7.xml"/><Relationship Id="rId1" Type="http://schemas.openxmlformats.org/officeDocument/2006/relationships/tags" Target="../tags/tag227.xml"/><Relationship Id="rId6" Type="http://schemas.openxmlformats.org/officeDocument/2006/relationships/chart" Target="../charts/chart230.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01.xml.rels><?xml version="1.0" encoding="UTF-8" standalone="yes"?>
<Relationships xmlns="http://schemas.openxmlformats.org/package/2006/relationships"><Relationship Id="rId3" Type="http://schemas.openxmlformats.org/officeDocument/2006/relationships/notesSlide" Target="../notesSlides/notesSlide65.xml"/><Relationship Id="rId2" Type="http://schemas.openxmlformats.org/officeDocument/2006/relationships/slideLayout" Target="../slideLayouts/slideLayout7.xml"/><Relationship Id="rId1" Type="http://schemas.openxmlformats.org/officeDocument/2006/relationships/tags" Target="../tags/tag228.xml"/><Relationship Id="rId6" Type="http://schemas.openxmlformats.org/officeDocument/2006/relationships/chart" Target="../charts/chart232.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02.xml.rels><?xml version="1.0" encoding="UTF-8" standalone="yes"?>
<Relationships xmlns="http://schemas.openxmlformats.org/package/2006/relationships"><Relationship Id="rId3" Type="http://schemas.openxmlformats.org/officeDocument/2006/relationships/notesSlide" Target="../notesSlides/notesSlide66.xml"/><Relationship Id="rId7" Type="http://schemas.openxmlformats.org/officeDocument/2006/relationships/chart" Target="../charts/chart234.xml"/><Relationship Id="rId2" Type="http://schemas.openxmlformats.org/officeDocument/2006/relationships/slideLayout" Target="../slideLayouts/slideLayout7.xml"/><Relationship Id="rId1" Type="http://schemas.openxmlformats.org/officeDocument/2006/relationships/tags" Target="../tags/tag229.xml"/><Relationship Id="rId6" Type="http://schemas.openxmlformats.org/officeDocument/2006/relationships/chart" Target="../charts/chart233.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03.xml.rels><?xml version="1.0" encoding="UTF-8" standalone="yes"?>
<Relationships xmlns="http://schemas.openxmlformats.org/package/2006/relationships"><Relationship Id="rId3" Type="http://schemas.openxmlformats.org/officeDocument/2006/relationships/notesSlide" Target="../notesSlides/notesSlide67.xml"/><Relationship Id="rId2" Type="http://schemas.openxmlformats.org/officeDocument/2006/relationships/slideLayout" Target="../slideLayouts/slideLayout7.xml"/><Relationship Id="rId1" Type="http://schemas.openxmlformats.org/officeDocument/2006/relationships/tags" Target="../tags/tag230.xml"/><Relationship Id="rId6" Type="http://schemas.openxmlformats.org/officeDocument/2006/relationships/chart" Target="../charts/chart235.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04.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7.xml"/><Relationship Id="rId1" Type="http://schemas.openxmlformats.org/officeDocument/2006/relationships/tags" Target="../tags/tag231.xml"/><Relationship Id="rId6" Type="http://schemas.openxmlformats.org/officeDocument/2006/relationships/chart" Target="../charts/chart236.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05.xml.rels><?xml version="1.0" encoding="UTF-8" standalone="yes"?>
<Relationships xmlns="http://schemas.openxmlformats.org/package/2006/relationships"><Relationship Id="rId3" Type="http://schemas.openxmlformats.org/officeDocument/2006/relationships/notesSlide" Target="../notesSlides/notesSlide69.xml"/><Relationship Id="rId2" Type="http://schemas.openxmlformats.org/officeDocument/2006/relationships/slideLayout" Target="../slideLayouts/slideLayout7.xml"/><Relationship Id="rId1" Type="http://schemas.openxmlformats.org/officeDocument/2006/relationships/tags" Target="../tags/tag232.xml"/><Relationship Id="rId6" Type="http://schemas.openxmlformats.org/officeDocument/2006/relationships/chart" Target="../charts/chart237.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06.xml.rels><?xml version="1.0" encoding="UTF-8" standalone="yes"?>
<Relationships xmlns="http://schemas.openxmlformats.org/package/2006/relationships"><Relationship Id="rId3" Type="http://schemas.openxmlformats.org/officeDocument/2006/relationships/notesSlide" Target="../notesSlides/notesSlide70.xml"/><Relationship Id="rId2" Type="http://schemas.openxmlformats.org/officeDocument/2006/relationships/slideLayout" Target="../slideLayouts/slideLayout7.xml"/><Relationship Id="rId1" Type="http://schemas.openxmlformats.org/officeDocument/2006/relationships/tags" Target="../tags/tag233.xml"/><Relationship Id="rId6" Type="http://schemas.openxmlformats.org/officeDocument/2006/relationships/chart" Target="../charts/chart238.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07.xml.rels><?xml version="1.0" encoding="UTF-8" standalone="yes"?>
<Relationships xmlns="http://schemas.openxmlformats.org/package/2006/relationships"><Relationship Id="rId3" Type="http://schemas.openxmlformats.org/officeDocument/2006/relationships/notesSlide" Target="../notesSlides/notesSlide71.xml"/><Relationship Id="rId7" Type="http://schemas.openxmlformats.org/officeDocument/2006/relationships/chart" Target="../charts/chart240.xml"/><Relationship Id="rId2" Type="http://schemas.openxmlformats.org/officeDocument/2006/relationships/slideLayout" Target="../slideLayouts/slideLayout7.xml"/><Relationship Id="rId1" Type="http://schemas.openxmlformats.org/officeDocument/2006/relationships/tags" Target="../tags/tag234.xml"/><Relationship Id="rId6" Type="http://schemas.openxmlformats.org/officeDocument/2006/relationships/chart" Target="../charts/chart239.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08.xml.rels><?xml version="1.0" encoding="UTF-8" standalone="yes"?>
<Relationships xmlns="http://schemas.openxmlformats.org/package/2006/relationships"><Relationship Id="rId3" Type="http://schemas.openxmlformats.org/officeDocument/2006/relationships/notesSlide" Target="../notesSlides/notesSlide72.xml"/><Relationship Id="rId2" Type="http://schemas.openxmlformats.org/officeDocument/2006/relationships/slideLayout" Target="../slideLayouts/slideLayout7.xml"/><Relationship Id="rId1" Type="http://schemas.openxmlformats.org/officeDocument/2006/relationships/tags" Target="../tags/tag235.xml"/><Relationship Id="rId6" Type="http://schemas.openxmlformats.org/officeDocument/2006/relationships/chart" Target="../charts/chart241.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09.xml.rels><?xml version="1.0" encoding="UTF-8" standalone="yes"?>
<Relationships xmlns="http://schemas.openxmlformats.org/package/2006/relationships"><Relationship Id="rId3" Type="http://schemas.openxmlformats.org/officeDocument/2006/relationships/notesSlide" Target="../notesSlides/notesSlide73.xml"/><Relationship Id="rId2" Type="http://schemas.openxmlformats.org/officeDocument/2006/relationships/slideLayout" Target="../slideLayouts/slideLayout7.xml"/><Relationship Id="rId1" Type="http://schemas.openxmlformats.org/officeDocument/2006/relationships/tags" Target="../tags/tag236.xml"/><Relationship Id="rId6" Type="http://schemas.openxmlformats.org/officeDocument/2006/relationships/chart" Target="../charts/chart242.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chart" Target="../charts/chart2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10.xml.rels><?xml version="1.0" encoding="UTF-8" standalone="yes"?>
<Relationships xmlns="http://schemas.openxmlformats.org/package/2006/relationships"><Relationship Id="rId3" Type="http://schemas.openxmlformats.org/officeDocument/2006/relationships/notesSlide" Target="../notesSlides/notesSlide74.xml"/><Relationship Id="rId7" Type="http://schemas.openxmlformats.org/officeDocument/2006/relationships/chart" Target="../charts/chart244.xml"/><Relationship Id="rId2" Type="http://schemas.openxmlformats.org/officeDocument/2006/relationships/slideLayout" Target="../slideLayouts/slideLayout7.xml"/><Relationship Id="rId1" Type="http://schemas.openxmlformats.org/officeDocument/2006/relationships/tags" Target="../tags/tag237.xml"/><Relationship Id="rId6" Type="http://schemas.openxmlformats.org/officeDocument/2006/relationships/chart" Target="../charts/chart24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11.xml.rels><?xml version="1.0" encoding="UTF-8" standalone="yes"?>
<Relationships xmlns="http://schemas.openxmlformats.org/package/2006/relationships"><Relationship Id="rId3" Type="http://schemas.openxmlformats.org/officeDocument/2006/relationships/notesSlide" Target="../notesSlides/notesSlide75.xml"/><Relationship Id="rId7" Type="http://schemas.openxmlformats.org/officeDocument/2006/relationships/chart" Target="../charts/chart246.xml"/><Relationship Id="rId2" Type="http://schemas.openxmlformats.org/officeDocument/2006/relationships/slideLayout" Target="../slideLayouts/slideLayout7.xml"/><Relationship Id="rId1" Type="http://schemas.openxmlformats.org/officeDocument/2006/relationships/tags" Target="../tags/tag238.xml"/><Relationship Id="rId6" Type="http://schemas.openxmlformats.org/officeDocument/2006/relationships/chart" Target="../charts/chart24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12.xml.rels><?xml version="1.0" encoding="UTF-8" standalone="yes"?>
<Relationships xmlns="http://schemas.openxmlformats.org/package/2006/relationships"><Relationship Id="rId3" Type="http://schemas.openxmlformats.org/officeDocument/2006/relationships/notesSlide" Target="../notesSlides/notesSlide76.xml"/><Relationship Id="rId7" Type="http://schemas.openxmlformats.org/officeDocument/2006/relationships/chart" Target="../charts/chart248.xml"/><Relationship Id="rId2" Type="http://schemas.openxmlformats.org/officeDocument/2006/relationships/slideLayout" Target="../slideLayouts/slideLayout7.xml"/><Relationship Id="rId1" Type="http://schemas.openxmlformats.org/officeDocument/2006/relationships/tags" Target="../tags/tag239.xml"/><Relationship Id="rId6" Type="http://schemas.openxmlformats.org/officeDocument/2006/relationships/chart" Target="../charts/chart24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13.xml.rels><?xml version="1.0" encoding="UTF-8" standalone="yes"?>
<Relationships xmlns="http://schemas.openxmlformats.org/package/2006/relationships"><Relationship Id="rId3" Type="http://schemas.openxmlformats.org/officeDocument/2006/relationships/notesSlide" Target="../notesSlides/notesSlide77.xml"/><Relationship Id="rId7" Type="http://schemas.openxmlformats.org/officeDocument/2006/relationships/chart" Target="../charts/chart250.xml"/><Relationship Id="rId2" Type="http://schemas.openxmlformats.org/officeDocument/2006/relationships/slideLayout" Target="../slideLayouts/slideLayout7.xml"/><Relationship Id="rId1" Type="http://schemas.openxmlformats.org/officeDocument/2006/relationships/tags" Target="../tags/tag240.xml"/><Relationship Id="rId6" Type="http://schemas.openxmlformats.org/officeDocument/2006/relationships/chart" Target="../charts/chart24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14.xml.rels><?xml version="1.0" encoding="UTF-8" standalone="yes"?>
<Relationships xmlns="http://schemas.openxmlformats.org/package/2006/relationships"><Relationship Id="rId3" Type="http://schemas.openxmlformats.org/officeDocument/2006/relationships/notesSlide" Target="../notesSlides/notesSlide78.xml"/><Relationship Id="rId7" Type="http://schemas.openxmlformats.org/officeDocument/2006/relationships/chart" Target="../charts/chart252.xml"/><Relationship Id="rId2" Type="http://schemas.openxmlformats.org/officeDocument/2006/relationships/slideLayout" Target="../slideLayouts/slideLayout7.xml"/><Relationship Id="rId1" Type="http://schemas.openxmlformats.org/officeDocument/2006/relationships/tags" Target="../tags/tag241.xml"/><Relationship Id="rId6" Type="http://schemas.openxmlformats.org/officeDocument/2006/relationships/chart" Target="../charts/chart25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15.xml.rels><?xml version="1.0" encoding="UTF-8" standalone="yes"?>
<Relationships xmlns="http://schemas.openxmlformats.org/package/2006/relationships"><Relationship Id="rId3" Type="http://schemas.openxmlformats.org/officeDocument/2006/relationships/notesSlide" Target="../notesSlides/notesSlide79.xml"/><Relationship Id="rId7" Type="http://schemas.openxmlformats.org/officeDocument/2006/relationships/chart" Target="../charts/chart254.xml"/><Relationship Id="rId2" Type="http://schemas.openxmlformats.org/officeDocument/2006/relationships/slideLayout" Target="../slideLayouts/slideLayout7.xml"/><Relationship Id="rId1" Type="http://schemas.openxmlformats.org/officeDocument/2006/relationships/tags" Target="../tags/tag242.xml"/><Relationship Id="rId6" Type="http://schemas.openxmlformats.org/officeDocument/2006/relationships/chart" Target="../charts/chart25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16.xml.rels><?xml version="1.0" encoding="UTF-8" standalone="yes"?>
<Relationships xmlns="http://schemas.openxmlformats.org/package/2006/relationships"><Relationship Id="rId3" Type="http://schemas.openxmlformats.org/officeDocument/2006/relationships/notesSlide" Target="../notesSlides/notesSlide80.xml"/><Relationship Id="rId7" Type="http://schemas.openxmlformats.org/officeDocument/2006/relationships/chart" Target="../charts/chart256.xml"/><Relationship Id="rId2" Type="http://schemas.openxmlformats.org/officeDocument/2006/relationships/slideLayout" Target="../slideLayouts/slideLayout7.xml"/><Relationship Id="rId1" Type="http://schemas.openxmlformats.org/officeDocument/2006/relationships/tags" Target="../tags/tag243.xml"/><Relationship Id="rId6" Type="http://schemas.openxmlformats.org/officeDocument/2006/relationships/chart" Target="../charts/chart25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17.xml.rels><?xml version="1.0" encoding="UTF-8" standalone="yes"?>
<Relationships xmlns="http://schemas.openxmlformats.org/package/2006/relationships"><Relationship Id="rId3" Type="http://schemas.openxmlformats.org/officeDocument/2006/relationships/notesSlide" Target="../notesSlides/notesSlide81.xml"/><Relationship Id="rId7" Type="http://schemas.openxmlformats.org/officeDocument/2006/relationships/chart" Target="../charts/chart258.xml"/><Relationship Id="rId2" Type="http://schemas.openxmlformats.org/officeDocument/2006/relationships/slideLayout" Target="../slideLayouts/slideLayout7.xml"/><Relationship Id="rId1" Type="http://schemas.openxmlformats.org/officeDocument/2006/relationships/tags" Target="../tags/tag244.xml"/><Relationship Id="rId6" Type="http://schemas.openxmlformats.org/officeDocument/2006/relationships/chart" Target="../charts/chart25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18.xml.rels><?xml version="1.0" encoding="UTF-8" standalone="yes"?>
<Relationships xmlns="http://schemas.openxmlformats.org/package/2006/relationships"><Relationship Id="rId3" Type="http://schemas.openxmlformats.org/officeDocument/2006/relationships/notesSlide" Target="../notesSlides/notesSlide82.xml"/><Relationship Id="rId7" Type="http://schemas.openxmlformats.org/officeDocument/2006/relationships/chart" Target="../charts/chart260.xml"/><Relationship Id="rId2" Type="http://schemas.openxmlformats.org/officeDocument/2006/relationships/slideLayout" Target="../slideLayouts/slideLayout7.xml"/><Relationship Id="rId1" Type="http://schemas.openxmlformats.org/officeDocument/2006/relationships/tags" Target="../tags/tag245.xml"/><Relationship Id="rId6" Type="http://schemas.openxmlformats.org/officeDocument/2006/relationships/chart" Target="../charts/chart25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19.xml.rels><?xml version="1.0" encoding="UTF-8" standalone="yes"?>
<Relationships xmlns="http://schemas.openxmlformats.org/package/2006/relationships"><Relationship Id="rId3" Type="http://schemas.openxmlformats.org/officeDocument/2006/relationships/notesSlide" Target="../notesSlides/notesSlide83.xml"/><Relationship Id="rId7" Type="http://schemas.openxmlformats.org/officeDocument/2006/relationships/chart" Target="../charts/chart262.xml"/><Relationship Id="rId2" Type="http://schemas.openxmlformats.org/officeDocument/2006/relationships/slideLayout" Target="../slideLayouts/slideLayout7.xml"/><Relationship Id="rId1" Type="http://schemas.openxmlformats.org/officeDocument/2006/relationships/tags" Target="../tags/tag246.xml"/><Relationship Id="rId6" Type="http://schemas.openxmlformats.org/officeDocument/2006/relationships/chart" Target="../charts/chart26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chart" Target="../charts/chart3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20.xml.rels><?xml version="1.0" encoding="UTF-8" standalone="yes"?>
<Relationships xmlns="http://schemas.openxmlformats.org/package/2006/relationships"><Relationship Id="rId3" Type="http://schemas.openxmlformats.org/officeDocument/2006/relationships/notesSlide" Target="../notesSlides/notesSlide84.xml"/><Relationship Id="rId7" Type="http://schemas.openxmlformats.org/officeDocument/2006/relationships/chart" Target="../charts/chart264.xml"/><Relationship Id="rId2" Type="http://schemas.openxmlformats.org/officeDocument/2006/relationships/slideLayout" Target="../slideLayouts/slideLayout7.xml"/><Relationship Id="rId1" Type="http://schemas.openxmlformats.org/officeDocument/2006/relationships/tags" Target="../tags/tag247.xml"/><Relationship Id="rId6" Type="http://schemas.openxmlformats.org/officeDocument/2006/relationships/chart" Target="../charts/chart26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21.xml.rels><?xml version="1.0" encoding="UTF-8" standalone="yes"?>
<Relationships xmlns="http://schemas.openxmlformats.org/package/2006/relationships"><Relationship Id="rId3" Type="http://schemas.openxmlformats.org/officeDocument/2006/relationships/notesSlide" Target="../notesSlides/notesSlide85.xml"/><Relationship Id="rId7" Type="http://schemas.openxmlformats.org/officeDocument/2006/relationships/chart" Target="../charts/chart266.xml"/><Relationship Id="rId2" Type="http://schemas.openxmlformats.org/officeDocument/2006/relationships/slideLayout" Target="../slideLayouts/slideLayout7.xml"/><Relationship Id="rId1" Type="http://schemas.openxmlformats.org/officeDocument/2006/relationships/tags" Target="../tags/tag248.xml"/><Relationship Id="rId6" Type="http://schemas.openxmlformats.org/officeDocument/2006/relationships/chart" Target="../charts/chart26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22.xml.rels><?xml version="1.0" encoding="UTF-8" standalone="yes"?>
<Relationships xmlns="http://schemas.openxmlformats.org/package/2006/relationships"><Relationship Id="rId3" Type="http://schemas.openxmlformats.org/officeDocument/2006/relationships/notesSlide" Target="../notesSlides/notesSlide86.xml"/><Relationship Id="rId2" Type="http://schemas.openxmlformats.org/officeDocument/2006/relationships/slideLayout" Target="../slideLayouts/slideLayout7.xml"/><Relationship Id="rId1" Type="http://schemas.openxmlformats.org/officeDocument/2006/relationships/tags" Target="../tags/tag249.xml"/><Relationship Id="rId5" Type="http://schemas.openxmlformats.org/officeDocument/2006/relationships/image" Target="../media/image29.emf"/><Relationship Id="rId4" Type="http://schemas.openxmlformats.org/officeDocument/2006/relationships/oleObject" Target="../embeddings/oleObject27.bin"/></Relationships>
</file>

<file path=ppt/slides/_rels/slide223.xml.rels><?xml version="1.0" encoding="UTF-8" standalone="yes"?>
<Relationships xmlns="http://schemas.openxmlformats.org/package/2006/relationships"><Relationship Id="rId3" Type="http://schemas.openxmlformats.org/officeDocument/2006/relationships/notesSlide" Target="../notesSlides/notesSlide87.xml"/><Relationship Id="rId2" Type="http://schemas.openxmlformats.org/officeDocument/2006/relationships/slideLayout" Target="../slideLayouts/slideLayout7.xml"/><Relationship Id="rId1" Type="http://schemas.openxmlformats.org/officeDocument/2006/relationships/tags" Target="../tags/tag250.xml"/><Relationship Id="rId5" Type="http://schemas.openxmlformats.org/officeDocument/2006/relationships/image" Target="../media/image29.emf"/><Relationship Id="rId4" Type="http://schemas.openxmlformats.org/officeDocument/2006/relationships/oleObject" Target="../embeddings/oleObject27.bin"/></Relationships>
</file>

<file path=ppt/slides/_rels/slide224.xml.rels><?xml version="1.0" encoding="UTF-8" standalone="yes"?>
<Relationships xmlns="http://schemas.openxmlformats.org/package/2006/relationships"><Relationship Id="rId3" Type="http://schemas.openxmlformats.org/officeDocument/2006/relationships/notesSlide" Target="../notesSlides/notesSlide88.xml"/><Relationship Id="rId2" Type="http://schemas.openxmlformats.org/officeDocument/2006/relationships/slideLayout" Target="../slideLayouts/slideLayout7.xml"/><Relationship Id="rId1" Type="http://schemas.openxmlformats.org/officeDocument/2006/relationships/tags" Target="../tags/tag251.xml"/><Relationship Id="rId5" Type="http://schemas.openxmlformats.org/officeDocument/2006/relationships/image" Target="../media/image29.emf"/><Relationship Id="rId4" Type="http://schemas.openxmlformats.org/officeDocument/2006/relationships/oleObject" Target="../embeddings/oleObject27.bin"/></Relationships>
</file>

<file path=ppt/slides/_rels/slide225.xml.rels><?xml version="1.0" encoding="UTF-8" standalone="yes"?>
<Relationships xmlns="http://schemas.openxmlformats.org/package/2006/relationships"><Relationship Id="rId3" Type="http://schemas.openxmlformats.org/officeDocument/2006/relationships/notesSlide" Target="../notesSlides/notesSlide89.xml"/><Relationship Id="rId2" Type="http://schemas.openxmlformats.org/officeDocument/2006/relationships/slideLayout" Target="../slideLayouts/slideLayout7.xml"/><Relationship Id="rId1" Type="http://schemas.openxmlformats.org/officeDocument/2006/relationships/tags" Target="../tags/tag252.xml"/><Relationship Id="rId5" Type="http://schemas.openxmlformats.org/officeDocument/2006/relationships/image" Target="../media/image29.emf"/><Relationship Id="rId4" Type="http://schemas.openxmlformats.org/officeDocument/2006/relationships/oleObject" Target="../embeddings/oleObject27.bin"/></Relationships>
</file>

<file path=ppt/slides/_rels/slide226.xml.rels><?xml version="1.0" encoding="UTF-8" standalone="yes"?>
<Relationships xmlns="http://schemas.openxmlformats.org/package/2006/relationships"><Relationship Id="rId3" Type="http://schemas.openxmlformats.org/officeDocument/2006/relationships/notesSlide" Target="../notesSlides/notesSlide90.xml"/><Relationship Id="rId2" Type="http://schemas.openxmlformats.org/officeDocument/2006/relationships/slideLayout" Target="../slideLayouts/slideLayout7.xml"/><Relationship Id="rId1" Type="http://schemas.openxmlformats.org/officeDocument/2006/relationships/tags" Target="../tags/tag253.xml"/><Relationship Id="rId6" Type="http://schemas.openxmlformats.org/officeDocument/2006/relationships/chart" Target="../charts/chart26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27.xml.rels><?xml version="1.0" encoding="UTF-8" standalone="yes"?>
<Relationships xmlns="http://schemas.openxmlformats.org/package/2006/relationships"><Relationship Id="rId3" Type="http://schemas.openxmlformats.org/officeDocument/2006/relationships/notesSlide" Target="../notesSlides/notesSlide91.xml"/><Relationship Id="rId2" Type="http://schemas.openxmlformats.org/officeDocument/2006/relationships/slideLayout" Target="../slideLayouts/slideLayout7.xml"/><Relationship Id="rId1" Type="http://schemas.openxmlformats.org/officeDocument/2006/relationships/tags" Target="../tags/tag254.xml"/><Relationship Id="rId6" Type="http://schemas.openxmlformats.org/officeDocument/2006/relationships/chart" Target="../charts/chart26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28.xml.rels><?xml version="1.0" encoding="UTF-8" standalone="yes"?>
<Relationships xmlns="http://schemas.openxmlformats.org/package/2006/relationships"><Relationship Id="rId3" Type="http://schemas.openxmlformats.org/officeDocument/2006/relationships/notesSlide" Target="../notesSlides/notesSlide92.xml"/><Relationship Id="rId2" Type="http://schemas.openxmlformats.org/officeDocument/2006/relationships/slideLayout" Target="../slideLayouts/slideLayout7.xml"/><Relationship Id="rId1" Type="http://schemas.openxmlformats.org/officeDocument/2006/relationships/tags" Target="../tags/tag255.xml"/><Relationship Id="rId6" Type="http://schemas.openxmlformats.org/officeDocument/2006/relationships/chart" Target="../charts/chart26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29.xml.rels><?xml version="1.0" encoding="UTF-8" standalone="yes"?>
<Relationships xmlns="http://schemas.openxmlformats.org/package/2006/relationships"><Relationship Id="rId3" Type="http://schemas.openxmlformats.org/officeDocument/2006/relationships/notesSlide" Target="../notesSlides/notesSlide93.xml"/><Relationship Id="rId2" Type="http://schemas.openxmlformats.org/officeDocument/2006/relationships/slideLayout" Target="../slideLayouts/slideLayout7.xml"/><Relationship Id="rId1" Type="http://schemas.openxmlformats.org/officeDocument/2006/relationships/tags" Target="../tags/tag256.xml"/><Relationship Id="rId6" Type="http://schemas.openxmlformats.org/officeDocument/2006/relationships/chart" Target="../charts/chart27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50.xml"/><Relationship Id="rId5" Type="http://schemas.openxmlformats.org/officeDocument/2006/relationships/chart" Target="../charts/chart31.xml"/><Relationship Id="rId4" Type="http://schemas.openxmlformats.org/officeDocument/2006/relationships/image" Target="../media/image28.emf"/></Relationships>
</file>

<file path=ppt/slides/_rels/slide230.xml.rels><?xml version="1.0" encoding="UTF-8" standalone="yes"?>
<Relationships xmlns="http://schemas.openxmlformats.org/package/2006/relationships"><Relationship Id="rId3" Type="http://schemas.openxmlformats.org/officeDocument/2006/relationships/notesSlide" Target="../notesSlides/notesSlide94.xml"/><Relationship Id="rId2" Type="http://schemas.openxmlformats.org/officeDocument/2006/relationships/slideLayout" Target="../slideLayouts/slideLayout7.xml"/><Relationship Id="rId1" Type="http://schemas.openxmlformats.org/officeDocument/2006/relationships/tags" Target="../tags/tag257.xml"/><Relationship Id="rId6" Type="http://schemas.openxmlformats.org/officeDocument/2006/relationships/chart" Target="../charts/chart27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31.xml.rels><?xml version="1.0" encoding="UTF-8" standalone="yes"?>
<Relationships xmlns="http://schemas.openxmlformats.org/package/2006/relationships"><Relationship Id="rId3" Type="http://schemas.openxmlformats.org/officeDocument/2006/relationships/notesSlide" Target="../notesSlides/notesSlide95.xml"/><Relationship Id="rId2" Type="http://schemas.openxmlformats.org/officeDocument/2006/relationships/slideLayout" Target="../slideLayouts/slideLayout7.xml"/><Relationship Id="rId1" Type="http://schemas.openxmlformats.org/officeDocument/2006/relationships/tags" Target="../tags/tag258.xml"/><Relationship Id="rId6" Type="http://schemas.openxmlformats.org/officeDocument/2006/relationships/chart" Target="../charts/chart27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9.xml"/><Relationship Id="rId5" Type="http://schemas.openxmlformats.org/officeDocument/2006/relationships/chart" Target="../charts/chart273.xml"/><Relationship Id="rId4" Type="http://schemas.openxmlformats.org/officeDocument/2006/relationships/image" Target="../media/image28.emf"/></Relationships>
</file>

<file path=ppt/slides/_rels/slide2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0.xml"/><Relationship Id="rId5" Type="http://schemas.openxmlformats.org/officeDocument/2006/relationships/chart" Target="../charts/chart274.xml"/><Relationship Id="rId4" Type="http://schemas.openxmlformats.org/officeDocument/2006/relationships/image" Target="../media/image28.emf"/></Relationships>
</file>

<file path=ppt/slides/_rels/slide2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1.xml"/><Relationship Id="rId5" Type="http://schemas.openxmlformats.org/officeDocument/2006/relationships/chart" Target="../charts/chart275.xml"/><Relationship Id="rId4" Type="http://schemas.openxmlformats.org/officeDocument/2006/relationships/image" Target="../media/image28.emf"/></Relationships>
</file>

<file path=ppt/slides/_rels/slide2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2.xml"/><Relationship Id="rId5" Type="http://schemas.openxmlformats.org/officeDocument/2006/relationships/chart" Target="../charts/chart276.xml"/><Relationship Id="rId4" Type="http://schemas.openxmlformats.org/officeDocument/2006/relationships/image" Target="../media/image28.emf"/></Relationships>
</file>

<file path=ppt/slides/_rels/slide2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3.xml"/><Relationship Id="rId5" Type="http://schemas.openxmlformats.org/officeDocument/2006/relationships/chart" Target="../charts/chart277.xml"/><Relationship Id="rId4" Type="http://schemas.openxmlformats.org/officeDocument/2006/relationships/image" Target="../media/image28.emf"/></Relationships>
</file>

<file path=ppt/slides/_rels/slide2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4.xml"/><Relationship Id="rId5" Type="http://schemas.openxmlformats.org/officeDocument/2006/relationships/chart" Target="../charts/chart278.xml"/><Relationship Id="rId4" Type="http://schemas.openxmlformats.org/officeDocument/2006/relationships/image" Target="../media/image28.emf"/></Relationships>
</file>

<file path=ppt/slides/_rels/slide2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5.xml"/><Relationship Id="rId5" Type="http://schemas.openxmlformats.org/officeDocument/2006/relationships/chart" Target="../charts/chart279.xml"/><Relationship Id="rId4" Type="http://schemas.openxmlformats.org/officeDocument/2006/relationships/image" Target="../media/image28.emf"/></Relationships>
</file>

<file path=ppt/slides/_rels/slide2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6.xml"/><Relationship Id="rId5" Type="http://schemas.openxmlformats.org/officeDocument/2006/relationships/chart" Target="../charts/chart280.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51.xml"/><Relationship Id="rId5" Type="http://schemas.openxmlformats.org/officeDocument/2006/relationships/chart" Target="../charts/chart32.xml"/><Relationship Id="rId4" Type="http://schemas.openxmlformats.org/officeDocument/2006/relationships/image" Target="../media/image28.emf"/></Relationships>
</file>

<file path=ppt/slides/_rels/slide2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7.xml"/><Relationship Id="rId5" Type="http://schemas.openxmlformats.org/officeDocument/2006/relationships/chart" Target="../charts/chart281.xml"/><Relationship Id="rId4" Type="http://schemas.openxmlformats.org/officeDocument/2006/relationships/image" Target="../media/image28.emf"/></Relationships>
</file>

<file path=ppt/slides/_rels/slide2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8.xml"/><Relationship Id="rId5" Type="http://schemas.openxmlformats.org/officeDocument/2006/relationships/chart" Target="../charts/chart282.xml"/><Relationship Id="rId4" Type="http://schemas.openxmlformats.org/officeDocument/2006/relationships/image" Target="../media/image28.emf"/></Relationships>
</file>

<file path=ppt/slides/_rels/slide2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9.xml"/><Relationship Id="rId5" Type="http://schemas.openxmlformats.org/officeDocument/2006/relationships/chart" Target="../charts/chart283.xml"/><Relationship Id="rId4" Type="http://schemas.openxmlformats.org/officeDocument/2006/relationships/image" Target="../media/image28.emf"/></Relationships>
</file>

<file path=ppt/slides/_rels/slide2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0.xml"/><Relationship Id="rId5" Type="http://schemas.openxmlformats.org/officeDocument/2006/relationships/chart" Target="../charts/chart284.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52.xml"/><Relationship Id="rId5" Type="http://schemas.openxmlformats.org/officeDocument/2006/relationships/chart" Target="../charts/chart33.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53.xml"/><Relationship Id="rId5" Type="http://schemas.openxmlformats.org/officeDocument/2006/relationships/chart" Target="../charts/chart34.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54.xml"/><Relationship Id="rId5" Type="http://schemas.openxmlformats.org/officeDocument/2006/relationships/chart" Target="../charts/chart35.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55.xml"/><Relationship Id="rId5" Type="http://schemas.openxmlformats.org/officeDocument/2006/relationships/chart" Target="../charts/chart36.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56.xml"/><Relationship Id="rId5" Type="http://schemas.openxmlformats.org/officeDocument/2006/relationships/chart" Target="../charts/chart37.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chart" Target="../charts/chart6.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57.xml"/><Relationship Id="rId5" Type="http://schemas.openxmlformats.org/officeDocument/2006/relationships/chart" Target="../charts/chart38.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58.xml"/><Relationship Id="rId5" Type="http://schemas.openxmlformats.org/officeDocument/2006/relationships/chart" Target="../charts/chart39.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59.xml"/><Relationship Id="rId5" Type="http://schemas.openxmlformats.org/officeDocument/2006/relationships/chart" Target="../charts/chart40.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60.xml"/><Relationship Id="rId5" Type="http://schemas.openxmlformats.org/officeDocument/2006/relationships/chart" Target="../charts/chart41.xml"/><Relationship Id="rId4" Type="http://schemas.openxmlformats.org/officeDocument/2006/relationships/image" Target="../media/image28.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61.xml"/><Relationship Id="rId5" Type="http://schemas.openxmlformats.org/officeDocument/2006/relationships/chart" Target="../charts/chart42.xml"/><Relationship Id="rId4" Type="http://schemas.openxmlformats.org/officeDocument/2006/relationships/image" Target="../media/image28.emf"/></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7.xml"/><Relationship Id="rId1" Type="http://schemas.openxmlformats.org/officeDocument/2006/relationships/tags" Target="../tags/tag62.xml"/><Relationship Id="rId6" Type="http://schemas.openxmlformats.org/officeDocument/2006/relationships/chart" Target="../charts/chart43.xml"/><Relationship Id="rId5" Type="http://schemas.openxmlformats.org/officeDocument/2006/relationships/image" Target="../media/image30.emf"/><Relationship Id="rId4" Type="http://schemas.openxmlformats.org/officeDocument/2006/relationships/oleObject" Target="../embeddings/oleObject29.bin"/></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7.xml"/><Relationship Id="rId1" Type="http://schemas.openxmlformats.org/officeDocument/2006/relationships/tags" Target="../tags/tag63.xml"/><Relationship Id="rId6" Type="http://schemas.openxmlformats.org/officeDocument/2006/relationships/chart" Target="../charts/chart44.xml"/><Relationship Id="rId5" Type="http://schemas.openxmlformats.org/officeDocument/2006/relationships/image" Target="../media/image30.emf"/><Relationship Id="rId4" Type="http://schemas.openxmlformats.org/officeDocument/2006/relationships/oleObject" Target="../embeddings/oleObject29.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7.xml"/><Relationship Id="rId1" Type="http://schemas.openxmlformats.org/officeDocument/2006/relationships/tags" Target="../tags/tag64.xml"/><Relationship Id="rId6" Type="http://schemas.openxmlformats.org/officeDocument/2006/relationships/chart" Target="../charts/chart45.xml"/><Relationship Id="rId5" Type="http://schemas.openxmlformats.org/officeDocument/2006/relationships/image" Target="../media/image30.emf"/><Relationship Id="rId4" Type="http://schemas.openxmlformats.org/officeDocument/2006/relationships/oleObject" Target="../embeddings/oleObject29.bin"/></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7.xml"/><Relationship Id="rId1" Type="http://schemas.openxmlformats.org/officeDocument/2006/relationships/tags" Target="../tags/tag65.xml"/><Relationship Id="rId6" Type="http://schemas.openxmlformats.org/officeDocument/2006/relationships/chart" Target="../charts/chart46.xml"/><Relationship Id="rId5" Type="http://schemas.openxmlformats.org/officeDocument/2006/relationships/image" Target="../media/image30.emf"/><Relationship Id="rId4" Type="http://schemas.openxmlformats.org/officeDocument/2006/relationships/oleObject" Target="../embeddings/oleObject29.bin"/></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7.xml"/><Relationship Id="rId1" Type="http://schemas.openxmlformats.org/officeDocument/2006/relationships/tags" Target="../tags/tag66.xml"/><Relationship Id="rId6" Type="http://schemas.openxmlformats.org/officeDocument/2006/relationships/chart" Target="../charts/chart47.xml"/><Relationship Id="rId5" Type="http://schemas.openxmlformats.org/officeDocument/2006/relationships/image" Target="../media/image30.emf"/><Relationship Id="rId4" Type="http://schemas.openxmlformats.org/officeDocument/2006/relationships/oleObject" Target="../embeddings/oleObject29.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chart" Target="../charts/chart8.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7.xml"/><Relationship Id="rId1" Type="http://schemas.openxmlformats.org/officeDocument/2006/relationships/tags" Target="../tags/tag67.xml"/><Relationship Id="rId6" Type="http://schemas.openxmlformats.org/officeDocument/2006/relationships/chart" Target="../charts/chart48.xml"/><Relationship Id="rId5" Type="http://schemas.openxmlformats.org/officeDocument/2006/relationships/image" Target="../media/image30.emf"/><Relationship Id="rId4" Type="http://schemas.openxmlformats.org/officeDocument/2006/relationships/oleObject" Target="../embeddings/oleObject29.bin"/></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7.xml"/><Relationship Id="rId1" Type="http://schemas.openxmlformats.org/officeDocument/2006/relationships/tags" Target="../tags/tag68.xml"/><Relationship Id="rId6" Type="http://schemas.openxmlformats.org/officeDocument/2006/relationships/chart" Target="../charts/chart49.xml"/><Relationship Id="rId5" Type="http://schemas.openxmlformats.org/officeDocument/2006/relationships/image" Target="../media/image30.emf"/><Relationship Id="rId4" Type="http://schemas.openxmlformats.org/officeDocument/2006/relationships/oleObject" Target="../embeddings/oleObject29.bin"/></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7.xml"/><Relationship Id="rId1" Type="http://schemas.openxmlformats.org/officeDocument/2006/relationships/tags" Target="../tags/tag69.xml"/><Relationship Id="rId6" Type="http://schemas.openxmlformats.org/officeDocument/2006/relationships/chart" Target="../charts/chart50.xml"/><Relationship Id="rId5" Type="http://schemas.openxmlformats.org/officeDocument/2006/relationships/image" Target="../media/image30.emf"/><Relationship Id="rId4" Type="http://schemas.openxmlformats.org/officeDocument/2006/relationships/oleObject" Target="../embeddings/oleObject29.bin"/></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7.xml"/><Relationship Id="rId1" Type="http://schemas.openxmlformats.org/officeDocument/2006/relationships/tags" Target="../tags/tag70.xml"/><Relationship Id="rId6" Type="http://schemas.openxmlformats.org/officeDocument/2006/relationships/chart" Target="../charts/chart51.xml"/><Relationship Id="rId5" Type="http://schemas.openxmlformats.org/officeDocument/2006/relationships/image" Target="../media/image30.emf"/><Relationship Id="rId4" Type="http://schemas.openxmlformats.org/officeDocument/2006/relationships/oleObject" Target="../embeddings/oleObject29.bin"/></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7.xml"/><Relationship Id="rId1" Type="http://schemas.openxmlformats.org/officeDocument/2006/relationships/tags" Target="../tags/tag71.xml"/><Relationship Id="rId6" Type="http://schemas.openxmlformats.org/officeDocument/2006/relationships/chart" Target="../charts/chart52.xml"/><Relationship Id="rId5" Type="http://schemas.openxmlformats.org/officeDocument/2006/relationships/image" Target="../media/image30.emf"/><Relationship Id="rId4" Type="http://schemas.openxmlformats.org/officeDocument/2006/relationships/oleObject" Target="../embeddings/oleObject29.bin"/></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7.xml"/><Relationship Id="rId1" Type="http://schemas.openxmlformats.org/officeDocument/2006/relationships/tags" Target="../tags/tag72.xml"/><Relationship Id="rId6" Type="http://schemas.openxmlformats.org/officeDocument/2006/relationships/chart" Target="../charts/chart53.xml"/><Relationship Id="rId5" Type="http://schemas.openxmlformats.org/officeDocument/2006/relationships/image" Target="../media/image30.emf"/><Relationship Id="rId4" Type="http://schemas.openxmlformats.org/officeDocument/2006/relationships/oleObject" Target="../embeddings/oleObject29.bin"/></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7.xml"/><Relationship Id="rId1" Type="http://schemas.openxmlformats.org/officeDocument/2006/relationships/tags" Target="../tags/tag73.xml"/><Relationship Id="rId6" Type="http://schemas.openxmlformats.org/officeDocument/2006/relationships/chart" Target="../charts/chart54.xml"/><Relationship Id="rId5" Type="http://schemas.openxmlformats.org/officeDocument/2006/relationships/image" Target="../media/image30.emf"/><Relationship Id="rId4" Type="http://schemas.openxmlformats.org/officeDocument/2006/relationships/oleObject" Target="../embeddings/oleObject29.bin"/></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xml"/><Relationship Id="rId4" Type="http://schemas.openxmlformats.org/officeDocument/2006/relationships/image" Target="../media/image28.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xml"/><Relationship Id="rId4" Type="http://schemas.openxmlformats.org/officeDocument/2006/relationships/image" Target="../media/image28.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chart" Target="../charts/chart10.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xml"/><Relationship Id="rId4" Type="http://schemas.openxmlformats.org/officeDocument/2006/relationships/image" Target="../media/image28.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xml"/><Relationship Id="rId4" Type="http://schemas.openxmlformats.org/officeDocument/2006/relationships/image" Target="../media/image28.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xml"/><Relationship Id="rId4" Type="http://schemas.openxmlformats.org/officeDocument/2006/relationships/image" Target="../media/image28.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xml"/><Relationship Id="rId4" Type="http://schemas.openxmlformats.org/officeDocument/2006/relationships/image" Target="../media/image28.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xml"/><Relationship Id="rId4" Type="http://schemas.openxmlformats.org/officeDocument/2006/relationships/image" Target="../media/image28.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xml"/><Relationship Id="rId4" Type="http://schemas.openxmlformats.org/officeDocument/2006/relationships/image" Target="../media/image28.e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xml"/><Relationship Id="rId4" Type="http://schemas.openxmlformats.org/officeDocument/2006/relationships/image" Target="../media/image28.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xml"/><Relationship Id="rId4" Type="http://schemas.openxmlformats.org/officeDocument/2006/relationships/image" Target="../media/image28.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xml"/><Relationship Id="rId4" Type="http://schemas.openxmlformats.org/officeDocument/2006/relationships/image" Target="../media/image28.emf"/></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chart" Target="../charts/chart12.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1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7.xml"/><Relationship Id="rId4" Type="http://schemas.openxmlformats.org/officeDocument/2006/relationships/image" Target="../media/image28.emf"/></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8.xml"/><Relationship Id="rId4" Type="http://schemas.openxmlformats.org/officeDocument/2006/relationships/image" Target="../media/image28.emf"/></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9.xml"/><Relationship Id="rId4" Type="http://schemas.openxmlformats.org/officeDocument/2006/relationships/image" Target="../media/image28.emf"/></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0.xml"/><Relationship Id="rId4" Type="http://schemas.openxmlformats.org/officeDocument/2006/relationships/image" Target="../media/image28.emf"/></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1.xml"/><Relationship Id="rId4" Type="http://schemas.openxmlformats.org/officeDocument/2006/relationships/image" Target="../media/image28.emf"/></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2.xml"/><Relationship Id="rId4" Type="http://schemas.openxmlformats.org/officeDocument/2006/relationships/image" Target="../media/image28.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xml"/><Relationship Id="rId4" Type="http://schemas.openxmlformats.org/officeDocument/2006/relationships/image" Target="../media/image28.emf"/></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4.xml"/><Relationship Id="rId4" Type="http://schemas.openxmlformats.org/officeDocument/2006/relationships/image" Target="../media/image28.emf"/></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5.xml"/><Relationship Id="rId4" Type="http://schemas.openxmlformats.org/officeDocument/2006/relationships/image" Target="../media/image28.emf"/></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6.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chart" Target="../charts/chart14.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1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7.xml"/><Relationship Id="rId4" Type="http://schemas.openxmlformats.org/officeDocument/2006/relationships/image" Target="../media/image28.emf"/></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8.xml"/><Relationship Id="rId4" Type="http://schemas.openxmlformats.org/officeDocument/2006/relationships/image" Target="../media/image28.emf"/></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9.xml"/><Relationship Id="rId4" Type="http://schemas.openxmlformats.org/officeDocument/2006/relationships/image" Target="../media/image28.emf"/></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0.xml"/><Relationship Id="rId4" Type="http://schemas.openxmlformats.org/officeDocument/2006/relationships/image" Target="../media/image28.emf"/></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1.xml"/><Relationship Id="rId4" Type="http://schemas.openxmlformats.org/officeDocument/2006/relationships/image" Target="../media/image28.emf"/></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2.xml"/><Relationship Id="rId4" Type="http://schemas.openxmlformats.org/officeDocument/2006/relationships/image" Target="../media/image28.emf"/></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3.xml"/><Relationship Id="rId4" Type="http://schemas.openxmlformats.org/officeDocument/2006/relationships/image" Target="../media/image28.emf"/></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4.xml"/><Relationship Id="rId4" Type="http://schemas.openxmlformats.org/officeDocument/2006/relationships/image" Target="../media/image28.emf"/></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5.xml"/><Relationship Id="rId4" Type="http://schemas.openxmlformats.org/officeDocument/2006/relationships/image" Target="../media/image28.emf"/></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6.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chart" Target="../charts/chart16.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1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7.xml"/><Relationship Id="rId4" Type="http://schemas.openxmlformats.org/officeDocument/2006/relationships/image" Target="../media/image28.emf"/></Relationships>
</file>

<file path=ppt/slides/_rels/slide81.xml.rels><?xml version="1.0" encoding="UTF-8" standalone="yes"?>
<Relationships xmlns="http://schemas.openxmlformats.org/package/2006/relationships"><Relationship Id="rId3" Type="http://schemas.openxmlformats.org/officeDocument/2006/relationships/notesSlide" Target="../notesSlides/notesSlide35.xml"/><Relationship Id="rId7" Type="http://schemas.openxmlformats.org/officeDocument/2006/relationships/chart" Target="../charts/chart56.xml"/><Relationship Id="rId2" Type="http://schemas.openxmlformats.org/officeDocument/2006/relationships/slideLayout" Target="../slideLayouts/slideLayout7.xml"/><Relationship Id="rId1" Type="http://schemas.openxmlformats.org/officeDocument/2006/relationships/tags" Target="../tags/tag108.xml"/><Relationship Id="rId6" Type="http://schemas.openxmlformats.org/officeDocument/2006/relationships/chart" Target="../charts/chart5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2.xml.rels><?xml version="1.0" encoding="UTF-8" standalone="yes"?>
<Relationships xmlns="http://schemas.openxmlformats.org/package/2006/relationships"><Relationship Id="rId3" Type="http://schemas.openxmlformats.org/officeDocument/2006/relationships/notesSlide" Target="../notesSlides/notesSlide36.xml"/><Relationship Id="rId7" Type="http://schemas.openxmlformats.org/officeDocument/2006/relationships/chart" Target="../charts/chart58.xml"/><Relationship Id="rId2" Type="http://schemas.openxmlformats.org/officeDocument/2006/relationships/slideLayout" Target="../slideLayouts/slideLayout7.xml"/><Relationship Id="rId1" Type="http://schemas.openxmlformats.org/officeDocument/2006/relationships/tags" Target="../tags/tag109.xml"/><Relationship Id="rId6" Type="http://schemas.openxmlformats.org/officeDocument/2006/relationships/chart" Target="../charts/chart5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3.xml.rels><?xml version="1.0" encoding="UTF-8" standalone="yes"?>
<Relationships xmlns="http://schemas.openxmlformats.org/package/2006/relationships"><Relationship Id="rId3" Type="http://schemas.openxmlformats.org/officeDocument/2006/relationships/notesSlide" Target="../notesSlides/notesSlide37.xml"/><Relationship Id="rId7" Type="http://schemas.openxmlformats.org/officeDocument/2006/relationships/chart" Target="../charts/chart60.xml"/><Relationship Id="rId2" Type="http://schemas.openxmlformats.org/officeDocument/2006/relationships/slideLayout" Target="../slideLayouts/slideLayout7.xml"/><Relationship Id="rId1" Type="http://schemas.openxmlformats.org/officeDocument/2006/relationships/tags" Target="../tags/tag110.xml"/><Relationship Id="rId6" Type="http://schemas.openxmlformats.org/officeDocument/2006/relationships/chart" Target="../charts/chart5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4.xml.rels><?xml version="1.0" encoding="UTF-8" standalone="yes"?>
<Relationships xmlns="http://schemas.openxmlformats.org/package/2006/relationships"><Relationship Id="rId3" Type="http://schemas.openxmlformats.org/officeDocument/2006/relationships/notesSlide" Target="../notesSlides/notesSlide38.xml"/><Relationship Id="rId7" Type="http://schemas.openxmlformats.org/officeDocument/2006/relationships/chart" Target="../charts/chart62.xml"/><Relationship Id="rId2" Type="http://schemas.openxmlformats.org/officeDocument/2006/relationships/slideLayout" Target="../slideLayouts/slideLayout7.xml"/><Relationship Id="rId1" Type="http://schemas.openxmlformats.org/officeDocument/2006/relationships/tags" Target="../tags/tag111.xml"/><Relationship Id="rId6" Type="http://schemas.openxmlformats.org/officeDocument/2006/relationships/chart" Target="../charts/chart6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5.xml.rels><?xml version="1.0" encoding="UTF-8" standalone="yes"?>
<Relationships xmlns="http://schemas.openxmlformats.org/package/2006/relationships"><Relationship Id="rId3" Type="http://schemas.openxmlformats.org/officeDocument/2006/relationships/notesSlide" Target="../notesSlides/notesSlide39.xml"/><Relationship Id="rId7" Type="http://schemas.openxmlformats.org/officeDocument/2006/relationships/chart" Target="../charts/chart64.xml"/><Relationship Id="rId2" Type="http://schemas.openxmlformats.org/officeDocument/2006/relationships/slideLayout" Target="../slideLayouts/slideLayout7.xml"/><Relationship Id="rId1" Type="http://schemas.openxmlformats.org/officeDocument/2006/relationships/tags" Target="../tags/tag112.xml"/><Relationship Id="rId6" Type="http://schemas.openxmlformats.org/officeDocument/2006/relationships/chart" Target="../charts/chart6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6.xml.rels><?xml version="1.0" encoding="UTF-8" standalone="yes"?>
<Relationships xmlns="http://schemas.openxmlformats.org/package/2006/relationships"><Relationship Id="rId3" Type="http://schemas.openxmlformats.org/officeDocument/2006/relationships/notesSlide" Target="../notesSlides/notesSlide40.xml"/><Relationship Id="rId7" Type="http://schemas.openxmlformats.org/officeDocument/2006/relationships/chart" Target="../charts/chart66.xml"/><Relationship Id="rId2" Type="http://schemas.openxmlformats.org/officeDocument/2006/relationships/slideLayout" Target="../slideLayouts/slideLayout7.xml"/><Relationship Id="rId1" Type="http://schemas.openxmlformats.org/officeDocument/2006/relationships/tags" Target="../tags/tag113.xml"/><Relationship Id="rId6" Type="http://schemas.openxmlformats.org/officeDocument/2006/relationships/chart" Target="../charts/chart6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7.xml.rels><?xml version="1.0" encoding="UTF-8" standalone="yes"?>
<Relationships xmlns="http://schemas.openxmlformats.org/package/2006/relationships"><Relationship Id="rId3" Type="http://schemas.openxmlformats.org/officeDocument/2006/relationships/notesSlide" Target="../notesSlides/notesSlide41.xml"/><Relationship Id="rId7" Type="http://schemas.openxmlformats.org/officeDocument/2006/relationships/chart" Target="../charts/chart68.xml"/><Relationship Id="rId2" Type="http://schemas.openxmlformats.org/officeDocument/2006/relationships/slideLayout" Target="../slideLayouts/slideLayout7.xml"/><Relationship Id="rId1" Type="http://schemas.openxmlformats.org/officeDocument/2006/relationships/tags" Target="../tags/tag114.xml"/><Relationship Id="rId6" Type="http://schemas.openxmlformats.org/officeDocument/2006/relationships/chart" Target="../charts/chart6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8.xml.rels><?xml version="1.0" encoding="UTF-8" standalone="yes"?>
<Relationships xmlns="http://schemas.openxmlformats.org/package/2006/relationships"><Relationship Id="rId3" Type="http://schemas.openxmlformats.org/officeDocument/2006/relationships/notesSlide" Target="../notesSlides/notesSlide42.xml"/><Relationship Id="rId7" Type="http://schemas.openxmlformats.org/officeDocument/2006/relationships/chart" Target="../charts/chart70.xml"/><Relationship Id="rId2" Type="http://schemas.openxmlformats.org/officeDocument/2006/relationships/slideLayout" Target="../slideLayouts/slideLayout7.xml"/><Relationship Id="rId1" Type="http://schemas.openxmlformats.org/officeDocument/2006/relationships/tags" Target="../tags/tag115.xml"/><Relationship Id="rId6" Type="http://schemas.openxmlformats.org/officeDocument/2006/relationships/chart" Target="../charts/chart6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9.xml.rels><?xml version="1.0" encoding="UTF-8" standalone="yes"?>
<Relationships xmlns="http://schemas.openxmlformats.org/package/2006/relationships"><Relationship Id="rId3" Type="http://schemas.openxmlformats.org/officeDocument/2006/relationships/notesSlide" Target="../notesSlides/notesSlide43.xml"/><Relationship Id="rId7" Type="http://schemas.openxmlformats.org/officeDocument/2006/relationships/chart" Target="../charts/chart72.xml"/><Relationship Id="rId2" Type="http://schemas.openxmlformats.org/officeDocument/2006/relationships/slideLayout" Target="../slideLayouts/slideLayout7.xml"/><Relationship Id="rId1" Type="http://schemas.openxmlformats.org/officeDocument/2006/relationships/tags" Target="../tags/tag116.xml"/><Relationship Id="rId6" Type="http://schemas.openxmlformats.org/officeDocument/2006/relationships/chart" Target="../charts/chart7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chart" Target="../charts/chart18.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1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0.xml.rels><?xml version="1.0" encoding="UTF-8" standalone="yes"?>
<Relationships xmlns="http://schemas.openxmlformats.org/package/2006/relationships"><Relationship Id="rId3" Type="http://schemas.openxmlformats.org/officeDocument/2006/relationships/notesSlide" Target="../notesSlides/notesSlide44.xml"/><Relationship Id="rId7" Type="http://schemas.openxmlformats.org/officeDocument/2006/relationships/chart" Target="../charts/chart74.xml"/><Relationship Id="rId2" Type="http://schemas.openxmlformats.org/officeDocument/2006/relationships/slideLayout" Target="../slideLayouts/slideLayout7.xml"/><Relationship Id="rId1" Type="http://schemas.openxmlformats.org/officeDocument/2006/relationships/tags" Target="../tags/tag117.xml"/><Relationship Id="rId6" Type="http://schemas.openxmlformats.org/officeDocument/2006/relationships/chart" Target="../charts/chart7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1.xml.rels><?xml version="1.0" encoding="UTF-8" standalone="yes"?>
<Relationships xmlns="http://schemas.openxmlformats.org/package/2006/relationships"><Relationship Id="rId3" Type="http://schemas.openxmlformats.org/officeDocument/2006/relationships/notesSlide" Target="../notesSlides/notesSlide45.xml"/><Relationship Id="rId7" Type="http://schemas.openxmlformats.org/officeDocument/2006/relationships/chart" Target="../charts/chart76.xml"/><Relationship Id="rId2" Type="http://schemas.openxmlformats.org/officeDocument/2006/relationships/slideLayout" Target="../slideLayouts/slideLayout7.xml"/><Relationship Id="rId1" Type="http://schemas.openxmlformats.org/officeDocument/2006/relationships/tags" Target="../tags/tag118.xml"/><Relationship Id="rId6" Type="http://schemas.openxmlformats.org/officeDocument/2006/relationships/chart" Target="../charts/chart7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2.xml.rels><?xml version="1.0" encoding="UTF-8" standalone="yes"?>
<Relationships xmlns="http://schemas.openxmlformats.org/package/2006/relationships"><Relationship Id="rId3" Type="http://schemas.openxmlformats.org/officeDocument/2006/relationships/notesSlide" Target="../notesSlides/notesSlide46.xml"/><Relationship Id="rId7" Type="http://schemas.openxmlformats.org/officeDocument/2006/relationships/chart" Target="../charts/chart78.xml"/><Relationship Id="rId2" Type="http://schemas.openxmlformats.org/officeDocument/2006/relationships/slideLayout" Target="../slideLayouts/slideLayout7.xml"/><Relationship Id="rId1" Type="http://schemas.openxmlformats.org/officeDocument/2006/relationships/tags" Target="../tags/tag119.xml"/><Relationship Id="rId6" Type="http://schemas.openxmlformats.org/officeDocument/2006/relationships/chart" Target="../charts/chart7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3.xml.rels><?xml version="1.0" encoding="UTF-8" standalone="yes"?>
<Relationships xmlns="http://schemas.openxmlformats.org/package/2006/relationships"><Relationship Id="rId3" Type="http://schemas.openxmlformats.org/officeDocument/2006/relationships/notesSlide" Target="../notesSlides/notesSlide47.xml"/><Relationship Id="rId7" Type="http://schemas.openxmlformats.org/officeDocument/2006/relationships/chart" Target="../charts/chart80.xml"/><Relationship Id="rId2" Type="http://schemas.openxmlformats.org/officeDocument/2006/relationships/slideLayout" Target="../slideLayouts/slideLayout7.xml"/><Relationship Id="rId1" Type="http://schemas.openxmlformats.org/officeDocument/2006/relationships/tags" Target="../tags/tag120.xml"/><Relationship Id="rId6" Type="http://schemas.openxmlformats.org/officeDocument/2006/relationships/chart" Target="../charts/chart7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4.xml.rels><?xml version="1.0" encoding="UTF-8" standalone="yes"?>
<Relationships xmlns="http://schemas.openxmlformats.org/package/2006/relationships"><Relationship Id="rId3" Type="http://schemas.openxmlformats.org/officeDocument/2006/relationships/notesSlide" Target="../notesSlides/notesSlide48.xml"/><Relationship Id="rId7" Type="http://schemas.openxmlformats.org/officeDocument/2006/relationships/chart" Target="../charts/chart82.xml"/><Relationship Id="rId2" Type="http://schemas.openxmlformats.org/officeDocument/2006/relationships/slideLayout" Target="../slideLayouts/slideLayout7.xml"/><Relationship Id="rId1" Type="http://schemas.openxmlformats.org/officeDocument/2006/relationships/tags" Target="../tags/tag121.xml"/><Relationship Id="rId6" Type="http://schemas.openxmlformats.org/officeDocument/2006/relationships/chart" Target="../charts/chart8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5.xml.rels><?xml version="1.0" encoding="UTF-8" standalone="yes"?>
<Relationships xmlns="http://schemas.openxmlformats.org/package/2006/relationships"><Relationship Id="rId3" Type="http://schemas.openxmlformats.org/officeDocument/2006/relationships/notesSlide" Target="../notesSlides/notesSlide49.xml"/><Relationship Id="rId7" Type="http://schemas.openxmlformats.org/officeDocument/2006/relationships/chart" Target="../charts/chart84.xml"/><Relationship Id="rId2" Type="http://schemas.openxmlformats.org/officeDocument/2006/relationships/slideLayout" Target="../slideLayouts/slideLayout7.xml"/><Relationship Id="rId1" Type="http://schemas.openxmlformats.org/officeDocument/2006/relationships/tags" Target="../tags/tag122.xml"/><Relationship Id="rId6" Type="http://schemas.openxmlformats.org/officeDocument/2006/relationships/chart" Target="../charts/chart8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6.xml.rels><?xml version="1.0" encoding="UTF-8" standalone="yes"?>
<Relationships xmlns="http://schemas.openxmlformats.org/package/2006/relationships"><Relationship Id="rId3" Type="http://schemas.openxmlformats.org/officeDocument/2006/relationships/notesSlide" Target="../notesSlides/notesSlide50.xml"/><Relationship Id="rId7" Type="http://schemas.openxmlformats.org/officeDocument/2006/relationships/chart" Target="../charts/chart86.xml"/><Relationship Id="rId2" Type="http://schemas.openxmlformats.org/officeDocument/2006/relationships/slideLayout" Target="../slideLayouts/slideLayout7.xml"/><Relationship Id="rId1" Type="http://schemas.openxmlformats.org/officeDocument/2006/relationships/tags" Target="../tags/tag123.xml"/><Relationship Id="rId6" Type="http://schemas.openxmlformats.org/officeDocument/2006/relationships/chart" Target="../charts/chart8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7.xml.rels><?xml version="1.0" encoding="UTF-8" standalone="yes"?>
<Relationships xmlns="http://schemas.openxmlformats.org/package/2006/relationships"><Relationship Id="rId3" Type="http://schemas.openxmlformats.org/officeDocument/2006/relationships/notesSlide" Target="../notesSlides/notesSlide51.xml"/><Relationship Id="rId7" Type="http://schemas.openxmlformats.org/officeDocument/2006/relationships/chart" Target="../charts/chart88.xml"/><Relationship Id="rId2" Type="http://schemas.openxmlformats.org/officeDocument/2006/relationships/slideLayout" Target="../slideLayouts/slideLayout7.xml"/><Relationship Id="rId1" Type="http://schemas.openxmlformats.org/officeDocument/2006/relationships/tags" Target="../tags/tag124.xml"/><Relationship Id="rId6" Type="http://schemas.openxmlformats.org/officeDocument/2006/relationships/chart" Target="../charts/chart8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8.xml.rels><?xml version="1.0" encoding="UTF-8" standalone="yes"?>
<Relationships xmlns="http://schemas.openxmlformats.org/package/2006/relationships"><Relationship Id="rId3" Type="http://schemas.openxmlformats.org/officeDocument/2006/relationships/notesSlide" Target="../notesSlides/notesSlide52.xml"/><Relationship Id="rId7" Type="http://schemas.openxmlformats.org/officeDocument/2006/relationships/chart" Target="../charts/chart90.xml"/><Relationship Id="rId2" Type="http://schemas.openxmlformats.org/officeDocument/2006/relationships/slideLayout" Target="../slideLayouts/slideLayout7.xml"/><Relationship Id="rId1" Type="http://schemas.openxmlformats.org/officeDocument/2006/relationships/tags" Target="../tags/tag125.xml"/><Relationship Id="rId6" Type="http://schemas.openxmlformats.org/officeDocument/2006/relationships/chart" Target="../charts/chart8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9.xml.rels><?xml version="1.0" encoding="UTF-8" standalone="yes"?>
<Relationships xmlns="http://schemas.openxmlformats.org/package/2006/relationships"><Relationship Id="rId3" Type="http://schemas.openxmlformats.org/officeDocument/2006/relationships/notesSlide" Target="../notesSlides/notesSlide53.xml"/><Relationship Id="rId7" Type="http://schemas.openxmlformats.org/officeDocument/2006/relationships/chart" Target="../charts/chart92.xml"/><Relationship Id="rId2" Type="http://schemas.openxmlformats.org/officeDocument/2006/relationships/slideLayout" Target="../slideLayouts/slideLayout7.xml"/><Relationship Id="rId1" Type="http://schemas.openxmlformats.org/officeDocument/2006/relationships/tags" Target="../tags/tag126.xml"/><Relationship Id="rId6" Type="http://schemas.openxmlformats.org/officeDocument/2006/relationships/chart" Target="../charts/chart91.xml"/><Relationship Id="rId5" Type="http://schemas.openxmlformats.org/officeDocument/2006/relationships/image" Target="../media/image28.emf"/><Relationship Id="rId4" Type="http://schemas.openxmlformats.org/officeDocument/2006/relationships/oleObject" Target="../embeddings/oleObject2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8/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Manual Shave Men | Bj's And Sam's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6"/>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1079921">
                <a:tc>
                  <a:txBody>
                    <a:bodyPr/>
                    <a:lstStyle/>
                    <a:p>
                      <a:pPr algn="ctr">
                        <a:defRPr sz="800">
                          <a:latin typeface="Nexa Bold"/>
                        </a:defRPr>
                      </a:pPr>
                      <a:r>
                        <a:t>Gille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285,49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1079921">
                <a:tc>
                  <a:txBody>
                    <a:bodyPr/>
                    <a:lstStyle/>
                    <a:p>
                      <a:pPr algn="ctr">
                        <a:defRPr sz="800">
                          <a:latin typeface="Nexa Bold"/>
                        </a:defRPr>
                      </a:pPr>
                      <a:r>
                        <a:t>Schick</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52,87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1079921">
                <a:tc>
                  <a:txBody>
                    <a:bodyPr/>
                    <a:lstStyle/>
                    <a:p>
                      <a:pPr algn="ctr">
                        <a:defRPr sz="800">
                          <a:latin typeface="Nexa Bold"/>
                        </a:defRPr>
                      </a:pPr>
                      <a:r>
                        <a:t>Harry'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2,56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9524914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8/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Bj's And Sam's | Refills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7"/>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3239764">
                <a:tc>
                  <a:txBody>
                    <a:bodyPr/>
                    <a:lstStyle/>
                    <a:p>
                      <a:pPr algn="ctr">
                        <a:defRPr sz="800">
                          <a:latin typeface="Nexa Bold"/>
                        </a:defRPr>
                      </a:pPr>
                      <a:r>
                        <a:t>Gille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005,34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910672813"/>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8/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0</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Walmart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Sector</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Cremo</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4909">
                <a:tc>
                  <a:txBody>
                    <a:bodyPr/>
                    <a:lstStyle/>
                    <a:p>
                      <a:pPr algn="ctr">
                        <a:defRPr sz="800">
                          <a:latin typeface="Nexa Bold"/>
                        </a:defRPr>
                      </a:pPr>
                      <a:r>
                        <a:rPr sz="800">
                          <a:latin typeface="Nexa Bold"/>
                        </a:rPr>
                        <a:t>System</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a:solidFill>
                          <a:srgbClr val="575555"/>
                        </a:solidFill>
                        <a:latin typeface="Nexa Book" panose="00000400000000000000" pitchFamily="50"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819674815"/>
                  </a:ext>
                </a:extLst>
              </a:tr>
              <a:tr h="804909">
                <a:tc>
                  <a:txBody>
                    <a:bodyPr/>
                    <a:lstStyle/>
                    <a:p>
                      <a:pPr algn="ctr">
                        <a:defRPr sz="800">
                          <a:latin typeface="Nexa Bold"/>
                        </a:defRPr>
                      </a:pPr>
                      <a:r>
                        <a:rPr sz="800">
                          <a:latin typeface="Nexa Bold"/>
                        </a:rPr>
                        <a:t>Hybrid</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67708359"/>
                  </a:ext>
                </a:extLst>
              </a:tr>
              <a:tr h="804909">
                <a:tc>
                  <a:txBody>
                    <a:bodyPr/>
                    <a:lstStyle/>
                    <a:p>
                      <a:pPr algn="ctr">
                        <a:defRPr sz="800">
                          <a:latin typeface="Nexa Bold"/>
                        </a:defRPr>
                      </a:pPr>
                      <a:r>
                        <a:rPr sz="800">
                          <a:latin typeface="Nexa Bold"/>
                        </a:rPr>
                        <a:t>Razor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0741977"/>
                  </a:ext>
                </a:extLst>
              </a:tr>
              <a:tr h="804909">
                <a:tc>
                  <a:txBody>
                    <a:bodyPr/>
                    <a:lstStyle/>
                    <a:p>
                      <a:pPr algn="ctr">
                        <a:defRPr sz="800">
                          <a:latin typeface="Nexa Bold"/>
                        </a:defRPr>
                      </a:pPr>
                      <a:r>
                        <a:rPr sz="800">
                          <a:latin typeface="Nexa Bold"/>
                        </a:rPr>
                        <a:t>Refill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867866859"/>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8/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Walmart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Sector</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Edgewell Personal Care</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4909">
                <a:tc>
                  <a:txBody>
                    <a:bodyPr/>
                    <a:lstStyle/>
                    <a:p>
                      <a:pPr algn="ctr">
                        <a:defRPr sz="800">
                          <a:latin typeface="Nexa Bold"/>
                        </a:defRPr>
                      </a:pPr>
                      <a:r>
                        <a:rPr sz="800">
                          <a:latin typeface="Nexa Bold"/>
                        </a:rPr>
                        <a:t>System</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a:solidFill>
                          <a:srgbClr val="575555"/>
                        </a:solidFill>
                        <a:latin typeface="Nexa Book" panose="00000400000000000000" pitchFamily="50"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819674815"/>
                  </a:ext>
                </a:extLst>
              </a:tr>
              <a:tr h="804909">
                <a:tc>
                  <a:txBody>
                    <a:bodyPr/>
                    <a:lstStyle/>
                    <a:p>
                      <a:pPr algn="ctr">
                        <a:defRPr sz="800">
                          <a:latin typeface="Nexa Bold"/>
                        </a:defRPr>
                      </a:pPr>
                      <a:r>
                        <a:rPr sz="800">
                          <a:latin typeface="Nexa Bold"/>
                        </a:rPr>
                        <a:t>Hybrid</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67708359"/>
                  </a:ext>
                </a:extLst>
              </a:tr>
              <a:tr h="804909">
                <a:tc>
                  <a:txBody>
                    <a:bodyPr/>
                    <a:lstStyle/>
                    <a:p>
                      <a:pPr algn="ctr">
                        <a:defRPr sz="800">
                          <a:latin typeface="Nexa Bold"/>
                        </a:defRPr>
                      </a:pPr>
                      <a:r>
                        <a:rPr sz="800">
                          <a:latin typeface="Nexa Bold"/>
                        </a:rPr>
                        <a:t>Razor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0741977"/>
                  </a:ext>
                </a:extLst>
              </a:tr>
              <a:tr h="804909">
                <a:tc>
                  <a:txBody>
                    <a:bodyPr/>
                    <a:lstStyle/>
                    <a:p>
                      <a:pPr algn="ctr">
                        <a:defRPr sz="800">
                          <a:latin typeface="Nexa Bold"/>
                        </a:defRPr>
                      </a:pPr>
                      <a:r>
                        <a:rPr sz="800">
                          <a:latin typeface="Nexa Bold"/>
                        </a:rPr>
                        <a:t>Refill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621008040"/>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8/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rPr lang="da-DK" dirty="0"/>
              <a:t>Data Source l Trade Panel l Ending March 2022</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r>
              <a:rPr lang="en-US"/>
              <a:t>Volume Sold on Deal | National | P12M</a:t>
            </a:r>
            <a:endParaRPr lang="en-CH"/>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Category</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err="1">
                          <a:solidFill>
                            <a:schemeClr val="tx2"/>
                          </a:solidFill>
                          <a:latin typeface="Nexa Bold" panose="00000800000000000000" pitchFamily="2" charset="0"/>
                        </a:rPr>
                        <a:t>Gerolsteiner</a:t>
                      </a:r>
                      <a:endParaRPr lang="en-US" sz="900" b="0" i="0" dirty="0">
                        <a:solidFill>
                          <a:schemeClr val="tx2"/>
                        </a:solidFill>
                        <a:latin typeface="Nexa Bold" panose="000008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dirty="0">
                          <a:solidFill>
                            <a:schemeClr val="tx2"/>
                          </a:solidFill>
                          <a:latin typeface="Nexa Bold" panose="00000800000000000000" pitchFamily="2" charset="0"/>
                          <a:ea typeface="+mn-ea"/>
                          <a:cs typeface="+mn-cs"/>
                        </a:rPr>
                        <a:t>Volume</a:t>
                      </a:r>
                      <a:r>
                        <a:rPr lang="en-US" sz="900" b="0" i="0" dirty="0">
                          <a:solidFill>
                            <a:schemeClr val="tx2"/>
                          </a:solidFill>
                          <a:latin typeface="Nexa Bold" panose="00000800000000000000" pitchFamily="2" charset="0"/>
                        </a:rPr>
                        <a:t>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59948">
                <a:tc>
                  <a:txBody>
                    <a:bodyPr/>
                    <a:lstStyle/>
                    <a:p>
                      <a:pPr algn="ctr" fontAlgn="b"/>
                      <a:r>
                        <a:rPr lang="en-US" sz="800" b="0" i="0" dirty="0">
                          <a:solidFill>
                            <a:srgbClr val="575555"/>
                          </a:solidFill>
                          <a:latin typeface="Nexa Bold" panose="00000800000000000000" pitchFamily="2" charset="0"/>
                        </a:rPr>
                        <a:t>Categor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165046662"/>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1</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u="none" strike="noStrike">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2</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3</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a:solidFill>
                          <a:srgbClr val="575555"/>
                        </a:solidFill>
                        <a:latin typeface="Nexa Book" panose="00000400000000000000" pitchFamily="50"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459948">
                <a:tc>
                  <a:txBody>
                    <a:bodyPr/>
                    <a:lstStyle/>
                    <a:p>
                      <a:pPr algn="ctr" fontAlgn="b"/>
                      <a:r>
                        <a:rPr lang="en-US" sz="800" b="0" i="0">
                          <a:solidFill>
                            <a:srgbClr val="575555"/>
                          </a:solidFill>
                          <a:latin typeface="Nexa Bold" panose="00000800000000000000" pitchFamily="2" charset="0"/>
                        </a:rPr>
                        <a:t>Sector 4</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67708359"/>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5</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0741977"/>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6</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314140710"/>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8/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3</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rPr lang="da-DK" dirty="0"/>
              <a:t>Data Source l Trade Panel l Ending March 2022</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r>
              <a:rPr lang="en-US"/>
              <a:t>Volume Sold on Deal | National | P12M</a:t>
            </a:r>
            <a:endParaRPr lang="en-CH"/>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Category</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err="1">
                          <a:solidFill>
                            <a:schemeClr val="tx2"/>
                          </a:solidFill>
                          <a:latin typeface="Nexa Bold" panose="00000800000000000000" pitchFamily="2" charset="0"/>
                        </a:rPr>
                        <a:t>Gerolsteiner</a:t>
                      </a:r>
                      <a:endParaRPr lang="en-US" sz="900" b="0" i="0" dirty="0">
                        <a:solidFill>
                          <a:schemeClr val="tx2"/>
                        </a:solidFill>
                        <a:latin typeface="Nexa Bold" panose="000008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dirty="0">
                          <a:solidFill>
                            <a:schemeClr val="tx2"/>
                          </a:solidFill>
                          <a:latin typeface="Nexa Bold" panose="00000800000000000000" pitchFamily="2" charset="0"/>
                          <a:ea typeface="+mn-ea"/>
                          <a:cs typeface="+mn-cs"/>
                        </a:rPr>
                        <a:t>Volume</a:t>
                      </a:r>
                      <a:r>
                        <a:rPr lang="en-US" sz="900" b="0" i="0" dirty="0">
                          <a:solidFill>
                            <a:schemeClr val="tx2"/>
                          </a:solidFill>
                          <a:latin typeface="Nexa Bold" panose="00000800000000000000" pitchFamily="2" charset="0"/>
                        </a:rPr>
                        <a:t>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59948">
                <a:tc>
                  <a:txBody>
                    <a:bodyPr/>
                    <a:lstStyle/>
                    <a:p>
                      <a:pPr algn="ctr" fontAlgn="b"/>
                      <a:r>
                        <a:rPr lang="en-US" sz="800" b="0" i="0" dirty="0">
                          <a:solidFill>
                            <a:srgbClr val="575555"/>
                          </a:solidFill>
                          <a:latin typeface="Nexa Bold" panose="00000800000000000000" pitchFamily="2" charset="0"/>
                        </a:rPr>
                        <a:t>Categor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165046662"/>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1</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u="none" strike="noStrike">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2</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3</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a:solidFill>
                          <a:srgbClr val="575555"/>
                        </a:solidFill>
                        <a:latin typeface="Nexa Book" panose="00000400000000000000" pitchFamily="50"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459948">
                <a:tc>
                  <a:txBody>
                    <a:bodyPr/>
                    <a:lstStyle/>
                    <a:p>
                      <a:pPr algn="ctr" fontAlgn="b"/>
                      <a:r>
                        <a:rPr lang="en-US" sz="800" b="0" i="0">
                          <a:solidFill>
                            <a:srgbClr val="575555"/>
                          </a:solidFill>
                          <a:latin typeface="Nexa Bold" panose="00000800000000000000" pitchFamily="2" charset="0"/>
                        </a:rPr>
                        <a:t>Sector 4</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67708359"/>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5</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0741977"/>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6</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463753049"/>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8/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4</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Bj's And Sam's | Manual Shave Men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2343600">
                  <a:extLst>
                    <a:ext uri="{9D8B030D-6E8A-4147-A177-3AD203B41FA5}">
                      <a16:colId xmlns:a16="http://schemas.microsoft.com/office/drawing/2014/main" val="2451050549"/>
                    </a:ext>
                  </a:extLst>
                </a:gridCol>
                <a:gridCol w="2343600">
                  <a:extLst>
                    <a:ext uri="{9D8B030D-6E8A-4147-A177-3AD203B41FA5}">
                      <a16:colId xmlns:a16="http://schemas.microsoft.com/office/drawing/2014/main" val="3743842659"/>
                    </a:ext>
                  </a:extLst>
                </a:gridCol>
                <a:gridCol w="2343600">
                  <a:extLst>
                    <a:ext uri="{9D8B030D-6E8A-4147-A177-3AD203B41FA5}">
                      <a16:colId xmlns:a16="http://schemas.microsoft.com/office/drawing/2014/main" val="1716960848"/>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84</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42228457"/>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8/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5</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Walmart | Manual Shave Men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878850">
                  <a:extLst>
                    <a:ext uri="{9D8B030D-6E8A-4147-A177-3AD203B41FA5}">
                      <a16:colId xmlns:a16="http://schemas.microsoft.com/office/drawing/2014/main" val="2451050549"/>
                    </a:ext>
                  </a:extLst>
                </a:gridCol>
                <a:gridCol w="878850">
                  <a:extLst>
                    <a:ext uri="{9D8B030D-6E8A-4147-A177-3AD203B41FA5}">
                      <a16:colId xmlns:a16="http://schemas.microsoft.com/office/drawing/2014/main" val="3743842659"/>
                    </a:ext>
                  </a:extLst>
                </a:gridCol>
                <a:gridCol w="878850">
                  <a:extLst>
                    <a:ext uri="{9D8B030D-6E8A-4147-A177-3AD203B41FA5}">
                      <a16:colId xmlns:a16="http://schemas.microsoft.com/office/drawing/2014/main" val="1716960848"/>
                    </a:ext>
                  </a:extLst>
                </a:gridCol>
                <a:gridCol w="878850">
                  <a:extLst>
                    <a:ext uri="{9D8B030D-6E8A-4147-A177-3AD203B41FA5}">
                      <a16:colId xmlns:a16="http://schemas.microsoft.com/office/drawing/2014/main" val="4242029335"/>
                    </a:ext>
                  </a:extLst>
                </a:gridCol>
                <a:gridCol w="878850">
                  <a:extLst>
                    <a:ext uri="{9D8B030D-6E8A-4147-A177-3AD203B41FA5}">
                      <a16:colId xmlns:a16="http://schemas.microsoft.com/office/drawing/2014/main" val="634327948"/>
                    </a:ext>
                  </a:extLst>
                </a:gridCol>
                <a:gridCol w="878850">
                  <a:extLst>
                    <a:ext uri="{9D8B030D-6E8A-4147-A177-3AD203B41FA5}">
                      <a16:colId xmlns:a16="http://schemas.microsoft.com/office/drawing/2014/main" val="2808580565"/>
                    </a:ext>
                  </a:extLst>
                </a:gridCol>
                <a:gridCol w="878850">
                  <a:extLst>
                    <a:ext uri="{9D8B030D-6E8A-4147-A177-3AD203B41FA5}">
                      <a16:colId xmlns:a16="http://schemas.microsoft.com/office/drawing/2014/main" val="3520163122"/>
                    </a:ext>
                  </a:extLst>
                </a:gridCol>
                <a:gridCol w="878850">
                  <a:extLst>
                    <a:ext uri="{9D8B030D-6E8A-4147-A177-3AD203B41FA5}">
                      <a16:colId xmlns:a16="http://schemas.microsoft.com/office/drawing/2014/main" val="3232700978"/>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72</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67</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8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35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84</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3</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79</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52208399"/>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8/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6</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System | Bj's And Sam'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3515400">
                  <a:extLst>
                    <a:ext uri="{9D8B030D-6E8A-4147-A177-3AD203B41FA5}">
                      <a16:colId xmlns:a16="http://schemas.microsoft.com/office/drawing/2014/main" val="2451050549"/>
                    </a:ext>
                  </a:extLst>
                </a:gridCol>
                <a:gridCol w="3515400">
                  <a:extLst>
                    <a:ext uri="{9D8B030D-6E8A-4147-A177-3AD203B41FA5}">
                      <a16:colId xmlns:a16="http://schemas.microsoft.com/office/drawing/2014/main" val="3743842659"/>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83</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666878824"/>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8/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7</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Disposables | Bj's And Sam'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2343600">
                  <a:extLst>
                    <a:ext uri="{9D8B030D-6E8A-4147-A177-3AD203B41FA5}">
                      <a16:colId xmlns:a16="http://schemas.microsoft.com/office/drawing/2014/main" val="2451050549"/>
                    </a:ext>
                  </a:extLst>
                </a:gridCol>
                <a:gridCol w="2343600">
                  <a:extLst>
                    <a:ext uri="{9D8B030D-6E8A-4147-A177-3AD203B41FA5}">
                      <a16:colId xmlns:a16="http://schemas.microsoft.com/office/drawing/2014/main" val="3743842659"/>
                    </a:ext>
                  </a:extLst>
                </a:gridCol>
                <a:gridCol w="2343600">
                  <a:extLst>
                    <a:ext uri="{9D8B030D-6E8A-4147-A177-3AD203B41FA5}">
                      <a16:colId xmlns:a16="http://schemas.microsoft.com/office/drawing/2014/main" val="1716960848"/>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90</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018412800"/>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8/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8</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System | Walmart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878850">
                  <a:extLst>
                    <a:ext uri="{9D8B030D-6E8A-4147-A177-3AD203B41FA5}">
                      <a16:colId xmlns:a16="http://schemas.microsoft.com/office/drawing/2014/main" val="2451050549"/>
                    </a:ext>
                  </a:extLst>
                </a:gridCol>
                <a:gridCol w="878850">
                  <a:extLst>
                    <a:ext uri="{9D8B030D-6E8A-4147-A177-3AD203B41FA5}">
                      <a16:colId xmlns:a16="http://schemas.microsoft.com/office/drawing/2014/main" val="3743842659"/>
                    </a:ext>
                  </a:extLst>
                </a:gridCol>
                <a:gridCol w="878850">
                  <a:extLst>
                    <a:ext uri="{9D8B030D-6E8A-4147-A177-3AD203B41FA5}">
                      <a16:colId xmlns:a16="http://schemas.microsoft.com/office/drawing/2014/main" val="1716960848"/>
                    </a:ext>
                  </a:extLst>
                </a:gridCol>
                <a:gridCol w="878850">
                  <a:extLst>
                    <a:ext uri="{9D8B030D-6E8A-4147-A177-3AD203B41FA5}">
                      <a16:colId xmlns:a16="http://schemas.microsoft.com/office/drawing/2014/main" val="4242029335"/>
                    </a:ext>
                  </a:extLst>
                </a:gridCol>
                <a:gridCol w="878850">
                  <a:extLst>
                    <a:ext uri="{9D8B030D-6E8A-4147-A177-3AD203B41FA5}">
                      <a16:colId xmlns:a16="http://schemas.microsoft.com/office/drawing/2014/main" val="634327948"/>
                    </a:ext>
                  </a:extLst>
                </a:gridCol>
                <a:gridCol w="878850">
                  <a:extLst>
                    <a:ext uri="{9D8B030D-6E8A-4147-A177-3AD203B41FA5}">
                      <a16:colId xmlns:a16="http://schemas.microsoft.com/office/drawing/2014/main" val="2808580565"/>
                    </a:ext>
                  </a:extLst>
                </a:gridCol>
                <a:gridCol w="878850">
                  <a:extLst>
                    <a:ext uri="{9D8B030D-6E8A-4147-A177-3AD203B41FA5}">
                      <a16:colId xmlns:a16="http://schemas.microsoft.com/office/drawing/2014/main" val="3520163122"/>
                    </a:ext>
                  </a:extLst>
                </a:gridCol>
                <a:gridCol w="878850">
                  <a:extLst>
                    <a:ext uri="{9D8B030D-6E8A-4147-A177-3AD203B41FA5}">
                      <a16:colId xmlns:a16="http://schemas.microsoft.com/office/drawing/2014/main" val="3232700978"/>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86</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09</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44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4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53</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3</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37</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738957820"/>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8/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9</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Disposables | Walmart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1757700">
                  <a:extLst>
                    <a:ext uri="{9D8B030D-6E8A-4147-A177-3AD203B41FA5}">
                      <a16:colId xmlns:a16="http://schemas.microsoft.com/office/drawing/2014/main" val="2451050549"/>
                    </a:ext>
                  </a:extLst>
                </a:gridCol>
                <a:gridCol w="1757700">
                  <a:extLst>
                    <a:ext uri="{9D8B030D-6E8A-4147-A177-3AD203B41FA5}">
                      <a16:colId xmlns:a16="http://schemas.microsoft.com/office/drawing/2014/main" val="3743842659"/>
                    </a:ext>
                  </a:extLst>
                </a:gridCol>
                <a:gridCol w="1757700">
                  <a:extLst>
                    <a:ext uri="{9D8B030D-6E8A-4147-A177-3AD203B41FA5}">
                      <a16:colId xmlns:a16="http://schemas.microsoft.com/office/drawing/2014/main" val="1716960848"/>
                    </a:ext>
                  </a:extLst>
                </a:gridCol>
                <a:gridCol w="1757700">
                  <a:extLst>
                    <a:ext uri="{9D8B030D-6E8A-4147-A177-3AD203B41FA5}">
                      <a16:colId xmlns:a16="http://schemas.microsoft.com/office/drawing/2014/main" val="4242029335"/>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2</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7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37</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348</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0307757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8/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Walmart | Razors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3"/>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539960">
                <a:tc>
                  <a:txBody>
                    <a:bodyPr/>
                    <a:lstStyle/>
                    <a:p>
                      <a:pPr algn="ctr">
                        <a:defRPr sz="800">
                          <a:latin typeface="Nexa Bold"/>
                        </a:defRPr>
                      </a:pPr>
                      <a:r>
                        <a:t>Gille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6,219,90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2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539960">
                <a:tc>
                  <a:txBody>
                    <a:bodyPr/>
                    <a:lstStyle/>
                    <a:p>
                      <a:pPr algn="ctr">
                        <a:defRPr sz="800">
                          <a:latin typeface="Nexa Bold"/>
                        </a:defRPr>
                      </a:pPr>
                      <a:r>
                        <a:t>Schick</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70,20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539960">
                <a:tc>
                  <a:txBody>
                    <a:bodyPr/>
                    <a:lstStyle/>
                    <a:p>
                      <a:pPr algn="ctr">
                        <a:defRPr sz="800">
                          <a:latin typeface="Nexa Bold"/>
                        </a:defRPr>
                      </a:pPr>
                      <a:r>
                        <a:t>Dollar Shave Club</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9,50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539960">
                <a:tc>
                  <a:txBody>
                    <a:bodyPr/>
                    <a:lstStyle/>
                    <a:p>
                      <a:pPr algn="ctr">
                        <a:defRPr sz="800">
                          <a:latin typeface="Nexa Bold"/>
                        </a:defRPr>
                      </a:pPr>
                      <a:r>
                        <a:t>Harry'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1,93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539960">
                <a:tc>
                  <a:txBody>
                    <a:bodyPr/>
                    <a:lstStyle/>
                    <a:p>
                      <a:pPr algn="ctr">
                        <a:defRPr sz="800">
                          <a:latin typeface="Nexa Bold"/>
                        </a:defRPr>
                      </a:pPr>
                      <a:r>
                        <a:t>Equa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03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539960">
                <a:tc>
                  <a:txBody>
                    <a:bodyPr/>
                    <a:lstStyle/>
                    <a:p>
                      <a:pPr algn="ctr">
                        <a:defRPr sz="800">
                          <a:latin typeface="Nexa Bold"/>
                        </a:defRPr>
                      </a:pPr>
                      <a:r>
                        <a:t>Van Der Hagen</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7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715040170"/>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8/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0</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Disposables | Bj's And Sam'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2343600">
                  <a:extLst>
                    <a:ext uri="{9D8B030D-6E8A-4147-A177-3AD203B41FA5}">
                      <a16:colId xmlns:a16="http://schemas.microsoft.com/office/drawing/2014/main" val="2451050549"/>
                    </a:ext>
                  </a:extLst>
                </a:gridCol>
                <a:gridCol w="2343600">
                  <a:extLst>
                    <a:ext uri="{9D8B030D-6E8A-4147-A177-3AD203B41FA5}">
                      <a16:colId xmlns:a16="http://schemas.microsoft.com/office/drawing/2014/main" val="3743842659"/>
                    </a:ext>
                  </a:extLst>
                </a:gridCol>
                <a:gridCol w="2343600">
                  <a:extLst>
                    <a:ext uri="{9D8B030D-6E8A-4147-A177-3AD203B41FA5}">
                      <a16:colId xmlns:a16="http://schemas.microsoft.com/office/drawing/2014/main" val="1716960848"/>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90</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405908378"/>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8/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1</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Disposables | Walmart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1757700">
                  <a:extLst>
                    <a:ext uri="{9D8B030D-6E8A-4147-A177-3AD203B41FA5}">
                      <a16:colId xmlns:a16="http://schemas.microsoft.com/office/drawing/2014/main" val="2451050549"/>
                    </a:ext>
                  </a:extLst>
                </a:gridCol>
                <a:gridCol w="1757700">
                  <a:extLst>
                    <a:ext uri="{9D8B030D-6E8A-4147-A177-3AD203B41FA5}">
                      <a16:colId xmlns:a16="http://schemas.microsoft.com/office/drawing/2014/main" val="3743842659"/>
                    </a:ext>
                  </a:extLst>
                </a:gridCol>
                <a:gridCol w="1757700">
                  <a:extLst>
                    <a:ext uri="{9D8B030D-6E8A-4147-A177-3AD203B41FA5}">
                      <a16:colId xmlns:a16="http://schemas.microsoft.com/office/drawing/2014/main" val="1716960848"/>
                    </a:ext>
                  </a:extLst>
                </a:gridCol>
                <a:gridCol w="1757700">
                  <a:extLst>
                    <a:ext uri="{9D8B030D-6E8A-4147-A177-3AD203B41FA5}">
                      <a16:colId xmlns:a16="http://schemas.microsoft.com/office/drawing/2014/main" val="4242029335"/>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2</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7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37</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348</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34847108"/>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8/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2</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Razors | Bj's And Sam'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3515400">
                  <a:extLst>
                    <a:ext uri="{9D8B030D-6E8A-4147-A177-3AD203B41FA5}">
                      <a16:colId xmlns:a16="http://schemas.microsoft.com/office/drawing/2014/main" val="2451050549"/>
                    </a:ext>
                  </a:extLst>
                </a:gridCol>
                <a:gridCol w="3515400">
                  <a:extLst>
                    <a:ext uri="{9D8B030D-6E8A-4147-A177-3AD203B41FA5}">
                      <a16:colId xmlns:a16="http://schemas.microsoft.com/office/drawing/2014/main" val="3743842659"/>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2</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86</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93686441"/>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8/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3</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Refills | Bj's And Sam'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030800">
                  <a:extLst>
                    <a:ext uri="{9D8B030D-6E8A-4147-A177-3AD203B41FA5}">
                      <a16:colId xmlns:a16="http://schemas.microsoft.com/office/drawing/2014/main" val="2451050549"/>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0</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920350426"/>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8/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4</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Razors | Walmart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1171800">
                  <a:extLst>
                    <a:ext uri="{9D8B030D-6E8A-4147-A177-3AD203B41FA5}">
                      <a16:colId xmlns:a16="http://schemas.microsoft.com/office/drawing/2014/main" val="2451050549"/>
                    </a:ext>
                  </a:extLst>
                </a:gridCol>
                <a:gridCol w="1171800">
                  <a:extLst>
                    <a:ext uri="{9D8B030D-6E8A-4147-A177-3AD203B41FA5}">
                      <a16:colId xmlns:a16="http://schemas.microsoft.com/office/drawing/2014/main" val="3743842659"/>
                    </a:ext>
                  </a:extLst>
                </a:gridCol>
                <a:gridCol w="1171800">
                  <a:extLst>
                    <a:ext uri="{9D8B030D-6E8A-4147-A177-3AD203B41FA5}">
                      <a16:colId xmlns:a16="http://schemas.microsoft.com/office/drawing/2014/main" val="1716960848"/>
                    </a:ext>
                  </a:extLst>
                </a:gridCol>
                <a:gridCol w="1171800">
                  <a:extLst>
                    <a:ext uri="{9D8B030D-6E8A-4147-A177-3AD203B41FA5}">
                      <a16:colId xmlns:a16="http://schemas.microsoft.com/office/drawing/2014/main" val="4242029335"/>
                    </a:ext>
                  </a:extLst>
                </a:gridCol>
                <a:gridCol w="1171800">
                  <a:extLst>
                    <a:ext uri="{9D8B030D-6E8A-4147-A177-3AD203B41FA5}">
                      <a16:colId xmlns:a16="http://schemas.microsoft.com/office/drawing/2014/main" val="634327948"/>
                    </a:ext>
                  </a:extLst>
                </a:gridCol>
                <a:gridCol w="1171800">
                  <a:extLst>
                    <a:ext uri="{9D8B030D-6E8A-4147-A177-3AD203B41FA5}">
                      <a16:colId xmlns:a16="http://schemas.microsoft.com/office/drawing/2014/main" val="2808580565"/>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7</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8</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36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19</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3</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6</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72357211"/>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8/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5</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Refills | Walmart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1171800">
                  <a:extLst>
                    <a:ext uri="{9D8B030D-6E8A-4147-A177-3AD203B41FA5}">
                      <a16:colId xmlns:a16="http://schemas.microsoft.com/office/drawing/2014/main" val="2451050549"/>
                    </a:ext>
                  </a:extLst>
                </a:gridCol>
                <a:gridCol w="1171800">
                  <a:extLst>
                    <a:ext uri="{9D8B030D-6E8A-4147-A177-3AD203B41FA5}">
                      <a16:colId xmlns:a16="http://schemas.microsoft.com/office/drawing/2014/main" val="3743842659"/>
                    </a:ext>
                  </a:extLst>
                </a:gridCol>
                <a:gridCol w="1171800">
                  <a:extLst>
                    <a:ext uri="{9D8B030D-6E8A-4147-A177-3AD203B41FA5}">
                      <a16:colId xmlns:a16="http://schemas.microsoft.com/office/drawing/2014/main" val="1716960848"/>
                    </a:ext>
                  </a:extLst>
                </a:gridCol>
                <a:gridCol w="1171800">
                  <a:extLst>
                    <a:ext uri="{9D8B030D-6E8A-4147-A177-3AD203B41FA5}">
                      <a16:colId xmlns:a16="http://schemas.microsoft.com/office/drawing/2014/main" val="4242029335"/>
                    </a:ext>
                  </a:extLst>
                </a:gridCol>
                <a:gridCol w="1171800">
                  <a:extLst>
                    <a:ext uri="{9D8B030D-6E8A-4147-A177-3AD203B41FA5}">
                      <a16:colId xmlns:a16="http://schemas.microsoft.com/office/drawing/2014/main" val="634327948"/>
                    </a:ext>
                  </a:extLst>
                </a:gridCol>
                <a:gridCol w="1171800">
                  <a:extLst>
                    <a:ext uri="{9D8B030D-6E8A-4147-A177-3AD203B41FA5}">
                      <a16:colId xmlns:a16="http://schemas.microsoft.com/office/drawing/2014/main" val="2808580565"/>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82</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4</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637</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318</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89</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80292009"/>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8/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6</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Manual Shave Men | Edgewell Personal Care | Bj's And Sam'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1497273606"/>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8/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7</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Manual Shave Men | Edgewell Personal Care | Walmart</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356820022"/>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8/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8</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Manual Shave Men | Schick | Bj's And Sam'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2968356887"/>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8/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9</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Manual Shave Men | Schick | Walmart</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78696155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8/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Walmart | Refills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3"/>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539960">
                <a:tc>
                  <a:txBody>
                    <a:bodyPr/>
                    <a:lstStyle/>
                    <a:p>
                      <a:pPr algn="ctr">
                        <a:defRPr sz="800">
                          <a:latin typeface="Nexa Bold"/>
                        </a:defRPr>
                      </a:pPr>
                      <a:r>
                        <a:t>Gille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4,081,39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2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539960">
                <a:tc>
                  <a:txBody>
                    <a:bodyPr/>
                    <a:lstStyle/>
                    <a:p>
                      <a:pPr algn="ctr">
                        <a:defRPr sz="800">
                          <a:latin typeface="Nexa Bold"/>
                        </a:defRPr>
                      </a:pPr>
                      <a:r>
                        <a:t>Schick</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62,41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539960">
                <a:tc>
                  <a:txBody>
                    <a:bodyPr/>
                    <a:lstStyle/>
                    <a:p>
                      <a:pPr algn="ctr">
                        <a:defRPr sz="800">
                          <a:latin typeface="Nexa Bold"/>
                        </a:defRPr>
                      </a:pPr>
                      <a:r>
                        <a:t>Dollar Shave Club</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29,60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539960">
                <a:tc>
                  <a:txBody>
                    <a:bodyPr/>
                    <a:lstStyle/>
                    <a:p>
                      <a:pPr algn="ctr">
                        <a:defRPr sz="800">
                          <a:latin typeface="Nexa Bold"/>
                        </a:defRPr>
                      </a:pPr>
                      <a:r>
                        <a:t>Equa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9,37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539960">
                <a:tc>
                  <a:txBody>
                    <a:bodyPr/>
                    <a:lstStyle/>
                    <a:p>
                      <a:pPr algn="ctr">
                        <a:defRPr sz="800">
                          <a:latin typeface="Nexa Bold"/>
                        </a:defRPr>
                      </a:pPr>
                      <a:r>
                        <a:t>Harry'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1,14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539960">
                <a:tc>
                  <a:txBody>
                    <a:bodyPr/>
                    <a:lstStyle/>
                    <a:p>
                      <a:pPr algn="ctr">
                        <a:defRPr sz="800">
                          <a:latin typeface="Nexa Bold"/>
                        </a:defRPr>
                      </a:pPr>
                      <a:r>
                        <a:t>Van Der Hagen</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7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606760866"/>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8/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0</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Manual Shave Men | Equate | Walmart</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1413207837"/>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8/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1</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Manual Shave Men | Cremo | Bj's And Sam'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1233861167"/>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8/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2</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Manual Shave Men | Cremo | Walmart</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824425457"/>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8/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3</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System | Edgewell Personal Care | Bj's And Sam'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1673944111"/>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8/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4</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Disposables | Edgewell Personal Care | Bj's And Sam'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807512369"/>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8/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5</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System | Edgewell Personal Care | Walmart</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2127543188"/>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8/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6</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Disposables | Edgewell Personal Care | Walmart</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3662575321"/>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8/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7</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Disposables | Schick | Bj's And Sam'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4185652373"/>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8/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8</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System | Schick | Walmart</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1848709904"/>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8/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9</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Disposables | Schick | Walmart</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36323235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BEEAFD28-7A86-D661-445F-8A87117C4D5F}"/>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BEEAFD28-7A86-D661-445F-8A87117C4D5F}"/>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2AE6370A-FCC9-0DD3-BA63-97C29F486F85}"/>
              </a:ext>
            </a:extLst>
          </p:cNvPr>
          <p:cNvSpPr>
            <a:spLocks noGrp="1"/>
          </p:cNvSpPr>
          <p:nvPr>
            <p:ph type="dt" sz="half" idx="14"/>
          </p:nvPr>
        </p:nvSpPr>
        <p:spPr>
          <a:xfrm>
            <a:off x="8082390" y="4972050"/>
            <a:ext cx="557609" cy="171450"/>
          </a:xfrm>
        </p:spPr>
        <p:txBody>
          <a:bodyPr/>
          <a:lstStyle/>
          <a:p>
            <a:fld id="{137A5A6B-1D04-4253-BE52-9327F172A452}" type="datetime1">
              <a:rPr lang="en-US"/>
              <a:pPr/>
              <a:t>8/18/2025</a:t>
            </a:fld>
            <a:endParaRPr lang="en-US"/>
          </a:p>
        </p:txBody>
      </p:sp>
      <p:sp>
        <p:nvSpPr>
          <p:cNvPr id="4" name="Footer Placeholder 3">
            <a:extLst>
              <a:ext uri="{FF2B5EF4-FFF2-40B4-BE49-F238E27FC236}">
                <a16:creationId xmlns:a16="http://schemas.microsoft.com/office/drawing/2014/main" id="{A2832584-706C-4382-AF50-0823DF5C2D22}"/>
              </a:ext>
            </a:extLst>
          </p:cNvPr>
          <p:cNvSpPr>
            <a:spLocks noGrp="1"/>
          </p:cNvSpPr>
          <p:nvPr>
            <p:ph type="ftr" sz="quarter" idx="15"/>
          </p:nvPr>
        </p:nvSpPr>
        <p:spPr>
          <a:xfrm>
            <a:off x="546969" y="4970700"/>
            <a:ext cx="6451742" cy="174151"/>
          </a:xfrm>
        </p:spPr>
        <p:txBody>
          <a:bodyPr/>
          <a:lstStyle/>
          <a:p>
            <a:endParaRPr lang="en-US"/>
          </a:p>
        </p:txBody>
      </p:sp>
      <p:sp>
        <p:nvSpPr>
          <p:cNvPr id="3" name="Slide Number Placeholder 2">
            <a:extLst>
              <a:ext uri="{FF2B5EF4-FFF2-40B4-BE49-F238E27FC236}">
                <a16:creationId xmlns:a16="http://schemas.microsoft.com/office/drawing/2014/main" id="{C38F0F28-1A01-6874-5418-B8FD2F31AB62}"/>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a:t>
            </a:fld>
            <a:endParaRPr lang="en-US"/>
          </a:p>
        </p:txBody>
      </p:sp>
      <p:sp>
        <p:nvSpPr>
          <p:cNvPr id="5" name="Text Placeholder 4">
            <a:extLst>
              <a:ext uri="{FF2B5EF4-FFF2-40B4-BE49-F238E27FC236}">
                <a16:creationId xmlns:a16="http://schemas.microsoft.com/office/drawing/2014/main" id="{E7922D6F-A446-8634-C351-325C82E3E207}"/>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117FAC48-0BC8-9EEF-704E-B6A60F125B14}"/>
              </a:ext>
            </a:extLst>
          </p:cNvPr>
          <p:cNvSpPr>
            <a:spLocks noGrp="1"/>
          </p:cNvSpPr>
          <p:nvPr>
            <p:ph type="body" sz="quarter" idx="18"/>
          </p:nvPr>
        </p:nvSpPr>
        <p:spPr>
          <a:xfrm>
            <a:off x="503238" y="774000"/>
            <a:ext cx="8136762" cy="360000"/>
          </a:xfrm>
        </p:spPr>
        <p:txBody>
          <a:bodyPr lIns="91440" tIns="45720" rIns="91440" bIns="45720" anchor="t"/>
          <a:lstStyle/>
          <a:p>
            <a:pPr>
              <a:defRPr sz="1200">
                <a:latin typeface="Nexa Bold (Headings)"/>
              </a:defRPr>
            </a:pPr>
            <a:r>
              <a:t>Volume sold on deal Summary | By Brand | By Sector | Manual Shave Men | Bj's And Sam's | P12M</a:t>
            </a:r>
          </a:p>
        </p:txBody>
      </p:sp>
      <p:sp>
        <p:nvSpPr>
          <p:cNvPr id="7" name="Title 6">
            <a:extLst>
              <a:ext uri="{FF2B5EF4-FFF2-40B4-BE49-F238E27FC236}">
                <a16:creationId xmlns:a16="http://schemas.microsoft.com/office/drawing/2014/main" id="{2681A043-873B-7332-A980-7DB230DD3689}"/>
              </a:ext>
            </a:extLst>
          </p:cNvPr>
          <p:cNvSpPr>
            <a:spLocks noGrp="1"/>
          </p:cNvSpPr>
          <p:nvPr>
            <p:ph type="title"/>
          </p:nvPr>
        </p:nvSpPr>
        <p:spPr>
          <a:xfrm>
            <a:off x="504000" y="-1"/>
            <a:ext cx="8136000" cy="771525"/>
          </a:xfrm>
          <a:noFill/>
        </p:spPr>
        <p:txBody>
          <a:bodyPr vert="horz" lIns="91440" tIns="45720" rIns="91440" bIns="45720" anchor="b"/>
          <a:lstStyle/>
          <a:p>
            <a:pPr>
              <a:defRPr sz="1600">
                <a:latin typeface="Nexa Bold (Headings)"/>
              </a:defRPr>
            </a:pPr>
            <a:r>
              <a:rPr lang="en-US" dirty="0">
                <a:highlight>
                  <a:srgbClr val="FFFF00"/>
                </a:highlight>
              </a:rPr>
              <a:t>VSOD Summary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9" name="T1">
            <a:extLst>
              <a:ext uri="{FF2B5EF4-FFF2-40B4-BE49-F238E27FC236}">
                <a16:creationId xmlns:a16="http://schemas.microsoft.com/office/drawing/2014/main" id="{7108F197-7AB0-011A-C04E-4916F0733682}"/>
              </a:ext>
            </a:extLst>
          </p:cNvPr>
          <p:cNvGraphicFramePr>
            <a:graphicFrameLocks noGrp="1"/>
          </p:cNvGraphicFramePr>
          <p:nvPr>
            <p:extLst>
              <p:ext uri="{D42A27DB-BD31-4B8C-83A1-F6EECF244321}">
                <p14:modId xmlns:p14="http://schemas.microsoft.com/office/powerpoint/2010/main" val="2570051479"/>
              </p:ext>
            </p:extLst>
          </p:nvPr>
        </p:nvGraphicFramePr>
        <p:xfrm>
          <a:off x="541080" y="1133761"/>
          <a:ext cx="8094122" cy="3800999"/>
        </p:xfrm>
        <a:graphic>
          <a:graphicData uri="http://schemas.openxmlformats.org/drawingml/2006/table">
            <a:tbl>
              <a:tblPr firstRow="1" bandRow="1">
                <a:tableStyleId>{5C22544A-7EE6-4342-B048-85BDC9FD1C3A}</a:tableStyleId>
              </a:tblPr>
              <a:tblGrid>
                <a:gridCol w="1618824">
                  <a:extLst>
                    <a:ext uri="{9D8B030D-6E8A-4147-A177-3AD203B41FA5}">
                      <a16:colId xmlns:a16="http://schemas.microsoft.com/office/drawing/2014/main" val="2374043349"/>
                    </a:ext>
                  </a:extLst>
                </a:gridCol>
                <a:gridCol w="3237649">
                  <a:extLst>
                    <a:ext uri="{9D8B030D-6E8A-4147-A177-3AD203B41FA5}">
                      <a16:colId xmlns:a16="http://schemas.microsoft.com/office/drawing/2014/main" val="8673104"/>
                    </a:ext>
                  </a:extLst>
                </a:gridCol>
                <a:gridCol w="3237649">
                  <a:extLst>
                    <a:ext uri="{9D8B030D-6E8A-4147-A177-3AD203B41FA5}">
                      <a16:colId xmlns:a16="http://schemas.microsoft.com/office/drawing/2014/main" val="1028273140"/>
                    </a:ext>
                  </a:extLst>
                </a:gridCol>
              </a:tblGrid>
              <a:tr h="365007">
                <a:tc>
                  <a:txBody>
                    <a:bodyPr/>
                    <a:lstStyle/>
                    <a:p>
                      <a:pPr algn="ctr"/>
                      <a:endParaRPr lang="en-US" sz="1000" b="0" i="0" kern="1200">
                        <a:solidFill>
                          <a:srgbClr val="575555"/>
                        </a:solidFill>
                        <a:latin typeface="Nexa Bold" panose="00000800000000000000" pitchFamily="2" charset="0"/>
                        <a:ea typeface="+mn-ea"/>
                        <a:cs typeface="+mn-cs"/>
                      </a:endParaRPr>
                    </a:p>
                  </a:txBody>
                  <a:tcPr marL="68580" marR="68580" marT="68580" marB="3429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System</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Disposables</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717996">
                <a:tc>
                  <a:txBody>
                    <a:bodyPr/>
                    <a:lstStyle/>
                    <a:p>
                      <a:pPr algn="ctr">
                        <a:defRPr sz="800">
                          <a:latin typeface="Nexa Bold"/>
                        </a:defRPr>
                      </a:pPr>
                      <a:r>
                        <a:t>Total</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55%</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55%</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66783464"/>
                  </a:ext>
                </a:extLst>
              </a:tr>
              <a:tr h="1717996">
                <a:tc>
                  <a:txBody>
                    <a:bodyPr/>
                    <a:lstStyle/>
                    <a:p>
                      <a:pPr algn="ctr">
                        <a:defRPr sz="800">
                          <a:latin typeface="Nexa Bold"/>
                        </a:defRPr>
                      </a:pPr>
                      <a:r>
                        <a:t>Schick</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58%</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21538582"/>
                  </a:ext>
                </a:extLst>
              </a:tr>
            </a:tbl>
          </a:graphicData>
        </a:graphic>
      </p:graphicFrame>
    </p:spTree>
    <p:extLst>
      <p:ext uri="{BB962C8B-B14F-4D97-AF65-F5344CB8AC3E}">
        <p14:creationId xmlns:p14="http://schemas.microsoft.com/office/powerpoint/2010/main" val="3306618572"/>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8/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0</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System | Equate | Walmart</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1544263392"/>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8/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1</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Disposables | Equate | Walmart</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3833317200"/>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8/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2</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System | Cremo | Bj's And Sam'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19405896"/>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8/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3</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System | Cremo | Walmart</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1983895843"/>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8/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4</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Disposables | Edgewell Personal Care | Bj's And Sam'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866051292"/>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8/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5</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Disposables | Edgewell Personal Care | Walmart</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2175781287"/>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8/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6</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Razors | Edgewell Personal Care | Bj's And Sam'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1325835667"/>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8/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7</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Razors | Edgewell Personal Care | Walmart</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3704844626"/>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8/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8</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Refills | Edgewell Personal Care | Walmart</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3155769311"/>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8/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9</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Disposables | Schick | Bj's And Sam'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293094371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BEEAFD28-7A86-D661-445F-8A87117C4D5F}"/>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BEEAFD28-7A86-D661-445F-8A87117C4D5F}"/>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2AE6370A-FCC9-0DD3-BA63-97C29F486F85}"/>
              </a:ext>
            </a:extLst>
          </p:cNvPr>
          <p:cNvSpPr>
            <a:spLocks noGrp="1"/>
          </p:cNvSpPr>
          <p:nvPr>
            <p:ph type="dt" sz="half" idx="14"/>
          </p:nvPr>
        </p:nvSpPr>
        <p:spPr>
          <a:xfrm>
            <a:off x="8082390" y="4972050"/>
            <a:ext cx="557609" cy="171450"/>
          </a:xfrm>
        </p:spPr>
        <p:txBody>
          <a:bodyPr/>
          <a:lstStyle/>
          <a:p>
            <a:fld id="{137A5A6B-1D04-4253-BE52-9327F172A452}" type="datetime1">
              <a:rPr lang="en-US"/>
              <a:pPr/>
              <a:t>8/18/2025</a:t>
            </a:fld>
            <a:endParaRPr lang="en-US"/>
          </a:p>
        </p:txBody>
      </p:sp>
      <p:sp>
        <p:nvSpPr>
          <p:cNvPr id="4" name="Footer Placeholder 3">
            <a:extLst>
              <a:ext uri="{FF2B5EF4-FFF2-40B4-BE49-F238E27FC236}">
                <a16:creationId xmlns:a16="http://schemas.microsoft.com/office/drawing/2014/main" id="{A2832584-706C-4382-AF50-0823DF5C2D22}"/>
              </a:ext>
            </a:extLst>
          </p:cNvPr>
          <p:cNvSpPr>
            <a:spLocks noGrp="1"/>
          </p:cNvSpPr>
          <p:nvPr>
            <p:ph type="ftr" sz="quarter" idx="15"/>
          </p:nvPr>
        </p:nvSpPr>
        <p:spPr>
          <a:xfrm>
            <a:off x="546969" y="4970700"/>
            <a:ext cx="6451742" cy="174151"/>
          </a:xfrm>
        </p:spPr>
        <p:txBody>
          <a:bodyPr/>
          <a:lstStyle/>
          <a:p>
            <a:endParaRPr lang="en-US"/>
          </a:p>
        </p:txBody>
      </p:sp>
      <p:sp>
        <p:nvSpPr>
          <p:cNvPr id="3" name="Slide Number Placeholder 2">
            <a:extLst>
              <a:ext uri="{FF2B5EF4-FFF2-40B4-BE49-F238E27FC236}">
                <a16:creationId xmlns:a16="http://schemas.microsoft.com/office/drawing/2014/main" id="{C38F0F28-1A01-6874-5418-B8FD2F31AB62}"/>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a:t>
            </a:fld>
            <a:endParaRPr lang="en-US"/>
          </a:p>
        </p:txBody>
      </p:sp>
      <p:sp>
        <p:nvSpPr>
          <p:cNvPr id="5" name="Text Placeholder 4">
            <a:extLst>
              <a:ext uri="{FF2B5EF4-FFF2-40B4-BE49-F238E27FC236}">
                <a16:creationId xmlns:a16="http://schemas.microsoft.com/office/drawing/2014/main" id="{E7922D6F-A446-8634-C351-325C82E3E207}"/>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117FAC48-0BC8-9EEF-704E-B6A60F125B14}"/>
              </a:ext>
            </a:extLst>
          </p:cNvPr>
          <p:cNvSpPr>
            <a:spLocks noGrp="1"/>
          </p:cNvSpPr>
          <p:nvPr>
            <p:ph type="body" sz="quarter" idx="18"/>
          </p:nvPr>
        </p:nvSpPr>
        <p:spPr>
          <a:xfrm>
            <a:off x="503238" y="774000"/>
            <a:ext cx="8136762" cy="360000"/>
          </a:xfrm>
        </p:spPr>
        <p:txBody>
          <a:bodyPr lIns="91440" tIns="45720" rIns="91440" bIns="45720" anchor="t"/>
          <a:lstStyle/>
          <a:p>
            <a:pPr>
              <a:defRPr sz="1200">
                <a:latin typeface="Nexa Bold (Headings)"/>
              </a:defRPr>
            </a:pPr>
            <a:r>
              <a:t>Volume sold on deal Summary | By Brand | By Sector | Manual Shave Men | Walmart | P12M</a:t>
            </a:r>
          </a:p>
        </p:txBody>
      </p:sp>
      <p:sp>
        <p:nvSpPr>
          <p:cNvPr id="7" name="Title 6">
            <a:extLst>
              <a:ext uri="{FF2B5EF4-FFF2-40B4-BE49-F238E27FC236}">
                <a16:creationId xmlns:a16="http://schemas.microsoft.com/office/drawing/2014/main" id="{2681A043-873B-7332-A980-7DB230DD3689}"/>
              </a:ext>
            </a:extLst>
          </p:cNvPr>
          <p:cNvSpPr>
            <a:spLocks noGrp="1"/>
          </p:cNvSpPr>
          <p:nvPr>
            <p:ph type="title"/>
          </p:nvPr>
        </p:nvSpPr>
        <p:spPr>
          <a:xfrm>
            <a:off x="504000" y="-1"/>
            <a:ext cx="8136000" cy="771525"/>
          </a:xfrm>
          <a:noFill/>
        </p:spPr>
        <p:txBody>
          <a:bodyPr vert="horz" lIns="91440" tIns="45720" rIns="91440" bIns="45720" anchor="b"/>
          <a:lstStyle/>
          <a:p>
            <a:pPr>
              <a:defRPr sz="1600">
                <a:latin typeface="Nexa Bold (Headings)"/>
              </a:defRPr>
            </a:pPr>
            <a:r>
              <a:rPr lang="en-US" dirty="0">
                <a:highlight>
                  <a:srgbClr val="FFFF00"/>
                </a:highlight>
              </a:rPr>
              <a:t>VSOD Summary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9" name="T1">
            <a:extLst>
              <a:ext uri="{FF2B5EF4-FFF2-40B4-BE49-F238E27FC236}">
                <a16:creationId xmlns:a16="http://schemas.microsoft.com/office/drawing/2014/main" id="{7108F197-7AB0-011A-C04E-4916F0733682}"/>
              </a:ext>
            </a:extLst>
          </p:cNvPr>
          <p:cNvGraphicFramePr>
            <a:graphicFrameLocks noGrp="1"/>
          </p:cNvGraphicFramePr>
          <p:nvPr>
            <p:extLst>
              <p:ext uri="{D42A27DB-BD31-4B8C-83A1-F6EECF244321}">
                <p14:modId xmlns:p14="http://schemas.microsoft.com/office/powerpoint/2010/main" val="2570051479"/>
              </p:ext>
            </p:extLst>
          </p:nvPr>
        </p:nvGraphicFramePr>
        <p:xfrm>
          <a:off x="541080" y="1133761"/>
          <a:ext cx="8094122" cy="3801000"/>
        </p:xfrm>
        <a:graphic>
          <a:graphicData uri="http://schemas.openxmlformats.org/drawingml/2006/table">
            <a:tbl>
              <a:tblPr firstRow="1" bandRow="1">
                <a:tableStyleId>{5C22544A-7EE6-4342-B048-85BDC9FD1C3A}</a:tableStyleId>
              </a:tblPr>
              <a:tblGrid>
                <a:gridCol w="1618824">
                  <a:extLst>
                    <a:ext uri="{9D8B030D-6E8A-4147-A177-3AD203B41FA5}">
                      <a16:colId xmlns:a16="http://schemas.microsoft.com/office/drawing/2014/main" val="2374043349"/>
                    </a:ext>
                  </a:extLst>
                </a:gridCol>
                <a:gridCol w="3237649">
                  <a:extLst>
                    <a:ext uri="{9D8B030D-6E8A-4147-A177-3AD203B41FA5}">
                      <a16:colId xmlns:a16="http://schemas.microsoft.com/office/drawing/2014/main" val="8673104"/>
                    </a:ext>
                  </a:extLst>
                </a:gridCol>
                <a:gridCol w="3237649">
                  <a:extLst>
                    <a:ext uri="{9D8B030D-6E8A-4147-A177-3AD203B41FA5}">
                      <a16:colId xmlns:a16="http://schemas.microsoft.com/office/drawing/2014/main" val="1028273140"/>
                    </a:ext>
                  </a:extLst>
                </a:gridCol>
              </a:tblGrid>
              <a:tr h="365007">
                <a:tc>
                  <a:txBody>
                    <a:bodyPr/>
                    <a:lstStyle/>
                    <a:p>
                      <a:pPr algn="ctr"/>
                      <a:endParaRPr lang="en-US" sz="1000" b="0" i="0" kern="1200">
                        <a:solidFill>
                          <a:srgbClr val="575555"/>
                        </a:solidFill>
                        <a:latin typeface="Nexa Bold" panose="00000800000000000000" pitchFamily="2" charset="0"/>
                        <a:ea typeface="+mn-ea"/>
                        <a:cs typeface="+mn-cs"/>
                      </a:endParaRPr>
                    </a:p>
                  </a:txBody>
                  <a:tcPr marL="68580" marR="68580" marT="68580" marB="3429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System</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Disposables</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145331">
                <a:tc>
                  <a:txBody>
                    <a:bodyPr/>
                    <a:lstStyle/>
                    <a:p>
                      <a:pPr algn="ctr">
                        <a:defRPr sz="800">
                          <a:latin typeface="Nexa Bold"/>
                        </a:defRPr>
                      </a:pPr>
                      <a:r>
                        <a:t>Total</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8%</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29831157"/>
                  </a:ext>
                </a:extLst>
              </a:tr>
              <a:tr h="1145331">
                <a:tc>
                  <a:txBody>
                    <a:bodyPr/>
                    <a:lstStyle/>
                    <a:p>
                      <a:pPr algn="ctr">
                        <a:defRPr sz="800">
                          <a:latin typeface="Nexa Bold"/>
                        </a:defRPr>
                      </a:pPr>
                      <a:r>
                        <a:t>Schick</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3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11%</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66783464"/>
                  </a:ext>
                </a:extLst>
              </a:tr>
              <a:tr h="1145331">
                <a:tc>
                  <a:txBody>
                    <a:bodyPr/>
                    <a:lstStyle/>
                    <a:p>
                      <a:pPr algn="ctr">
                        <a:defRPr sz="800">
                          <a:latin typeface="Nexa Bold"/>
                        </a:defRPr>
                      </a:pPr>
                      <a:r>
                        <a:t>Equate</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5%</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6%</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21538582"/>
                  </a:ext>
                </a:extLst>
              </a:tr>
            </a:tbl>
          </a:graphicData>
        </a:graphic>
      </p:graphicFrame>
    </p:spTree>
    <p:extLst>
      <p:ext uri="{BB962C8B-B14F-4D97-AF65-F5344CB8AC3E}">
        <p14:creationId xmlns:p14="http://schemas.microsoft.com/office/powerpoint/2010/main" val="3201781923"/>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8/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0</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Disposables | Schick | Walmart</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3784036138"/>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8/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1</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Razors | Schick | Walmart</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2191372260"/>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8/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2</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Refills | Schick | Walmart</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2144448771"/>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8/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3</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Disposables | Equate | Walmart</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2157765527"/>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8/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4</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Razors | Equate | Walmart</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25593531"/>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8/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5</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Refills | Equate | Walmart</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2379801795"/>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8/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6</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Razors | Cremo | Bj's And Sam'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1683199544"/>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8/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7</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Razors | Cremo | Walmart</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359870210"/>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8/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8</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Frequency learnings | Refills | Cremo | Walmart</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defRPr sz="1000">
                <a:solidFill>
                  <a:srgbClr val="00A097"/>
                </a:solidFill>
                <a:latin typeface="Nexa Bold"/>
              </a:defRPr>
            </a:pPr>
            <a:r>
              <a:t>Value Sales ($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2045711102"/>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8/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9</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ales per retailer | Cremo | Manual Shave Men</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ontent Placeholder 19">
            <a:extLst>
              <a:ext uri="{FF2B5EF4-FFF2-40B4-BE49-F238E27FC236}">
                <a16:creationId xmlns:a16="http://schemas.microsoft.com/office/drawing/2014/main" id="{9F2B971D-B103-BD41-69B0-5B94255F8973}"/>
              </a:ext>
            </a:extLst>
          </p:cNvPr>
          <p:cNvGraphicFramePr>
            <a:graphicFrameLocks/>
          </p:cNvGraphicFramePr>
          <p:nvPr>
            <p:extLst>
              <p:ext uri="{D42A27DB-BD31-4B8C-83A1-F6EECF244321}">
                <p14:modId xmlns:p14="http://schemas.microsoft.com/office/powerpoint/2010/main" val="588380682"/>
              </p:ext>
            </p:extLst>
          </p:nvPr>
        </p:nvGraphicFramePr>
        <p:xfrm>
          <a:off x="797668" y="1152000"/>
          <a:ext cx="7842332" cy="154617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1632237063"/>
              </p:ext>
            </p:extLst>
          </p:nvPr>
        </p:nvGraphicFramePr>
        <p:xfrm>
          <a:off x="541177" y="1131888"/>
          <a:ext cx="216000" cy="3104140"/>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1552070">
                <a:tc>
                  <a:txBody>
                    <a:bodyPr/>
                    <a:lstStyle/>
                    <a:p>
                      <a:pPr algn="ctr">
                        <a:defRPr sz="800">
                          <a:latin typeface="Nexa Bold"/>
                        </a:defRPr>
                      </a:pPr>
                      <a:r>
                        <a:t>Bj's And Sam's</a:t>
                      </a:r>
                    </a:p>
                  </a:txBody>
                  <a:tcPr marL="68580" marR="68580" marT="34290" marB="34290" vert="vert270" anchor="ctr">
                    <a:solidFill>
                      <a:schemeClr val="bg2"/>
                    </a:solidFill>
                  </a:tcPr>
                </a:tc>
                <a:extLst>
                  <a:ext uri="{0D108BD9-81ED-4DB2-BD59-A6C34878D82A}">
                    <a16:rowId xmlns:a16="http://schemas.microsoft.com/office/drawing/2014/main" val="2799006142"/>
                  </a:ext>
                </a:extLst>
              </a:tr>
              <a:tr h="1552070">
                <a:tc>
                  <a:txBody>
                    <a:bodyPr/>
                    <a:lstStyle/>
                    <a:p>
                      <a:pPr algn="ctr">
                        <a:defRPr sz="800">
                          <a:latin typeface="Nexa Bold"/>
                        </a:defRPr>
                      </a:pPr>
                      <a:r>
                        <a:t>Walmart</a:t>
                      </a: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1436690496"/>
              </p:ext>
            </p:extLst>
          </p:nvPr>
        </p:nvGraphicFramePr>
        <p:xfrm>
          <a:off x="797668" y="2910213"/>
          <a:ext cx="7842332" cy="1822543"/>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27267338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BEEAFD28-7A86-D661-445F-8A87117C4D5F}"/>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BEEAFD28-7A86-D661-445F-8A87117C4D5F}"/>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2AE6370A-FCC9-0DD3-BA63-97C29F486F85}"/>
              </a:ext>
            </a:extLst>
          </p:cNvPr>
          <p:cNvSpPr>
            <a:spLocks noGrp="1"/>
          </p:cNvSpPr>
          <p:nvPr>
            <p:ph type="dt" sz="half" idx="14"/>
          </p:nvPr>
        </p:nvSpPr>
        <p:spPr>
          <a:xfrm>
            <a:off x="8082390" y="4972050"/>
            <a:ext cx="557609" cy="171450"/>
          </a:xfrm>
        </p:spPr>
        <p:txBody>
          <a:bodyPr/>
          <a:lstStyle/>
          <a:p>
            <a:fld id="{137A5A6B-1D04-4253-BE52-9327F172A452}" type="datetime1">
              <a:rPr lang="en-US"/>
              <a:pPr/>
              <a:t>8/18/2025</a:t>
            </a:fld>
            <a:endParaRPr lang="en-US"/>
          </a:p>
        </p:txBody>
      </p:sp>
      <p:sp>
        <p:nvSpPr>
          <p:cNvPr id="4" name="Footer Placeholder 3">
            <a:extLst>
              <a:ext uri="{FF2B5EF4-FFF2-40B4-BE49-F238E27FC236}">
                <a16:creationId xmlns:a16="http://schemas.microsoft.com/office/drawing/2014/main" id="{A2832584-706C-4382-AF50-0823DF5C2D22}"/>
              </a:ext>
            </a:extLst>
          </p:cNvPr>
          <p:cNvSpPr>
            <a:spLocks noGrp="1"/>
          </p:cNvSpPr>
          <p:nvPr>
            <p:ph type="ftr" sz="quarter" idx="15"/>
          </p:nvPr>
        </p:nvSpPr>
        <p:spPr>
          <a:xfrm>
            <a:off x="546969" y="4970700"/>
            <a:ext cx="6451742" cy="174151"/>
          </a:xfrm>
        </p:spPr>
        <p:txBody>
          <a:bodyPr/>
          <a:lstStyle/>
          <a:p>
            <a:endParaRPr lang="en-US"/>
          </a:p>
        </p:txBody>
      </p:sp>
      <p:sp>
        <p:nvSpPr>
          <p:cNvPr id="3" name="Slide Number Placeholder 2">
            <a:extLst>
              <a:ext uri="{FF2B5EF4-FFF2-40B4-BE49-F238E27FC236}">
                <a16:creationId xmlns:a16="http://schemas.microsoft.com/office/drawing/2014/main" id="{C38F0F28-1A01-6874-5418-B8FD2F31AB62}"/>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a:t>
            </a:fld>
            <a:endParaRPr lang="en-US"/>
          </a:p>
        </p:txBody>
      </p:sp>
      <p:sp>
        <p:nvSpPr>
          <p:cNvPr id="5" name="Text Placeholder 4">
            <a:extLst>
              <a:ext uri="{FF2B5EF4-FFF2-40B4-BE49-F238E27FC236}">
                <a16:creationId xmlns:a16="http://schemas.microsoft.com/office/drawing/2014/main" id="{E7922D6F-A446-8634-C351-325C82E3E207}"/>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117FAC48-0BC8-9EEF-704E-B6A60F125B14}"/>
              </a:ext>
            </a:extLst>
          </p:cNvPr>
          <p:cNvSpPr>
            <a:spLocks noGrp="1"/>
          </p:cNvSpPr>
          <p:nvPr>
            <p:ph type="body" sz="quarter" idx="18"/>
          </p:nvPr>
        </p:nvSpPr>
        <p:spPr>
          <a:xfrm>
            <a:off x="503238" y="774000"/>
            <a:ext cx="8136762" cy="360000"/>
          </a:xfrm>
        </p:spPr>
        <p:txBody>
          <a:bodyPr lIns="91440" tIns="45720" rIns="91440" bIns="45720" anchor="t"/>
          <a:lstStyle/>
          <a:p>
            <a:pPr>
              <a:defRPr sz="1200">
                <a:latin typeface="Nexa Bold (Headings)"/>
              </a:defRPr>
            </a:pPr>
            <a:r>
              <a:t>Volume sold on deal Summary | By Brand | By Segment | Manual Shave Men | Bj's And Sam's | P12M</a:t>
            </a:r>
          </a:p>
        </p:txBody>
      </p:sp>
      <p:sp>
        <p:nvSpPr>
          <p:cNvPr id="7" name="Title 6">
            <a:extLst>
              <a:ext uri="{FF2B5EF4-FFF2-40B4-BE49-F238E27FC236}">
                <a16:creationId xmlns:a16="http://schemas.microsoft.com/office/drawing/2014/main" id="{2681A043-873B-7332-A980-7DB230DD3689}"/>
              </a:ext>
            </a:extLst>
          </p:cNvPr>
          <p:cNvSpPr>
            <a:spLocks noGrp="1"/>
          </p:cNvSpPr>
          <p:nvPr>
            <p:ph type="title"/>
          </p:nvPr>
        </p:nvSpPr>
        <p:spPr>
          <a:xfrm>
            <a:off x="504000" y="-1"/>
            <a:ext cx="8136000" cy="771525"/>
          </a:xfrm>
          <a:noFill/>
        </p:spPr>
        <p:txBody>
          <a:bodyPr vert="horz" lIns="91440" tIns="45720" rIns="91440" bIns="45720" anchor="b"/>
          <a:lstStyle/>
          <a:p>
            <a:pPr>
              <a:defRPr sz="1600">
                <a:latin typeface="Nexa Bold (Headings)"/>
              </a:defRPr>
            </a:pPr>
            <a:r>
              <a:rPr lang="en-US" dirty="0">
                <a:highlight>
                  <a:srgbClr val="FFFF00"/>
                </a:highlight>
              </a:rPr>
              <a:t>VSOD Summary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9" name="T1">
            <a:extLst>
              <a:ext uri="{FF2B5EF4-FFF2-40B4-BE49-F238E27FC236}">
                <a16:creationId xmlns:a16="http://schemas.microsoft.com/office/drawing/2014/main" id="{7108F197-7AB0-011A-C04E-4916F0733682}"/>
              </a:ext>
            </a:extLst>
          </p:cNvPr>
          <p:cNvGraphicFramePr>
            <a:graphicFrameLocks noGrp="1"/>
          </p:cNvGraphicFramePr>
          <p:nvPr>
            <p:extLst>
              <p:ext uri="{D42A27DB-BD31-4B8C-83A1-F6EECF244321}">
                <p14:modId xmlns:p14="http://schemas.microsoft.com/office/powerpoint/2010/main" val="2570051479"/>
              </p:ext>
            </p:extLst>
          </p:nvPr>
        </p:nvGraphicFramePr>
        <p:xfrm>
          <a:off x="541080" y="1133761"/>
          <a:ext cx="8094123" cy="3800999"/>
        </p:xfrm>
        <a:graphic>
          <a:graphicData uri="http://schemas.openxmlformats.org/drawingml/2006/table">
            <a:tbl>
              <a:tblPr firstRow="1" bandRow="1">
                <a:tableStyleId>{5C22544A-7EE6-4342-B048-85BDC9FD1C3A}</a:tableStyleId>
              </a:tblPr>
              <a:tblGrid>
                <a:gridCol w="1618824">
                  <a:extLst>
                    <a:ext uri="{9D8B030D-6E8A-4147-A177-3AD203B41FA5}">
                      <a16:colId xmlns:a16="http://schemas.microsoft.com/office/drawing/2014/main" val="2374043349"/>
                    </a:ext>
                  </a:extLst>
                </a:gridCol>
                <a:gridCol w="2158433">
                  <a:extLst>
                    <a:ext uri="{9D8B030D-6E8A-4147-A177-3AD203B41FA5}">
                      <a16:colId xmlns:a16="http://schemas.microsoft.com/office/drawing/2014/main" val="8673104"/>
                    </a:ext>
                  </a:extLst>
                </a:gridCol>
                <a:gridCol w="2158433">
                  <a:extLst>
                    <a:ext uri="{9D8B030D-6E8A-4147-A177-3AD203B41FA5}">
                      <a16:colId xmlns:a16="http://schemas.microsoft.com/office/drawing/2014/main" val="1028273140"/>
                    </a:ext>
                  </a:extLst>
                </a:gridCol>
                <a:gridCol w="2158433">
                  <a:extLst>
                    <a:ext uri="{9D8B030D-6E8A-4147-A177-3AD203B41FA5}">
                      <a16:colId xmlns:a16="http://schemas.microsoft.com/office/drawing/2014/main" val="2342841255"/>
                    </a:ext>
                  </a:extLst>
                </a:gridCol>
              </a:tblGrid>
              <a:tr h="365007">
                <a:tc>
                  <a:txBody>
                    <a:bodyPr/>
                    <a:lstStyle/>
                    <a:p>
                      <a:pPr algn="ctr"/>
                      <a:endParaRPr lang="en-US" sz="1000" b="0" i="0" kern="1200">
                        <a:solidFill>
                          <a:srgbClr val="575555"/>
                        </a:solidFill>
                        <a:latin typeface="Nexa Bold" panose="00000800000000000000" pitchFamily="2" charset="0"/>
                        <a:ea typeface="+mn-ea"/>
                        <a:cs typeface="+mn-cs"/>
                      </a:endParaRPr>
                    </a:p>
                  </a:txBody>
                  <a:tcPr marL="68580" marR="68580" marT="68580" marB="3429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Disposables</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Razors</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Refills</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717996">
                <a:tc>
                  <a:txBody>
                    <a:bodyPr/>
                    <a:lstStyle/>
                    <a:p>
                      <a:pPr algn="ctr">
                        <a:defRPr sz="800">
                          <a:latin typeface="Nexa Bold"/>
                        </a:defRPr>
                      </a:pPr>
                      <a:r>
                        <a:t>Total</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55%</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5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56%</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66783464"/>
                  </a:ext>
                </a:extLst>
              </a:tr>
              <a:tr h="1717996">
                <a:tc>
                  <a:txBody>
                    <a:bodyPr/>
                    <a:lstStyle/>
                    <a:p>
                      <a:pPr algn="ctr">
                        <a:defRPr sz="800">
                          <a:latin typeface="Nexa Bold"/>
                        </a:defRPr>
                      </a:pPr>
                      <a:r>
                        <a:t>Schick</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58%</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21538582"/>
                  </a:ext>
                </a:extLst>
              </a:tr>
            </a:tbl>
          </a:graphicData>
        </a:graphic>
      </p:graphicFrame>
    </p:spTree>
    <p:extLst>
      <p:ext uri="{BB962C8B-B14F-4D97-AF65-F5344CB8AC3E}">
        <p14:creationId xmlns:p14="http://schemas.microsoft.com/office/powerpoint/2010/main" val="1113095507"/>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8/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0</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ales per retailer | Edgewell Personal Care | Manual Shave Men</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ontent Placeholder 19">
            <a:extLst>
              <a:ext uri="{FF2B5EF4-FFF2-40B4-BE49-F238E27FC236}">
                <a16:creationId xmlns:a16="http://schemas.microsoft.com/office/drawing/2014/main" id="{9F2B971D-B103-BD41-69B0-5B94255F8973}"/>
              </a:ext>
            </a:extLst>
          </p:cNvPr>
          <p:cNvGraphicFramePr>
            <a:graphicFrameLocks/>
          </p:cNvGraphicFramePr>
          <p:nvPr>
            <p:extLst>
              <p:ext uri="{D42A27DB-BD31-4B8C-83A1-F6EECF244321}">
                <p14:modId xmlns:p14="http://schemas.microsoft.com/office/powerpoint/2010/main" val="588380682"/>
              </p:ext>
            </p:extLst>
          </p:nvPr>
        </p:nvGraphicFramePr>
        <p:xfrm>
          <a:off x="797668" y="1152000"/>
          <a:ext cx="7842332" cy="154617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1632237063"/>
              </p:ext>
            </p:extLst>
          </p:nvPr>
        </p:nvGraphicFramePr>
        <p:xfrm>
          <a:off x="541177" y="1131888"/>
          <a:ext cx="216000" cy="3104140"/>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1552070">
                <a:tc>
                  <a:txBody>
                    <a:bodyPr/>
                    <a:lstStyle/>
                    <a:p>
                      <a:pPr algn="ctr">
                        <a:defRPr sz="800">
                          <a:latin typeface="Nexa Bold"/>
                        </a:defRPr>
                      </a:pPr>
                      <a:r>
                        <a:t>Bj's And Sam's</a:t>
                      </a:r>
                    </a:p>
                  </a:txBody>
                  <a:tcPr marL="68580" marR="68580" marT="34290" marB="34290" vert="vert270" anchor="ctr">
                    <a:solidFill>
                      <a:schemeClr val="bg2"/>
                    </a:solidFill>
                  </a:tcPr>
                </a:tc>
                <a:extLst>
                  <a:ext uri="{0D108BD9-81ED-4DB2-BD59-A6C34878D82A}">
                    <a16:rowId xmlns:a16="http://schemas.microsoft.com/office/drawing/2014/main" val="2799006142"/>
                  </a:ext>
                </a:extLst>
              </a:tr>
              <a:tr h="1552070">
                <a:tc>
                  <a:txBody>
                    <a:bodyPr/>
                    <a:lstStyle/>
                    <a:p>
                      <a:pPr algn="ctr">
                        <a:defRPr sz="800">
                          <a:latin typeface="Nexa Bold"/>
                        </a:defRPr>
                      </a:pPr>
                      <a:r>
                        <a:t>Walmart</a:t>
                      </a: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1436690496"/>
              </p:ext>
            </p:extLst>
          </p:nvPr>
        </p:nvGraphicFramePr>
        <p:xfrm>
          <a:off x="797668" y="2910213"/>
          <a:ext cx="7842332" cy="1822543"/>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131422712"/>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8/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1</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ales per retailer | Equate | Manual Shave Men</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3888019475"/>
              </p:ext>
            </p:extLst>
          </p:nvPr>
        </p:nvGraphicFramePr>
        <p:xfrm>
          <a:off x="539750" y="1131888"/>
          <a:ext cx="216000" cy="3099737"/>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3099737">
                <a:tc>
                  <a:txBody>
                    <a:bodyPr/>
                    <a:lstStyle/>
                    <a:p>
                      <a:pPr algn="ctr">
                        <a:defRPr sz="800">
                          <a:latin typeface="Nexa Bold"/>
                        </a:defRPr>
                      </a:pPr>
                      <a:r>
                        <a:t>Walmart</a:t>
                      </a:r>
                    </a:p>
                  </a:txBody>
                  <a:tcPr marL="68580" marR="68580" marT="34290" marB="34290" vert="vert270" anchor="ctr">
                    <a:solidFill>
                      <a:schemeClr val="bg2"/>
                    </a:solidFill>
                  </a:tcPr>
                </a:tc>
                <a:extLst>
                  <a:ext uri="{0D108BD9-81ED-4DB2-BD59-A6C34878D82A}">
                    <a16:rowId xmlns:a16="http://schemas.microsoft.com/office/drawing/2014/main" val="2799006142"/>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2145400579"/>
              </p:ext>
            </p:extLst>
          </p:nvPr>
        </p:nvGraphicFramePr>
        <p:xfrm>
          <a:off x="797668" y="1123942"/>
          <a:ext cx="7843095" cy="3608396"/>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622479609"/>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8/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2</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ales per retailer | Schick | Manual Shave Men</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ontent Placeholder 19">
            <a:extLst>
              <a:ext uri="{FF2B5EF4-FFF2-40B4-BE49-F238E27FC236}">
                <a16:creationId xmlns:a16="http://schemas.microsoft.com/office/drawing/2014/main" id="{9F2B971D-B103-BD41-69B0-5B94255F8973}"/>
              </a:ext>
            </a:extLst>
          </p:cNvPr>
          <p:cNvGraphicFramePr>
            <a:graphicFrameLocks/>
          </p:cNvGraphicFramePr>
          <p:nvPr>
            <p:extLst>
              <p:ext uri="{D42A27DB-BD31-4B8C-83A1-F6EECF244321}">
                <p14:modId xmlns:p14="http://schemas.microsoft.com/office/powerpoint/2010/main" val="588380682"/>
              </p:ext>
            </p:extLst>
          </p:nvPr>
        </p:nvGraphicFramePr>
        <p:xfrm>
          <a:off x="797668" y="1152000"/>
          <a:ext cx="7842332" cy="154617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1632237063"/>
              </p:ext>
            </p:extLst>
          </p:nvPr>
        </p:nvGraphicFramePr>
        <p:xfrm>
          <a:off x="541177" y="1131888"/>
          <a:ext cx="216000" cy="3104140"/>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1552070">
                <a:tc>
                  <a:txBody>
                    <a:bodyPr/>
                    <a:lstStyle/>
                    <a:p>
                      <a:pPr algn="ctr">
                        <a:defRPr sz="800">
                          <a:latin typeface="Nexa Bold"/>
                        </a:defRPr>
                      </a:pPr>
                      <a:r>
                        <a:t>Bj's And Sam's</a:t>
                      </a:r>
                    </a:p>
                  </a:txBody>
                  <a:tcPr marL="68580" marR="68580" marT="34290" marB="34290" vert="vert270" anchor="ctr">
                    <a:solidFill>
                      <a:schemeClr val="bg2"/>
                    </a:solidFill>
                  </a:tcPr>
                </a:tc>
                <a:extLst>
                  <a:ext uri="{0D108BD9-81ED-4DB2-BD59-A6C34878D82A}">
                    <a16:rowId xmlns:a16="http://schemas.microsoft.com/office/drawing/2014/main" val="2799006142"/>
                  </a:ext>
                </a:extLst>
              </a:tr>
              <a:tr h="1552070">
                <a:tc>
                  <a:txBody>
                    <a:bodyPr/>
                    <a:lstStyle/>
                    <a:p>
                      <a:pPr algn="ctr">
                        <a:defRPr sz="800">
                          <a:latin typeface="Nexa Bold"/>
                        </a:defRPr>
                      </a:pPr>
                      <a:r>
                        <a:t>Walmart</a:t>
                      </a: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1436690496"/>
              </p:ext>
            </p:extLst>
          </p:nvPr>
        </p:nvGraphicFramePr>
        <p:xfrm>
          <a:off x="797668" y="2910213"/>
          <a:ext cx="7842332" cy="1822543"/>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342532215"/>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8/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3</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ales per retailer | Cremo | System</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ontent Placeholder 19">
            <a:extLst>
              <a:ext uri="{FF2B5EF4-FFF2-40B4-BE49-F238E27FC236}">
                <a16:creationId xmlns:a16="http://schemas.microsoft.com/office/drawing/2014/main" id="{9F2B971D-B103-BD41-69B0-5B94255F8973}"/>
              </a:ext>
            </a:extLst>
          </p:cNvPr>
          <p:cNvGraphicFramePr>
            <a:graphicFrameLocks/>
          </p:cNvGraphicFramePr>
          <p:nvPr>
            <p:extLst>
              <p:ext uri="{D42A27DB-BD31-4B8C-83A1-F6EECF244321}">
                <p14:modId xmlns:p14="http://schemas.microsoft.com/office/powerpoint/2010/main" val="588380682"/>
              </p:ext>
            </p:extLst>
          </p:nvPr>
        </p:nvGraphicFramePr>
        <p:xfrm>
          <a:off x="797668" y="1152000"/>
          <a:ext cx="7842332" cy="154617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1632237063"/>
              </p:ext>
            </p:extLst>
          </p:nvPr>
        </p:nvGraphicFramePr>
        <p:xfrm>
          <a:off x="541177" y="1131888"/>
          <a:ext cx="216000" cy="3104140"/>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1552070">
                <a:tc>
                  <a:txBody>
                    <a:bodyPr/>
                    <a:lstStyle/>
                    <a:p>
                      <a:pPr algn="ctr">
                        <a:defRPr sz="800">
                          <a:latin typeface="Nexa Bold"/>
                        </a:defRPr>
                      </a:pPr>
                      <a:r>
                        <a:t>Bj's And Sam's</a:t>
                      </a:r>
                    </a:p>
                  </a:txBody>
                  <a:tcPr marL="68580" marR="68580" marT="34290" marB="34290" vert="vert270" anchor="ctr">
                    <a:solidFill>
                      <a:schemeClr val="bg2"/>
                    </a:solidFill>
                  </a:tcPr>
                </a:tc>
                <a:extLst>
                  <a:ext uri="{0D108BD9-81ED-4DB2-BD59-A6C34878D82A}">
                    <a16:rowId xmlns:a16="http://schemas.microsoft.com/office/drawing/2014/main" val="2799006142"/>
                  </a:ext>
                </a:extLst>
              </a:tr>
              <a:tr h="1552070">
                <a:tc>
                  <a:txBody>
                    <a:bodyPr/>
                    <a:lstStyle/>
                    <a:p>
                      <a:pPr algn="ctr">
                        <a:defRPr sz="800">
                          <a:latin typeface="Nexa Bold"/>
                        </a:defRPr>
                      </a:pPr>
                      <a:r>
                        <a:t>Walmart</a:t>
                      </a: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1436690496"/>
              </p:ext>
            </p:extLst>
          </p:nvPr>
        </p:nvGraphicFramePr>
        <p:xfrm>
          <a:off x="797668" y="2910213"/>
          <a:ext cx="7842332" cy="1822543"/>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939281102"/>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8/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4</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ales per retailer | Edgewell Personal Care | Disposable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ontent Placeholder 19">
            <a:extLst>
              <a:ext uri="{FF2B5EF4-FFF2-40B4-BE49-F238E27FC236}">
                <a16:creationId xmlns:a16="http://schemas.microsoft.com/office/drawing/2014/main" id="{9F2B971D-B103-BD41-69B0-5B94255F8973}"/>
              </a:ext>
            </a:extLst>
          </p:cNvPr>
          <p:cNvGraphicFramePr>
            <a:graphicFrameLocks/>
          </p:cNvGraphicFramePr>
          <p:nvPr>
            <p:extLst>
              <p:ext uri="{D42A27DB-BD31-4B8C-83A1-F6EECF244321}">
                <p14:modId xmlns:p14="http://schemas.microsoft.com/office/powerpoint/2010/main" val="588380682"/>
              </p:ext>
            </p:extLst>
          </p:nvPr>
        </p:nvGraphicFramePr>
        <p:xfrm>
          <a:off x="797668" y="1152000"/>
          <a:ext cx="7842332" cy="154617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1632237063"/>
              </p:ext>
            </p:extLst>
          </p:nvPr>
        </p:nvGraphicFramePr>
        <p:xfrm>
          <a:off x="541177" y="1131888"/>
          <a:ext cx="216000" cy="3104140"/>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1552070">
                <a:tc>
                  <a:txBody>
                    <a:bodyPr/>
                    <a:lstStyle/>
                    <a:p>
                      <a:pPr algn="ctr">
                        <a:defRPr sz="800">
                          <a:latin typeface="Nexa Bold"/>
                        </a:defRPr>
                      </a:pPr>
                      <a:r>
                        <a:t>Bj's And Sam's</a:t>
                      </a:r>
                    </a:p>
                  </a:txBody>
                  <a:tcPr marL="68580" marR="68580" marT="34290" marB="34290" vert="vert270" anchor="ctr">
                    <a:solidFill>
                      <a:schemeClr val="bg2"/>
                    </a:solidFill>
                  </a:tcPr>
                </a:tc>
                <a:extLst>
                  <a:ext uri="{0D108BD9-81ED-4DB2-BD59-A6C34878D82A}">
                    <a16:rowId xmlns:a16="http://schemas.microsoft.com/office/drawing/2014/main" val="2799006142"/>
                  </a:ext>
                </a:extLst>
              </a:tr>
              <a:tr h="1552070">
                <a:tc>
                  <a:txBody>
                    <a:bodyPr/>
                    <a:lstStyle/>
                    <a:p>
                      <a:pPr algn="ctr">
                        <a:defRPr sz="800">
                          <a:latin typeface="Nexa Bold"/>
                        </a:defRPr>
                      </a:pPr>
                      <a:r>
                        <a:t>Walmart</a:t>
                      </a: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1436690496"/>
              </p:ext>
            </p:extLst>
          </p:nvPr>
        </p:nvGraphicFramePr>
        <p:xfrm>
          <a:off x="797668" y="2910213"/>
          <a:ext cx="7842332" cy="1822543"/>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951716361"/>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8/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5</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ales per retailer | Edgewell Personal Care | System</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ontent Placeholder 19">
            <a:extLst>
              <a:ext uri="{FF2B5EF4-FFF2-40B4-BE49-F238E27FC236}">
                <a16:creationId xmlns:a16="http://schemas.microsoft.com/office/drawing/2014/main" id="{9F2B971D-B103-BD41-69B0-5B94255F8973}"/>
              </a:ext>
            </a:extLst>
          </p:cNvPr>
          <p:cNvGraphicFramePr>
            <a:graphicFrameLocks/>
          </p:cNvGraphicFramePr>
          <p:nvPr>
            <p:extLst>
              <p:ext uri="{D42A27DB-BD31-4B8C-83A1-F6EECF244321}">
                <p14:modId xmlns:p14="http://schemas.microsoft.com/office/powerpoint/2010/main" val="588380682"/>
              </p:ext>
            </p:extLst>
          </p:nvPr>
        </p:nvGraphicFramePr>
        <p:xfrm>
          <a:off x="797668" y="1152000"/>
          <a:ext cx="7842332" cy="154617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1632237063"/>
              </p:ext>
            </p:extLst>
          </p:nvPr>
        </p:nvGraphicFramePr>
        <p:xfrm>
          <a:off x="541177" y="1131888"/>
          <a:ext cx="216000" cy="3104140"/>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1552070">
                <a:tc>
                  <a:txBody>
                    <a:bodyPr/>
                    <a:lstStyle/>
                    <a:p>
                      <a:pPr algn="ctr">
                        <a:defRPr sz="800">
                          <a:latin typeface="Nexa Bold"/>
                        </a:defRPr>
                      </a:pPr>
                      <a:r>
                        <a:t>Bj's And Sam's</a:t>
                      </a:r>
                    </a:p>
                  </a:txBody>
                  <a:tcPr marL="68580" marR="68580" marT="34290" marB="34290" vert="vert270" anchor="ctr">
                    <a:solidFill>
                      <a:schemeClr val="bg2"/>
                    </a:solidFill>
                  </a:tcPr>
                </a:tc>
                <a:extLst>
                  <a:ext uri="{0D108BD9-81ED-4DB2-BD59-A6C34878D82A}">
                    <a16:rowId xmlns:a16="http://schemas.microsoft.com/office/drawing/2014/main" val="2799006142"/>
                  </a:ext>
                </a:extLst>
              </a:tr>
              <a:tr h="1552070">
                <a:tc>
                  <a:txBody>
                    <a:bodyPr/>
                    <a:lstStyle/>
                    <a:p>
                      <a:pPr algn="ctr">
                        <a:defRPr sz="800">
                          <a:latin typeface="Nexa Bold"/>
                        </a:defRPr>
                      </a:pPr>
                      <a:r>
                        <a:t>Walmart</a:t>
                      </a: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1436690496"/>
              </p:ext>
            </p:extLst>
          </p:nvPr>
        </p:nvGraphicFramePr>
        <p:xfrm>
          <a:off x="797668" y="2910213"/>
          <a:ext cx="7842332" cy="1822543"/>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360550404"/>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8/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6</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ales per retailer | Equate | Disposable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3888019475"/>
              </p:ext>
            </p:extLst>
          </p:nvPr>
        </p:nvGraphicFramePr>
        <p:xfrm>
          <a:off x="539750" y="1131888"/>
          <a:ext cx="216000" cy="3099737"/>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3099737">
                <a:tc>
                  <a:txBody>
                    <a:bodyPr/>
                    <a:lstStyle/>
                    <a:p>
                      <a:pPr algn="ctr">
                        <a:defRPr sz="800">
                          <a:latin typeface="Nexa Bold"/>
                        </a:defRPr>
                      </a:pPr>
                      <a:r>
                        <a:t>Walmart</a:t>
                      </a:r>
                    </a:p>
                  </a:txBody>
                  <a:tcPr marL="68580" marR="68580" marT="34290" marB="34290" vert="vert270" anchor="ctr">
                    <a:solidFill>
                      <a:schemeClr val="bg2"/>
                    </a:solidFill>
                  </a:tcPr>
                </a:tc>
                <a:extLst>
                  <a:ext uri="{0D108BD9-81ED-4DB2-BD59-A6C34878D82A}">
                    <a16:rowId xmlns:a16="http://schemas.microsoft.com/office/drawing/2014/main" val="2799006142"/>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2145400579"/>
              </p:ext>
            </p:extLst>
          </p:nvPr>
        </p:nvGraphicFramePr>
        <p:xfrm>
          <a:off x="797668" y="1123942"/>
          <a:ext cx="7843095" cy="3608396"/>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68171902"/>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8/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7</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ales per retailer | Equate | System</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3888019475"/>
              </p:ext>
            </p:extLst>
          </p:nvPr>
        </p:nvGraphicFramePr>
        <p:xfrm>
          <a:off x="539750" y="1131888"/>
          <a:ext cx="216000" cy="3099737"/>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3099737">
                <a:tc>
                  <a:txBody>
                    <a:bodyPr/>
                    <a:lstStyle/>
                    <a:p>
                      <a:pPr algn="ctr">
                        <a:defRPr sz="800">
                          <a:latin typeface="Nexa Bold"/>
                        </a:defRPr>
                      </a:pPr>
                      <a:r>
                        <a:t>Walmart</a:t>
                      </a:r>
                    </a:p>
                  </a:txBody>
                  <a:tcPr marL="68580" marR="68580" marT="34290" marB="34290" vert="vert270" anchor="ctr">
                    <a:solidFill>
                      <a:schemeClr val="bg2"/>
                    </a:solidFill>
                  </a:tcPr>
                </a:tc>
                <a:extLst>
                  <a:ext uri="{0D108BD9-81ED-4DB2-BD59-A6C34878D82A}">
                    <a16:rowId xmlns:a16="http://schemas.microsoft.com/office/drawing/2014/main" val="2799006142"/>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2145400579"/>
              </p:ext>
            </p:extLst>
          </p:nvPr>
        </p:nvGraphicFramePr>
        <p:xfrm>
          <a:off x="797668" y="1123942"/>
          <a:ext cx="7843095" cy="3608396"/>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196184154"/>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8/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8</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ales per retailer | Schick | Disposable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ontent Placeholder 19">
            <a:extLst>
              <a:ext uri="{FF2B5EF4-FFF2-40B4-BE49-F238E27FC236}">
                <a16:creationId xmlns:a16="http://schemas.microsoft.com/office/drawing/2014/main" id="{9F2B971D-B103-BD41-69B0-5B94255F8973}"/>
              </a:ext>
            </a:extLst>
          </p:cNvPr>
          <p:cNvGraphicFramePr>
            <a:graphicFrameLocks/>
          </p:cNvGraphicFramePr>
          <p:nvPr>
            <p:extLst>
              <p:ext uri="{D42A27DB-BD31-4B8C-83A1-F6EECF244321}">
                <p14:modId xmlns:p14="http://schemas.microsoft.com/office/powerpoint/2010/main" val="588380682"/>
              </p:ext>
            </p:extLst>
          </p:nvPr>
        </p:nvGraphicFramePr>
        <p:xfrm>
          <a:off x="797668" y="1152000"/>
          <a:ext cx="7842332" cy="154617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1632237063"/>
              </p:ext>
            </p:extLst>
          </p:nvPr>
        </p:nvGraphicFramePr>
        <p:xfrm>
          <a:off x="541177" y="1131888"/>
          <a:ext cx="216000" cy="3104140"/>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1552070">
                <a:tc>
                  <a:txBody>
                    <a:bodyPr/>
                    <a:lstStyle/>
                    <a:p>
                      <a:pPr algn="ctr">
                        <a:defRPr sz="800">
                          <a:latin typeface="Nexa Bold"/>
                        </a:defRPr>
                      </a:pPr>
                      <a:r>
                        <a:t>Bj's And Sam's</a:t>
                      </a:r>
                    </a:p>
                  </a:txBody>
                  <a:tcPr marL="68580" marR="68580" marT="34290" marB="34290" vert="vert270" anchor="ctr">
                    <a:solidFill>
                      <a:schemeClr val="bg2"/>
                    </a:solidFill>
                  </a:tcPr>
                </a:tc>
                <a:extLst>
                  <a:ext uri="{0D108BD9-81ED-4DB2-BD59-A6C34878D82A}">
                    <a16:rowId xmlns:a16="http://schemas.microsoft.com/office/drawing/2014/main" val="2799006142"/>
                  </a:ext>
                </a:extLst>
              </a:tr>
              <a:tr h="1552070">
                <a:tc>
                  <a:txBody>
                    <a:bodyPr/>
                    <a:lstStyle/>
                    <a:p>
                      <a:pPr algn="ctr">
                        <a:defRPr sz="800">
                          <a:latin typeface="Nexa Bold"/>
                        </a:defRPr>
                      </a:pPr>
                      <a:r>
                        <a:t>Walmart</a:t>
                      </a: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1436690496"/>
              </p:ext>
            </p:extLst>
          </p:nvPr>
        </p:nvGraphicFramePr>
        <p:xfrm>
          <a:off x="797668" y="2910213"/>
          <a:ext cx="7842332" cy="1822543"/>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170253993"/>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8/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9</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ales per retailer | Schick | System</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3888019475"/>
              </p:ext>
            </p:extLst>
          </p:nvPr>
        </p:nvGraphicFramePr>
        <p:xfrm>
          <a:off x="539750" y="1131888"/>
          <a:ext cx="216000" cy="3099737"/>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3099737">
                <a:tc>
                  <a:txBody>
                    <a:bodyPr/>
                    <a:lstStyle/>
                    <a:p>
                      <a:pPr algn="ctr">
                        <a:defRPr sz="800">
                          <a:latin typeface="Nexa Bold"/>
                        </a:defRPr>
                      </a:pPr>
                      <a:r>
                        <a:t>Walmart</a:t>
                      </a:r>
                    </a:p>
                  </a:txBody>
                  <a:tcPr marL="68580" marR="68580" marT="34290" marB="34290" vert="vert270" anchor="ctr">
                    <a:solidFill>
                      <a:schemeClr val="bg2"/>
                    </a:solidFill>
                  </a:tcPr>
                </a:tc>
                <a:extLst>
                  <a:ext uri="{0D108BD9-81ED-4DB2-BD59-A6C34878D82A}">
                    <a16:rowId xmlns:a16="http://schemas.microsoft.com/office/drawing/2014/main" val="2799006142"/>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2145400579"/>
              </p:ext>
            </p:extLst>
          </p:nvPr>
        </p:nvGraphicFramePr>
        <p:xfrm>
          <a:off x="797668" y="1123942"/>
          <a:ext cx="7843095" cy="3608396"/>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31558447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BEEAFD28-7A86-D661-445F-8A87117C4D5F}"/>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BEEAFD28-7A86-D661-445F-8A87117C4D5F}"/>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2AE6370A-FCC9-0DD3-BA63-97C29F486F85}"/>
              </a:ext>
            </a:extLst>
          </p:cNvPr>
          <p:cNvSpPr>
            <a:spLocks noGrp="1"/>
          </p:cNvSpPr>
          <p:nvPr>
            <p:ph type="dt" sz="half" idx="14"/>
          </p:nvPr>
        </p:nvSpPr>
        <p:spPr>
          <a:xfrm>
            <a:off x="8082390" y="4972050"/>
            <a:ext cx="557609" cy="171450"/>
          </a:xfrm>
        </p:spPr>
        <p:txBody>
          <a:bodyPr/>
          <a:lstStyle/>
          <a:p>
            <a:fld id="{137A5A6B-1D04-4253-BE52-9327F172A452}" type="datetime1">
              <a:rPr lang="en-US"/>
              <a:pPr/>
              <a:t>8/18/2025</a:t>
            </a:fld>
            <a:endParaRPr lang="en-US"/>
          </a:p>
        </p:txBody>
      </p:sp>
      <p:sp>
        <p:nvSpPr>
          <p:cNvPr id="4" name="Footer Placeholder 3">
            <a:extLst>
              <a:ext uri="{FF2B5EF4-FFF2-40B4-BE49-F238E27FC236}">
                <a16:creationId xmlns:a16="http://schemas.microsoft.com/office/drawing/2014/main" id="{A2832584-706C-4382-AF50-0823DF5C2D22}"/>
              </a:ext>
            </a:extLst>
          </p:cNvPr>
          <p:cNvSpPr>
            <a:spLocks noGrp="1"/>
          </p:cNvSpPr>
          <p:nvPr>
            <p:ph type="ftr" sz="quarter" idx="15"/>
          </p:nvPr>
        </p:nvSpPr>
        <p:spPr>
          <a:xfrm>
            <a:off x="546969" y="4970700"/>
            <a:ext cx="6451742" cy="174151"/>
          </a:xfrm>
        </p:spPr>
        <p:txBody>
          <a:bodyPr/>
          <a:lstStyle/>
          <a:p>
            <a:endParaRPr lang="en-US"/>
          </a:p>
        </p:txBody>
      </p:sp>
      <p:sp>
        <p:nvSpPr>
          <p:cNvPr id="3" name="Slide Number Placeholder 2">
            <a:extLst>
              <a:ext uri="{FF2B5EF4-FFF2-40B4-BE49-F238E27FC236}">
                <a16:creationId xmlns:a16="http://schemas.microsoft.com/office/drawing/2014/main" id="{C38F0F28-1A01-6874-5418-B8FD2F31AB62}"/>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a:t>
            </a:fld>
            <a:endParaRPr lang="en-US"/>
          </a:p>
        </p:txBody>
      </p:sp>
      <p:sp>
        <p:nvSpPr>
          <p:cNvPr id="5" name="Text Placeholder 4">
            <a:extLst>
              <a:ext uri="{FF2B5EF4-FFF2-40B4-BE49-F238E27FC236}">
                <a16:creationId xmlns:a16="http://schemas.microsoft.com/office/drawing/2014/main" id="{E7922D6F-A446-8634-C351-325C82E3E207}"/>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117FAC48-0BC8-9EEF-704E-B6A60F125B14}"/>
              </a:ext>
            </a:extLst>
          </p:cNvPr>
          <p:cNvSpPr>
            <a:spLocks noGrp="1"/>
          </p:cNvSpPr>
          <p:nvPr>
            <p:ph type="body" sz="quarter" idx="18"/>
          </p:nvPr>
        </p:nvSpPr>
        <p:spPr>
          <a:xfrm>
            <a:off x="503238" y="774000"/>
            <a:ext cx="8136762" cy="360000"/>
          </a:xfrm>
        </p:spPr>
        <p:txBody>
          <a:bodyPr lIns="91440" tIns="45720" rIns="91440" bIns="45720" anchor="t"/>
          <a:lstStyle/>
          <a:p>
            <a:pPr>
              <a:defRPr sz="1200">
                <a:latin typeface="Nexa Bold (Headings)"/>
              </a:defRPr>
            </a:pPr>
            <a:r>
              <a:t>Volume sold on deal Summary | By Brand | By Segment | Manual Shave Men | Walmart | P12M</a:t>
            </a:r>
          </a:p>
        </p:txBody>
      </p:sp>
      <p:sp>
        <p:nvSpPr>
          <p:cNvPr id="7" name="Title 6">
            <a:extLst>
              <a:ext uri="{FF2B5EF4-FFF2-40B4-BE49-F238E27FC236}">
                <a16:creationId xmlns:a16="http://schemas.microsoft.com/office/drawing/2014/main" id="{2681A043-873B-7332-A980-7DB230DD3689}"/>
              </a:ext>
            </a:extLst>
          </p:cNvPr>
          <p:cNvSpPr>
            <a:spLocks noGrp="1"/>
          </p:cNvSpPr>
          <p:nvPr>
            <p:ph type="title"/>
          </p:nvPr>
        </p:nvSpPr>
        <p:spPr>
          <a:xfrm>
            <a:off x="504000" y="-1"/>
            <a:ext cx="8136000" cy="771525"/>
          </a:xfrm>
          <a:noFill/>
        </p:spPr>
        <p:txBody>
          <a:bodyPr vert="horz" lIns="91440" tIns="45720" rIns="91440" bIns="45720" anchor="b"/>
          <a:lstStyle/>
          <a:p>
            <a:pPr>
              <a:defRPr sz="1600">
                <a:latin typeface="Nexa Bold (Headings)"/>
              </a:defRPr>
            </a:pPr>
            <a:r>
              <a:rPr lang="en-US" dirty="0">
                <a:highlight>
                  <a:srgbClr val="FFFF00"/>
                </a:highlight>
              </a:rPr>
              <a:t>VSOD Summary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9" name="T1">
            <a:extLst>
              <a:ext uri="{FF2B5EF4-FFF2-40B4-BE49-F238E27FC236}">
                <a16:creationId xmlns:a16="http://schemas.microsoft.com/office/drawing/2014/main" id="{7108F197-7AB0-011A-C04E-4916F0733682}"/>
              </a:ext>
            </a:extLst>
          </p:cNvPr>
          <p:cNvGraphicFramePr>
            <a:graphicFrameLocks noGrp="1"/>
          </p:cNvGraphicFramePr>
          <p:nvPr>
            <p:extLst>
              <p:ext uri="{D42A27DB-BD31-4B8C-83A1-F6EECF244321}">
                <p14:modId xmlns:p14="http://schemas.microsoft.com/office/powerpoint/2010/main" val="2570051479"/>
              </p:ext>
            </p:extLst>
          </p:nvPr>
        </p:nvGraphicFramePr>
        <p:xfrm>
          <a:off x="541080" y="1133761"/>
          <a:ext cx="8094123" cy="3801000"/>
        </p:xfrm>
        <a:graphic>
          <a:graphicData uri="http://schemas.openxmlformats.org/drawingml/2006/table">
            <a:tbl>
              <a:tblPr firstRow="1" bandRow="1">
                <a:tableStyleId>{5C22544A-7EE6-4342-B048-85BDC9FD1C3A}</a:tableStyleId>
              </a:tblPr>
              <a:tblGrid>
                <a:gridCol w="1618824">
                  <a:extLst>
                    <a:ext uri="{9D8B030D-6E8A-4147-A177-3AD203B41FA5}">
                      <a16:colId xmlns:a16="http://schemas.microsoft.com/office/drawing/2014/main" val="2374043349"/>
                    </a:ext>
                  </a:extLst>
                </a:gridCol>
                <a:gridCol w="2158433">
                  <a:extLst>
                    <a:ext uri="{9D8B030D-6E8A-4147-A177-3AD203B41FA5}">
                      <a16:colId xmlns:a16="http://schemas.microsoft.com/office/drawing/2014/main" val="8673104"/>
                    </a:ext>
                  </a:extLst>
                </a:gridCol>
                <a:gridCol w="2158433">
                  <a:extLst>
                    <a:ext uri="{9D8B030D-6E8A-4147-A177-3AD203B41FA5}">
                      <a16:colId xmlns:a16="http://schemas.microsoft.com/office/drawing/2014/main" val="1028273140"/>
                    </a:ext>
                  </a:extLst>
                </a:gridCol>
                <a:gridCol w="2158433">
                  <a:extLst>
                    <a:ext uri="{9D8B030D-6E8A-4147-A177-3AD203B41FA5}">
                      <a16:colId xmlns:a16="http://schemas.microsoft.com/office/drawing/2014/main" val="2342841255"/>
                    </a:ext>
                  </a:extLst>
                </a:gridCol>
              </a:tblGrid>
              <a:tr h="365007">
                <a:tc>
                  <a:txBody>
                    <a:bodyPr/>
                    <a:lstStyle/>
                    <a:p>
                      <a:pPr algn="ctr"/>
                      <a:endParaRPr lang="en-US" sz="1000" b="0" i="0" kern="1200">
                        <a:solidFill>
                          <a:srgbClr val="575555"/>
                        </a:solidFill>
                        <a:latin typeface="Nexa Bold" panose="00000800000000000000" pitchFamily="2" charset="0"/>
                        <a:ea typeface="+mn-ea"/>
                        <a:cs typeface="+mn-cs"/>
                      </a:endParaRPr>
                    </a:p>
                  </a:txBody>
                  <a:tcPr marL="68580" marR="68580" marT="68580" marB="3429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Disposables</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Razors</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Refills</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145331">
                <a:tc>
                  <a:txBody>
                    <a:bodyPr/>
                    <a:lstStyle/>
                    <a:p>
                      <a:pPr algn="ctr">
                        <a:defRPr sz="800">
                          <a:latin typeface="Nexa Bold"/>
                        </a:defRPr>
                      </a:pPr>
                      <a:r>
                        <a:t>Total</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9%</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29831157"/>
                  </a:ext>
                </a:extLst>
              </a:tr>
              <a:tr h="1145331">
                <a:tc>
                  <a:txBody>
                    <a:bodyPr/>
                    <a:lstStyle/>
                    <a:p>
                      <a:pPr algn="ctr">
                        <a:defRPr sz="800">
                          <a:latin typeface="Nexa Bold"/>
                        </a:defRPr>
                      </a:pPr>
                      <a:r>
                        <a:t>Schick</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11%</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33%</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29%</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66783464"/>
                  </a:ext>
                </a:extLst>
              </a:tr>
              <a:tr h="1145331">
                <a:tc>
                  <a:txBody>
                    <a:bodyPr/>
                    <a:lstStyle/>
                    <a:p>
                      <a:pPr algn="ctr">
                        <a:defRPr sz="800">
                          <a:latin typeface="Nexa Bold"/>
                        </a:defRPr>
                      </a:pPr>
                      <a:r>
                        <a:t>Equate</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6%</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6%</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21538582"/>
                  </a:ext>
                </a:extLst>
              </a:tr>
            </a:tbl>
          </a:graphicData>
        </a:graphic>
      </p:graphicFrame>
    </p:spTree>
    <p:extLst>
      <p:ext uri="{BB962C8B-B14F-4D97-AF65-F5344CB8AC3E}">
        <p14:creationId xmlns:p14="http://schemas.microsoft.com/office/powerpoint/2010/main" val="4203309677"/>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8/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0</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ales per retailer | Cremo | Razor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ontent Placeholder 19">
            <a:extLst>
              <a:ext uri="{FF2B5EF4-FFF2-40B4-BE49-F238E27FC236}">
                <a16:creationId xmlns:a16="http://schemas.microsoft.com/office/drawing/2014/main" id="{9F2B971D-B103-BD41-69B0-5B94255F8973}"/>
              </a:ext>
            </a:extLst>
          </p:cNvPr>
          <p:cNvGraphicFramePr>
            <a:graphicFrameLocks/>
          </p:cNvGraphicFramePr>
          <p:nvPr>
            <p:extLst>
              <p:ext uri="{D42A27DB-BD31-4B8C-83A1-F6EECF244321}">
                <p14:modId xmlns:p14="http://schemas.microsoft.com/office/powerpoint/2010/main" val="588380682"/>
              </p:ext>
            </p:extLst>
          </p:nvPr>
        </p:nvGraphicFramePr>
        <p:xfrm>
          <a:off x="797668" y="1152000"/>
          <a:ext cx="7842332" cy="154617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1632237063"/>
              </p:ext>
            </p:extLst>
          </p:nvPr>
        </p:nvGraphicFramePr>
        <p:xfrm>
          <a:off x="541177" y="1131888"/>
          <a:ext cx="216000" cy="3104140"/>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1552070">
                <a:tc>
                  <a:txBody>
                    <a:bodyPr/>
                    <a:lstStyle/>
                    <a:p>
                      <a:pPr algn="ctr">
                        <a:defRPr sz="800">
                          <a:latin typeface="Nexa Bold"/>
                        </a:defRPr>
                      </a:pPr>
                      <a:r>
                        <a:t>Bj's And Sam's</a:t>
                      </a:r>
                    </a:p>
                  </a:txBody>
                  <a:tcPr marL="68580" marR="68580" marT="34290" marB="34290" vert="vert270" anchor="ctr">
                    <a:solidFill>
                      <a:schemeClr val="bg2"/>
                    </a:solidFill>
                  </a:tcPr>
                </a:tc>
                <a:extLst>
                  <a:ext uri="{0D108BD9-81ED-4DB2-BD59-A6C34878D82A}">
                    <a16:rowId xmlns:a16="http://schemas.microsoft.com/office/drawing/2014/main" val="2799006142"/>
                  </a:ext>
                </a:extLst>
              </a:tr>
              <a:tr h="1552070">
                <a:tc>
                  <a:txBody>
                    <a:bodyPr/>
                    <a:lstStyle/>
                    <a:p>
                      <a:pPr algn="ctr">
                        <a:defRPr sz="800">
                          <a:latin typeface="Nexa Bold"/>
                        </a:defRPr>
                      </a:pPr>
                      <a:r>
                        <a:t>Walmart</a:t>
                      </a: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1436690496"/>
              </p:ext>
            </p:extLst>
          </p:nvPr>
        </p:nvGraphicFramePr>
        <p:xfrm>
          <a:off x="797668" y="2910213"/>
          <a:ext cx="7842332" cy="1822543"/>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383852712"/>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8/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1</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ales per retailer | Cremo | Refill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3888019475"/>
              </p:ext>
            </p:extLst>
          </p:nvPr>
        </p:nvGraphicFramePr>
        <p:xfrm>
          <a:off x="539750" y="1131888"/>
          <a:ext cx="216000" cy="3099737"/>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3099737">
                <a:tc>
                  <a:txBody>
                    <a:bodyPr/>
                    <a:lstStyle/>
                    <a:p>
                      <a:pPr algn="ctr">
                        <a:defRPr sz="800">
                          <a:latin typeface="Nexa Bold"/>
                        </a:defRPr>
                      </a:pPr>
                      <a:r>
                        <a:t>Walmart</a:t>
                      </a:r>
                    </a:p>
                  </a:txBody>
                  <a:tcPr marL="68580" marR="68580" marT="34290" marB="34290" vert="vert270" anchor="ctr">
                    <a:solidFill>
                      <a:schemeClr val="bg2"/>
                    </a:solidFill>
                  </a:tcPr>
                </a:tc>
                <a:extLst>
                  <a:ext uri="{0D108BD9-81ED-4DB2-BD59-A6C34878D82A}">
                    <a16:rowId xmlns:a16="http://schemas.microsoft.com/office/drawing/2014/main" val="2799006142"/>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2145400579"/>
              </p:ext>
            </p:extLst>
          </p:nvPr>
        </p:nvGraphicFramePr>
        <p:xfrm>
          <a:off x="797668" y="1123942"/>
          <a:ext cx="7843095" cy="3608396"/>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052492658"/>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8/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2</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ales per retailer | Edgewell Personal Care | Disposable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ontent Placeholder 19">
            <a:extLst>
              <a:ext uri="{FF2B5EF4-FFF2-40B4-BE49-F238E27FC236}">
                <a16:creationId xmlns:a16="http://schemas.microsoft.com/office/drawing/2014/main" id="{9F2B971D-B103-BD41-69B0-5B94255F8973}"/>
              </a:ext>
            </a:extLst>
          </p:cNvPr>
          <p:cNvGraphicFramePr>
            <a:graphicFrameLocks/>
          </p:cNvGraphicFramePr>
          <p:nvPr>
            <p:extLst>
              <p:ext uri="{D42A27DB-BD31-4B8C-83A1-F6EECF244321}">
                <p14:modId xmlns:p14="http://schemas.microsoft.com/office/powerpoint/2010/main" val="588380682"/>
              </p:ext>
            </p:extLst>
          </p:nvPr>
        </p:nvGraphicFramePr>
        <p:xfrm>
          <a:off x="797668" y="1152000"/>
          <a:ext cx="7842332" cy="154617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1632237063"/>
              </p:ext>
            </p:extLst>
          </p:nvPr>
        </p:nvGraphicFramePr>
        <p:xfrm>
          <a:off x="541177" y="1131888"/>
          <a:ext cx="216000" cy="3104140"/>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1552070">
                <a:tc>
                  <a:txBody>
                    <a:bodyPr/>
                    <a:lstStyle/>
                    <a:p>
                      <a:pPr algn="ctr">
                        <a:defRPr sz="800">
                          <a:latin typeface="Nexa Bold"/>
                        </a:defRPr>
                      </a:pPr>
                      <a:r>
                        <a:t>Bj's And Sam's</a:t>
                      </a:r>
                    </a:p>
                  </a:txBody>
                  <a:tcPr marL="68580" marR="68580" marT="34290" marB="34290" vert="vert270" anchor="ctr">
                    <a:solidFill>
                      <a:schemeClr val="bg2"/>
                    </a:solidFill>
                  </a:tcPr>
                </a:tc>
                <a:extLst>
                  <a:ext uri="{0D108BD9-81ED-4DB2-BD59-A6C34878D82A}">
                    <a16:rowId xmlns:a16="http://schemas.microsoft.com/office/drawing/2014/main" val="2799006142"/>
                  </a:ext>
                </a:extLst>
              </a:tr>
              <a:tr h="1552070">
                <a:tc>
                  <a:txBody>
                    <a:bodyPr/>
                    <a:lstStyle/>
                    <a:p>
                      <a:pPr algn="ctr">
                        <a:defRPr sz="800">
                          <a:latin typeface="Nexa Bold"/>
                        </a:defRPr>
                      </a:pPr>
                      <a:r>
                        <a:t>Walmart</a:t>
                      </a: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1436690496"/>
              </p:ext>
            </p:extLst>
          </p:nvPr>
        </p:nvGraphicFramePr>
        <p:xfrm>
          <a:off x="797668" y="2910213"/>
          <a:ext cx="7842332" cy="1822543"/>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084267825"/>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8/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3</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ales per retailer | Edgewell Personal Care | Razor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ontent Placeholder 19">
            <a:extLst>
              <a:ext uri="{FF2B5EF4-FFF2-40B4-BE49-F238E27FC236}">
                <a16:creationId xmlns:a16="http://schemas.microsoft.com/office/drawing/2014/main" id="{9F2B971D-B103-BD41-69B0-5B94255F8973}"/>
              </a:ext>
            </a:extLst>
          </p:cNvPr>
          <p:cNvGraphicFramePr>
            <a:graphicFrameLocks/>
          </p:cNvGraphicFramePr>
          <p:nvPr>
            <p:extLst>
              <p:ext uri="{D42A27DB-BD31-4B8C-83A1-F6EECF244321}">
                <p14:modId xmlns:p14="http://schemas.microsoft.com/office/powerpoint/2010/main" val="588380682"/>
              </p:ext>
            </p:extLst>
          </p:nvPr>
        </p:nvGraphicFramePr>
        <p:xfrm>
          <a:off x="797668" y="1152000"/>
          <a:ext cx="7842332" cy="154617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1632237063"/>
              </p:ext>
            </p:extLst>
          </p:nvPr>
        </p:nvGraphicFramePr>
        <p:xfrm>
          <a:off x="541177" y="1131888"/>
          <a:ext cx="216000" cy="3104140"/>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1552070">
                <a:tc>
                  <a:txBody>
                    <a:bodyPr/>
                    <a:lstStyle/>
                    <a:p>
                      <a:pPr algn="ctr">
                        <a:defRPr sz="800">
                          <a:latin typeface="Nexa Bold"/>
                        </a:defRPr>
                      </a:pPr>
                      <a:r>
                        <a:t>Bj's And Sam's</a:t>
                      </a:r>
                    </a:p>
                  </a:txBody>
                  <a:tcPr marL="68580" marR="68580" marT="34290" marB="34290" vert="vert270" anchor="ctr">
                    <a:solidFill>
                      <a:schemeClr val="bg2"/>
                    </a:solidFill>
                  </a:tcPr>
                </a:tc>
                <a:extLst>
                  <a:ext uri="{0D108BD9-81ED-4DB2-BD59-A6C34878D82A}">
                    <a16:rowId xmlns:a16="http://schemas.microsoft.com/office/drawing/2014/main" val="2799006142"/>
                  </a:ext>
                </a:extLst>
              </a:tr>
              <a:tr h="1552070">
                <a:tc>
                  <a:txBody>
                    <a:bodyPr/>
                    <a:lstStyle/>
                    <a:p>
                      <a:pPr algn="ctr">
                        <a:defRPr sz="800">
                          <a:latin typeface="Nexa Bold"/>
                        </a:defRPr>
                      </a:pPr>
                      <a:r>
                        <a:t>Walmart</a:t>
                      </a: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1436690496"/>
              </p:ext>
            </p:extLst>
          </p:nvPr>
        </p:nvGraphicFramePr>
        <p:xfrm>
          <a:off x="797668" y="2910213"/>
          <a:ext cx="7842332" cy="1822543"/>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532828215"/>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8/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4</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ales per retailer | Edgewell Personal Care | Refill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3888019475"/>
              </p:ext>
            </p:extLst>
          </p:nvPr>
        </p:nvGraphicFramePr>
        <p:xfrm>
          <a:off x="539750" y="1131888"/>
          <a:ext cx="216000" cy="3099737"/>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3099737">
                <a:tc>
                  <a:txBody>
                    <a:bodyPr/>
                    <a:lstStyle/>
                    <a:p>
                      <a:pPr algn="ctr">
                        <a:defRPr sz="800">
                          <a:latin typeface="Nexa Bold"/>
                        </a:defRPr>
                      </a:pPr>
                      <a:r>
                        <a:t>Walmart</a:t>
                      </a:r>
                    </a:p>
                  </a:txBody>
                  <a:tcPr marL="68580" marR="68580" marT="34290" marB="34290" vert="vert270" anchor="ctr">
                    <a:solidFill>
                      <a:schemeClr val="bg2"/>
                    </a:solidFill>
                  </a:tcPr>
                </a:tc>
                <a:extLst>
                  <a:ext uri="{0D108BD9-81ED-4DB2-BD59-A6C34878D82A}">
                    <a16:rowId xmlns:a16="http://schemas.microsoft.com/office/drawing/2014/main" val="2799006142"/>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2145400579"/>
              </p:ext>
            </p:extLst>
          </p:nvPr>
        </p:nvGraphicFramePr>
        <p:xfrm>
          <a:off x="797668" y="1123942"/>
          <a:ext cx="7843095" cy="3608396"/>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903591044"/>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8/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5</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ales per retailer | Equate | Disposable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3888019475"/>
              </p:ext>
            </p:extLst>
          </p:nvPr>
        </p:nvGraphicFramePr>
        <p:xfrm>
          <a:off x="539750" y="1131888"/>
          <a:ext cx="216000" cy="3099737"/>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3099737">
                <a:tc>
                  <a:txBody>
                    <a:bodyPr/>
                    <a:lstStyle/>
                    <a:p>
                      <a:pPr algn="ctr">
                        <a:defRPr sz="800">
                          <a:latin typeface="Nexa Bold"/>
                        </a:defRPr>
                      </a:pPr>
                      <a:r>
                        <a:t>Walmart</a:t>
                      </a:r>
                    </a:p>
                  </a:txBody>
                  <a:tcPr marL="68580" marR="68580" marT="34290" marB="34290" vert="vert270" anchor="ctr">
                    <a:solidFill>
                      <a:schemeClr val="bg2"/>
                    </a:solidFill>
                  </a:tcPr>
                </a:tc>
                <a:extLst>
                  <a:ext uri="{0D108BD9-81ED-4DB2-BD59-A6C34878D82A}">
                    <a16:rowId xmlns:a16="http://schemas.microsoft.com/office/drawing/2014/main" val="2799006142"/>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2145400579"/>
              </p:ext>
            </p:extLst>
          </p:nvPr>
        </p:nvGraphicFramePr>
        <p:xfrm>
          <a:off x="797668" y="1123942"/>
          <a:ext cx="7843095" cy="3608396"/>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029261970"/>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8/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6</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ales per retailer | Equate | Razor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3888019475"/>
              </p:ext>
            </p:extLst>
          </p:nvPr>
        </p:nvGraphicFramePr>
        <p:xfrm>
          <a:off x="539750" y="1131888"/>
          <a:ext cx="216000" cy="3099737"/>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3099737">
                <a:tc>
                  <a:txBody>
                    <a:bodyPr/>
                    <a:lstStyle/>
                    <a:p>
                      <a:pPr algn="ctr">
                        <a:defRPr sz="800">
                          <a:latin typeface="Nexa Bold"/>
                        </a:defRPr>
                      </a:pPr>
                      <a:r>
                        <a:t>Walmart</a:t>
                      </a:r>
                    </a:p>
                  </a:txBody>
                  <a:tcPr marL="68580" marR="68580" marT="34290" marB="34290" vert="vert270" anchor="ctr">
                    <a:solidFill>
                      <a:schemeClr val="bg2"/>
                    </a:solidFill>
                  </a:tcPr>
                </a:tc>
                <a:extLst>
                  <a:ext uri="{0D108BD9-81ED-4DB2-BD59-A6C34878D82A}">
                    <a16:rowId xmlns:a16="http://schemas.microsoft.com/office/drawing/2014/main" val="2799006142"/>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2145400579"/>
              </p:ext>
            </p:extLst>
          </p:nvPr>
        </p:nvGraphicFramePr>
        <p:xfrm>
          <a:off x="797668" y="1123942"/>
          <a:ext cx="7843095" cy="3608396"/>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20814904"/>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8/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7</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ales per retailer | Equate | Refill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3888019475"/>
              </p:ext>
            </p:extLst>
          </p:nvPr>
        </p:nvGraphicFramePr>
        <p:xfrm>
          <a:off x="539750" y="1131888"/>
          <a:ext cx="216000" cy="3099737"/>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3099737">
                <a:tc>
                  <a:txBody>
                    <a:bodyPr/>
                    <a:lstStyle/>
                    <a:p>
                      <a:pPr algn="ctr">
                        <a:defRPr sz="800">
                          <a:latin typeface="Nexa Bold"/>
                        </a:defRPr>
                      </a:pPr>
                      <a:r>
                        <a:t>Walmart</a:t>
                      </a:r>
                    </a:p>
                  </a:txBody>
                  <a:tcPr marL="68580" marR="68580" marT="34290" marB="34290" vert="vert270" anchor="ctr">
                    <a:solidFill>
                      <a:schemeClr val="bg2"/>
                    </a:solidFill>
                  </a:tcPr>
                </a:tc>
                <a:extLst>
                  <a:ext uri="{0D108BD9-81ED-4DB2-BD59-A6C34878D82A}">
                    <a16:rowId xmlns:a16="http://schemas.microsoft.com/office/drawing/2014/main" val="2799006142"/>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2145400579"/>
              </p:ext>
            </p:extLst>
          </p:nvPr>
        </p:nvGraphicFramePr>
        <p:xfrm>
          <a:off x="797668" y="1123942"/>
          <a:ext cx="7843095" cy="3608396"/>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855264035"/>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8/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8</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ales per retailer | Schick | Disposable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ontent Placeholder 19">
            <a:extLst>
              <a:ext uri="{FF2B5EF4-FFF2-40B4-BE49-F238E27FC236}">
                <a16:creationId xmlns:a16="http://schemas.microsoft.com/office/drawing/2014/main" id="{9F2B971D-B103-BD41-69B0-5B94255F8973}"/>
              </a:ext>
            </a:extLst>
          </p:cNvPr>
          <p:cNvGraphicFramePr>
            <a:graphicFrameLocks/>
          </p:cNvGraphicFramePr>
          <p:nvPr>
            <p:extLst>
              <p:ext uri="{D42A27DB-BD31-4B8C-83A1-F6EECF244321}">
                <p14:modId xmlns:p14="http://schemas.microsoft.com/office/powerpoint/2010/main" val="588380682"/>
              </p:ext>
            </p:extLst>
          </p:nvPr>
        </p:nvGraphicFramePr>
        <p:xfrm>
          <a:off x="797668" y="1152000"/>
          <a:ext cx="7842332" cy="154617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1632237063"/>
              </p:ext>
            </p:extLst>
          </p:nvPr>
        </p:nvGraphicFramePr>
        <p:xfrm>
          <a:off x="541177" y="1131888"/>
          <a:ext cx="216000" cy="3104140"/>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1552070">
                <a:tc>
                  <a:txBody>
                    <a:bodyPr/>
                    <a:lstStyle/>
                    <a:p>
                      <a:pPr algn="ctr">
                        <a:defRPr sz="800">
                          <a:latin typeface="Nexa Bold"/>
                        </a:defRPr>
                      </a:pPr>
                      <a:r>
                        <a:t>Bj's And Sam's</a:t>
                      </a:r>
                    </a:p>
                  </a:txBody>
                  <a:tcPr marL="68580" marR="68580" marT="34290" marB="34290" vert="vert270" anchor="ctr">
                    <a:solidFill>
                      <a:schemeClr val="bg2"/>
                    </a:solidFill>
                  </a:tcPr>
                </a:tc>
                <a:extLst>
                  <a:ext uri="{0D108BD9-81ED-4DB2-BD59-A6C34878D82A}">
                    <a16:rowId xmlns:a16="http://schemas.microsoft.com/office/drawing/2014/main" val="2799006142"/>
                  </a:ext>
                </a:extLst>
              </a:tr>
              <a:tr h="1552070">
                <a:tc>
                  <a:txBody>
                    <a:bodyPr/>
                    <a:lstStyle/>
                    <a:p>
                      <a:pPr algn="ctr">
                        <a:defRPr sz="800">
                          <a:latin typeface="Nexa Bold"/>
                        </a:defRPr>
                      </a:pPr>
                      <a:r>
                        <a:t>Walmart</a:t>
                      </a: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1436690496"/>
              </p:ext>
            </p:extLst>
          </p:nvPr>
        </p:nvGraphicFramePr>
        <p:xfrm>
          <a:off x="797668" y="2910213"/>
          <a:ext cx="7842332" cy="1822543"/>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467774883"/>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8/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9</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ales per retailer | Schick | Razor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3888019475"/>
              </p:ext>
            </p:extLst>
          </p:nvPr>
        </p:nvGraphicFramePr>
        <p:xfrm>
          <a:off x="539750" y="1131888"/>
          <a:ext cx="216000" cy="3099737"/>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3099737">
                <a:tc>
                  <a:txBody>
                    <a:bodyPr/>
                    <a:lstStyle/>
                    <a:p>
                      <a:pPr algn="ctr">
                        <a:defRPr sz="800">
                          <a:latin typeface="Nexa Bold"/>
                        </a:defRPr>
                      </a:pPr>
                      <a:r>
                        <a:t>Walmart</a:t>
                      </a:r>
                    </a:p>
                  </a:txBody>
                  <a:tcPr marL="68580" marR="68580" marT="34290" marB="34290" vert="vert270" anchor="ctr">
                    <a:solidFill>
                      <a:schemeClr val="bg2"/>
                    </a:solidFill>
                  </a:tcPr>
                </a:tc>
                <a:extLst>
                  <a:ext uri="{0D108BD9-81ED-4DB2-BD59-A6C34878D82A}">
                    <a16:rowId xmlns:a16="http://schemas.microsoft.com/office/drawing/2014/main" val="2799006142"/>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2145400579"/>
              </p:ext>
            </p:extLst>
          </p:nvPr>
        </p:nvGraphicFramePr>
        <p:xfrm>
          <a:off x="797668" y="1123942"/>
          <a:ext cx="7843095" cy="3608396"/>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71503672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222808FD-ACDC-CC7C-8644-923BBD07B29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222808FD-ACDC-CC7C-8644-923BBD07B29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20" name="Chart 19">
            <a:extLst>
              <a:ext uri="{FF2B5EF4-FFF2-40B4-BE49-F238E27FC236}">
                <a16:creationId xmlns:a16="http://schemas.microsoft.com/office/drawing/2014/main" id="{B1FE0159-4E62-4A93-B376-F25F0DD097D3}"/>
              </a:ext>
            </a:extLst>
          </p:cNvPr>
          <p:cNvGraphicFramePr/>
          <p:nvPr>
            <p:extLst>
              <p:ext uri="{D42A27DB-BD31-4B8C-83A1-F6EECF244321}">
                <p14:modId xmlns:p14="http://schemas.microsoft.com/office/powerpoint/2010/main" val="2033798583"/>
              </p:ext>
            </p:extLst>
          </p:nvPr>
        </p:nvGraphicFramePr>
        <p:xfrm>
          <a:off x="540000" y="1133639"/>
          <a:ext cx="8100000" cy="3509669"/>
        </p:xfrm>
        <a:graphic>
          <a:graphicData uri="http://schemas.openxmlformats.org/drawingml/2006/chart">
            <c:chart xmlns:c="http://schemas.openxmlformats.org/drawingml/2006/chart" xmlns:r="http://schemas.openxmlformats.org/officeDocument/2006/relationships" r:id="rId6"/>
          </a:graphicData>
        </a:graphic>
      </p:graphicFrame>
      <p:sp>
        <p:nvSpPr>
          <p:cNvPr id="18" name="Date Placeholder 17">
            <a:extLst>
              <a:ext uri="{FF2B5EF4-FFF2-40B4-BE49-F238E27FC236}">
                <a16:creationId xmlns:a16="http://schemas.microsoft.com/office/drawing/2014/main" id="{C1C06F40-5A22-69B8-A694-546E63E1BA0C}"/>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2D21337-F382-4FF4-BA40-ECEC8B4CA4A3}"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1" name="Footer Placeholder 20">
            <a:extLst>
              <a:ext uri="{FF2B5EF4-FFF2-40B4-BE49-F238E27FC236}">
                <a16:creationId xmlns:a16="http://schemas.microsoft.com/office/drawing/2014/main" id="{FBEB295B-B94A-FD99-99F9-D5E99E11858A}"/>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9" name="Slide Number Placeholder 18">
            <a:extLst>
              <a:ext uri="{FF2B5EF4-FFF2-40B4-BE49-F238E27FC236}">
                <a16:creationId xmlns:a16="http://schemas.microsoft.com/office/drawing/2014/main" id="{7E74166E-6986-24E0-FE60-F1092A45D18E}"/>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10" name="Text Placeholder 9">
            <a:extLst>
              <a:ext uri="{FF2B5EF4-FFF2-40B4-BE49-F238E27FC236}">
                <a16:creationId xmlns:a16="http://schemas.microsoft.com/office/drawing/2014/main" id="{234ADF96-6FB1-4D58-8B54-873D4F64F33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Content Placeholder 1">
            <a:extLst>
              <a:ext uri="{FF2B5EF4-FFF2-40B4-BE49-F238E27FC236}">
                <a16:creationId xmlns:a16="http://schemas.microsoft.com/office/drawing/2014/main" id="{130C05D2-CF04-4DA4-82C4-9E265F94F028}"/>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by brand | Manual Shave Men | P12M</a:t>
            </a:r>
          </a:p>
        </p:txBody>
      </p:sp>
      <p:sp>
        <p:nvSpPr>
          <p:cNvPr id="17" name="Title 16">
            <a:extLst>
              <a:ext uri="{FF2B5EF4-FFF2-40B4-BE49-F238E27FC236}">
                <a16:creationId xmlns:a16="http://schemas.microsoft.com/office/drawing/2014/main" id="{4F16EBB1-4C79-4A6F-8868-FA7F8505744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by retailer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4" name="TextBox 13">
            <a:extLst>
              <a:ext uri="{FF2B5EF4-FFF2-40B4-BE49-F238E27FC236}">
                <a16:creationId xmlns:a16="http://schemas.microsoft.com/office/drawing/2014/main" id="{B849EA39-EC71-4F3C-B69E-269019A3BE69}"/>
              </a:ext>
            </a:extLst>
          </p:cNvPr>
          <p:cNvSpPr txBox="1"/>
          <p:nvPr/>
        </p:nvSpPr>
        <p:spPr>
          <a:xfrm>
            <a:off x="546969" y="1143000"/>
            <a:ext cx="2019790" cy="24622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Bubble size by Promo sales</a:t>
            </a:r>
            <a:endParaRPr kumimoji="0" lang="en-CH"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endParaRPr>
          </a:p>
        </p:txBody>
      </p:sp>
      <p:graphicFrame>
        <p:nvGraphicFramePr>
          <p:cNvPr id="5" name="Table 5">
            <a:extLst>
              <a:ext uri="{FF2B5EF4-FFF2-40B4-BE49-F238E27FC236}">
                <a16:creationId xmlns:a16="http://schemas.microsoft.com/office/drawing/2014/main" id="{5519C780-DF17-D565-38D2-E69BBF4F5C8A}"/>
              </a:ext>
            </a:extLst>
          </p:cNvPr>
          <p:cNvGraphicFramePr>
            <a:graphicFrameLocks noGrp="1"/>
          </p:cNvGraphicFramePr>
          <p:nvPr/>
        </p:nvGraphicFramePr>
        <p:xfrm>
          <a:off x="1525055" y="4454629"/>
          <a:ext cx="6815298" cy="434340"/>
        </p:xfrm>
        <a:graphic>
          <a:graphicData uri="http://schemas.openxmlformats.org/drawingml/2006/table">
            <a:tbl>
              <a:tblPr firstRow="1" bandRow="1">
                <a:tableStyleId>{5C22544A-7EE6-4342-B048-85BDC9FD1C3A}</a:tableStyleId>
              </a:tblPr>
              <a:tblGrid>
                <a:gridCol w="3407649">
                  <a:extLst>
                    <a:ext uri="{9D8B030D-6E8A-4147-A177-3AD203B41FA5}">
                      <a16:colId xmlns:a16="http://schemas.microsoft.com/office/drawing/2014/main" val="826016986"/>
                    </a:ext>
                  </a:extLst>
                </a:gridCol>
                <a:gridCol w="3407649">
                  <a:extLst>
                    <a:ext uri="{9D8B030D-6E8A-4147-A177-3AD203B41FA5}">
                      <a16:colId xmlns:a16="http://schemas.microsoft.com/office/drawing/2014/main" val="2337481629"/>
                    </a:ext>
                  </a:extLst>
                </a:gridCol>
              </a:tblGrid>
              <a:tr h="278130">
                <a:tc>
                  <a:txBody>
                    <a:bodyPr/>
                    <a:lstStyle/>
                    <a:p>
                      <a:pPr algn="ctr">
                        <a:defRPr sz="800" b="0">
                          <a:solidFill>
                            <a:srgbClr val="575555"/>
                          </a:solidFill>
                          <a:latin typeface="Nexa Bold"/>
                        </a:defRPr>
                      </a:pPr>
                      <a:r>
                        <a:rPr sz="800">
                          <a:latin typeface="Nexa Bold"/>
                        </a:rPr>
                        <a:t>Bj's And Sam's</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Walmart</a:t>
                      </a:r>
                    </a:p>
                  </a:txBody>
                  <a:tcPr marL="68580" marR="68580" marT="34290" marB="34290" anchor="ctr">
                    <a:solidFill>
                      <a:schemeClr val="bg1">
                        <a:lumMod val="95000"/>
                      </a:schemeClr>
                    </a:solidFill>
                  </a:tcPr>
                </a:tc>
                <a:extLst>
                  <a:ext uri="{0D108BD9-81ED-4DB2-BD59-A6C34878D82A}">
                    <a16:rowId xmlns:a16="http://schemas.microsoft.com/office/drawing/2014/main" val="43767022"/>
                  </a:ext>
                </a:extLst>
              </a:tr>
            </a:tbl>
          </a:graphicData>
        </a:graphic>
      </p:graphicFrame>
    </p:spTree>
    <p:extLst>
      <p:ext uri="{BB962C8B-B14F-4D97-AF65-F5344CB8AC3E}">
        <p14:creationId xmlns:p14="http://schemas.microsoft.com/office/powerpoint/2010/main" val="3086465684"/>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8/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0</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ales per retailer | Schick | Refills</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3888019475"/>
              </p:ext>
            </p:extLst>
          </p:nvPr>
        </p:nvGraphicFramePr>
        <p:xfrm>
          <a:off x="539750" y="1131888"/>
          <a:ext cx="216000" cy="3099737"/>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3099737">
                <a:tc>
                  <a:txBody>
                    <a:bodyPr/>
                    <a:lstStyle/>
                    <a:p>
                      <a:pPr algn="ctr">
                        <a:defRPr sz="800">
                          <a:latin typeface="Nexa Bold"/>
                        </a:defRPr>
                      </a:pPr>
                      <a:r>
                        <a:t>Walmart</a:t>
                      </a:r>
                    </a:p>
                  </a:txBody>
                  <a:tcPr marL="68580" marR="68580" marT="34290" marB="34290" vert="vert270" anchor="ctr">
                    <a:solidFill>
                      <a:schemeClr val="bg2"/>
                    </a:solidFill>
                  </a:tcPr>
                </a:tc>
                <a:extLst>
                  <a:ext uri="{0D108BD9-81ED-4DB2-BD59-A6C34878D82A}">
                    <a16:rowId xmlns:a16="http://schemas.microsoft.com/office/drawing/2014/main" val="2799006142"/>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2145400579"/>
              </p:ext>
            </p:extLst>
          </p:nvPr>
        </p:nvGraphicFramePr>
        <p:xfrm>
          <a:off x="797668" y="1123942"/>
          <a:ext cx="7843095" cy="3608396"/>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019620969"/>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8/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1</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vs discount depth | By Event | Manual Shave Men | Schick | Bj's And Sam's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829962272"/>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2330992847"/>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646743768"/>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8/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2</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vs discount depth | By Event | Manual Shave Men | Schick | Walmart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1531583382"/>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2126527474"/>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399339823"/>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8/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3</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vs discount depth | By Event | Manual Shave Men | Equate | Walmart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269962375"/>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1703680268"/>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900050884"/>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8/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4</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vs discount depth | By Event | Disposables | Schick | Bj's And Sam's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2728403299"/>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4120866962"/>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842338128"/>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8/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5</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vs discount depth | By Event | System | Schick | Walmart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2605769524"/>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891578274"/>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726513211"/>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8/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6</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vs discount depth | By Event | Disposables | Schick | Walmart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466021488"/>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4252857278"/>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930964202"/>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8/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7</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vs discount depth | By Event | System | Equate | Walmart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2445175067"/>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1350191293"/>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348358586"/>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8/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8</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vs discount depth | By Event | Disposables | Equate | Walmart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2430984293"/>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2760073359"/>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4254333006"/>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8/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9</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vs discount depth | By Event | Disposables | Schick | Bj's And Sam's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3857524524"/>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2466954883"/>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84919874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222808FD-ACDC-CC7C-8644-923BBD07B29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222808FD-ACDC-CC7C-8644-923BBD07B29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20" name="Chart 19">
            <a:extLst>
              <a:ext uri="{FF2B5EF4-FFF2-40B4-BE49-F238E27FC236}">
                <a16:creationId xmlns:a16="http://schemas.microsoft.com/office/drawing/2014/main" id="{B1FE0159-4E62-4A93-B376-F25F0DD097D3}"/>
              </a:ext>
            </a:extLst>
          </p:cNvPr>
          <p:cNvGraphicFramePr/>
          <p:nvPr>
            <p:extLst>
              <p:ext uri="{D42A27DB-BD31-4B8C-83A1-F6EECF244321}">
                <p14:modId xmlns:p14="http://schemas.microsoft.com/office/powerpoint/2010/main" val="2706189078"/>
              </p:ext>
            </p:extLst>
          </p:nvPr>
        </p:nvGraphicFramePr>
        <p:xfrm>
          <a:off x="540000" y="1133639"/>
          <a:ext cx="8100000" cy="3509669"/>
        </p:xfrm>
        <a:graphic>
          <a:graphicData uri="http://schemas.openxmlformats.org/drawingml/2006/chart">
            <c:chart xmlns:c="http://schemas.openxmlformats.org/drawingml/2006/chart" xmlns:r="http://schemas.openxmlformats.org/officeDocument/2006/relationships" r:id="rId6"/>
          </a:graphicData>
        </a:graphic>
      </p:graphicFrame>
      <p:sp>
        <p:nvSpPr>
          <p:cNvPr id="18" name="Date Placeholder 17">
            <a:extLst>
              <a:ext uri="{FF2B5EF4-FFF2-40B4-BE49-F238E27FC236}">
                <a16:creationId xmlns:a16="http://schemas.microsoft.com/office/drawing/2014/main" id="{C1C06F40-5A22-69B8-A694-546E63E1BA0C}"/>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2D21337-F382-4FF4-BA40-ECEC8B4CA4A3}"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1" name="Footer Placeholder 20">
            <a:extLst>
              <a:ext uri="{FF2B5EF4-FFF2-40B4-BE49-F238E27FC236}">
                <a16:creationId xmlns:a16="http://schemas.microsoft.com/office/drawing/2014/main" id="{FBEB295B-B94A-FD99-99F9-D5E99E11858A}"/>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9" name="Slide Number Placeholder 18">
            <a:extLst>
              <a:ext uri="{FF2B5EF4-FFF2-40B4-BE49-F238E27FC236}">
                <a16:creationId xmlns:a16="http://schemas.microsoft.com/office/drawing/2014/main" id="{7E74166E-6986-24E0-FE60-F1092A45D18E}"/>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10" name="Text Placeholder 9">
            <a:extLst>
              <a:ext uri="{FF2B5EF4-FFF2-40B4-BE49-F238E27FC236}">
                <a16:creationId xmlns:a16="http://schemas.microsoft.com/office/drawing/2014/main" id="{234ADF96-6FB1-4D58-8B54-873D4F64F33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Content Placeholder 1">
            <a:extLst>
              <a:ext uri="{FF2B5EF4-FFF2-40B4-BE49-F238E27FC236}">
                <a16:creationId xmlns:a16="http://schemas.microsoft.com/office/drawing/2014/main" id="{130C05D2-CF04-4DA4-82C4-9E265F94F028}"/>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by brand | System | P12M</a:t>
            </a:r>
          </a:p>
        </p:txBody>
      </p:sp>
      <p:sp>
        <p:nvSpPr>
          <p:cNvPr id="17" name="Title 16">
            <a:extLst>
              <a:ext uri="{FF2B5EF4-FFF2-40B4-BE49-F238E27FC236}">
                <a16:creationId xmlns:a16="http://schemas.microsoft.com/office/drawing/2014/main" id="{4F16EBB1-4C79-4A6F-8868-FA7F8505744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by retailer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4" name="TextBox 13">
            <a:extLst>
              <a:ext uri="{FF2B5EF4-FFF2-40B4-BE49-F238E27FC236}">
                <a16:creationId xmlns:a16="http://schemas.microsoft.com/office/drawing/2014/main" id="{B849EA39-EC71-4F3C-B69E-269019A3BE69}"/>
              </a:ext>
            </a:extLst>
          </p:cNvPr>
          <p:cNvSpPr txBox="1"/>
          <p:nvPr/>
        </p:nvSpPr>
        <p:spPr>
          <a:xfrm>
            <a:off x="546969" y="1143000"/>
            <a:ext cx="2019790" cy="24622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Bubble size by Promo sales</a:t>
            </a:r>
            <a:endParaRPr kumimoji="0" lang="en-CH"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endParaRPr>
          </a:p>
        </p:txBody>
      </p:sp>
      <p:graphicFrame>
        <p:nvGraphicFramePr>
          <p:cNvPr id="5" name="Table 5">
            <a:extLst>
              <a:ext uri="{FF2B5EF4-FFF2-40B4-BE49-F238E27FC236}">
                <a16:creationId xmlns:a16="http://schemas.microsoft.com/office/drawing/2014/main" id="{5519C780-DF17-D565-38D2-E69BBF4F5C8A}"/>
              </a:ext>
            </a:extLst>
          </p:cNvPr>
          <p:cNvGraphicFramePr>
            <a:graphicFrameLocks noGrp="1"/>
          </p:cNvGraphicFramePr>
          <p:nvPr/>
        </p:nvGraphicFramePr>
        <p:xfrm>
          <a:off x="1525055" y="4454629"/>
          <a:ext cx="6815298" cy="434340"/>
        </p:xfrm>
        <a:graphic>
          <a:graphicData uri="http://schemas.openxmlformats.org/drawingml/2006/table">
            <a:tbl>
              <a:tblPr firstRow="1" bandRow="1">
                <a:tableStyleId>{5C22544A-7EE6-4342-B048-85BDC9FD1C3A}</a:tableStyleId>
              </a:tblPr>
              <a:tblGrid>
                <a:gridCol w="3407649">
                  <a:extLst>
                    <a:ext uri="{9D8B030D-6E8A-4147-A177-3AD203B41FA5}">
                      <a16:colId xmlns:a16="http://schemas.microsoft.com/office/drawing/2014/main" val="826016986"/>
                    </a:ext>
                  </a:extLst>
                </a:gridCol>
                <a:gridCol w="3407649">
                  <a:extLst>
                    <a:ext uri="{9D8B030D-6E8A-4147-A177-3AD203B41FA5}">
                      <a16:colId xmlns:a16="http://schemas.microsoft.com/office/drawing/2014/main" val="2337481629"/>
                    </a:ext>
                  </a:extLst>
                </a:gridCol>
              </a:tblGrid>
              <a:tr h="278130">
                <a:tc>
                  <a:txBody>
                    <a:bodyPr/>
                    <a:lstStyle/>
                    <a:p>
                      <a:pPr algn="ctr">
                        <a:defRPr sz="800" b="0">
                          <a:solidFill>
                            <a:srgbClr val="575555"/>
                          </a:solidFill>
                          <a:latin typeface="Nexa Bold"/>
                        </a:defRPr>
                      </a:pPr>
                      <a:r>
                        <a:rPr sz="800">
                          <a:latin typeface="Nexa Bold"/>
                        </a:rPr>
                        <a:t>Bj's And Sam's</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Walmart</a:t>
                      </a:r>
                    </a:p>
                  </a:txBody>
                  <a:tcPr marL="68580" marR="68580" marT="34290" marB="34290" anchor="ctr">
                    <a:solidFill>
                      <a:schemeClr val="bg1">
                        <a:lumMod val="95000"/>
                      </a:schemeClr>
                    </a:solidFill>
                  </a:tcPr>
                </a:tc>
                <a:extLst>
                  <a:ext uri="{0D108BD9-81ED-4DB2-BD59-A6C34878D82A}">
                    <a16:rowId xmlns:a16="http://schemas.microsoft.com/office/drawing/2014/main" val="43767022"/>
                  </a:ext>
                </a:extLst>
              </a:tr>
            </a:tbl>
          </a:graphicData>
        </a:graphic>
      </p:graphicFrame>
    </p:spTree>
    <p:extLst>
      <p:ext uri="{BB962C8B-B14F-4D97-AF65-F5344CB8AC3E}">
        <p14:creationId xmlns:p14="http://schemas.microsoft.com/office/powerpoint/2010/main" val="84872044"/>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8/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0</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vs discount depth | By Event | Disposables | Schick | Walmart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1531440559"/>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322103300"/>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4109592291"/>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8/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1</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vs discount depth | By Event | Razors | Schick | Walmart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3568561080"/>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3826317128"/>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340746103"/>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8/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2</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vs discount depth | By Event | Refills | Schick | Walmart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2334378518"/>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3082237717"/>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62999419"/>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8/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3</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vs discount depth | By Event | Disposables | Equate | Walmart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33635176"/>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3475693756"/>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518234209"/>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8/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4</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vs discount depth | By Event | Razors | Equate | Walmart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3744653770"/>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2826034798"/>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60279358"/>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8/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5</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vs discount depth | By Event | Refills | Equate | Walmart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2908793258"/>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1476119842"/>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325096219"/>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95CF73-FB89-0B93-0441-FDF373A036EC}"/>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AB13B13-F7D6-AB1A-272B-46EBC1B9E54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41E7C470-70FD-74A4-7110-38731C308BE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D8EE896-E39A-D9A3-82FC-83118032EF6C}"/>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8/18/2025</a:t>
            </a:fld>
            <a:endParaRPr lang="en-US" noProof="0"/>
          </a:p>
        </p:txBody>
      </p:sp>
      <p:sp>
        <p:nvSpPr>
          <p:cNvPr id="4" name="Footer" hidden="1">
            <a:extLst>
              <a:ext uri="{FF2B5EF4-FFF2-40B4-BE49-F238E27FC236}">
                <a16:creationId xmlns:a16="http://schemas.microsoft.com/office/drawing/2014/main" id="{AB28F48E-D5E4-D538-CB9A-E9C13BFCEAE0}"/>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9BA2CC67-B5B8-0EB8-BBDE-2724EE1E3FF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6</a:t>
            </a:fld>
            <a:endParaRPr lang="en-US" noProof="0"/>
          </a:p>
        </p:txBody>
      </p:sp>
      <p:sp>
        <p:nvSpPr>
          <p:cNvPr id="15" name="Data Source">
            <a:extLst>
              <a:ext uri="{FF2B5EF4-FFF2-40B4-BE49-F238E27FC236}">
                <a16:creationId xmlns:a16="http://schemas.microsoft.com/office/drawing/2014/main" id="{38CC35B7-7F02-B941-A370-376CD60D8FD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Heading">
            <a:extLst>
              <a:ext uri="{FF2B5EF4-FFF2-40B4-BE49-F238E27FC236}">
                <a16:creationId xmlns:a16="http://schemas.microsoft.com/office/drawing/2014/main" id="{5C8672B9-8DFE-21DE-D66C-D147E4B826BF}"/>
              </a:ext>
            </a:extLst>
          </p:cNvPr>
          <p:cNvSpPr>
            <a:spLocks noGrp="1"/>
          </p:cNvSpPr>
          <p:nvPr>
            <p:ph type="body" sz="quarter" idx="18"/>
          </p:nvPr>
        </p:nvSpPr>
        <p:spPr>
          <a:xfrm>
            <a:off x="503238" y="774000"/>
            <a:ext cx="8136762" cy="360000"/>
          </a:xfrm>
        </p:spPr>
        <p:txBody>
          <a:bodyPr/>
          <a:lstStyle/>
          <a:p>
            <a:pPr>
              <a:defRPr sz="1200">
                <a:latin typeface="Nexa Bold (Headings)"/>
              </a:defRPr>
            </a:pPr>
            <a:r>
              <a:t>Seasonality Index | By Category | Bj's And Sam's | Edgewell Personal Care | P3Y</a:t>
            </a:r>
          </a:p>
        </p:txBody>
      </p:sp>
      <p:sp>
        <p:nvSpPr>
          <p:cNvPr id="10" name="Title">
            <a:extLst>
              <a:ext uri="{FF2B5EF4-FFF2-40B4-BE49-F238E27FC236}">
                <a16:creationId xmlns:a16="http://schemas.microsoft.com/office/drawing/2014/main" id="{A8A34122-56EC-F352-D73B-2D45A1E7F2E1}"/>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14B7B400-46BB-5B96-87CC-231336D4FB5E}"/>
              </a:ext>
            </a:extLst>
          </p:cNvPr>
          <p:cNvGraphicFramePr>
            <a:graphicFrameLocks noGrp="1"/>
          </p:cNvGraphicFramePr>
          <p:nvPr>
            <p:extLst>
              <p:ext uri="{D42A27DB-BD31-4B8C-83A1-F6EECF244321}">
                <p14:modId xmlns:p14="http://schemas.microsoft.com/office/powerpoint/2010/main" val="96233226"/>
              </p:ext>
            </p:extLst>
          </p:nvPr>
        </p:nvGraphicFramePr>
        <p:xfrm>
          <a:off x="543331" y="1131888"/>
          <a:ext cx="303523" cy="1724763"/>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1724763">
                <a:tc>
                  <a:txBody>
                    <a:bodyPr/>
                    <a:lstStyle/>
                    <a:p>
                      <a:pPr algn="ctr">
                        <a:defRPr sz="800">
                          <a:latin typeface="Nexa Bold"/>
                        </a:defRPr>
                      </a:pPr>
                      <a:r>
                        <a:t>Manual Shave Men</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7" name="C2">
            <a:extLst>
              <a:ext uri="{FF2B5EF4-FFF2-40B4-BE49-F238E27FC236}">
                <a16:creationId xmlns:a16="http://schemas.microsoft.com/office/drawing/2014/main" id="{0613F4CC-2F1F-C5A5-BDE8-AA9221D44A00}"/>
              </a:ext>
            </a:extLst>
          </p:cNvPr>
          <p:cNvGraphicFramePr>
            <a:graphicFrameLocks/>
          </p:cNvGraphicFramePr>
          <p:nvPr>
            <p:extLst>
              <p:ext uri="{D42A27DB-BD31-4B8C-83A1-F6EECF244321}">
                <p14:modId xmlns:p14="http://schemas.microsoft.com/office/powerpoint/2010/main" val="3918470"/>
              </p:ext>
            </p:extLst>
          </p:nvPr>
        </p:nvGraphicFramePr>
        <p:xfrm>
          <a:off x="940093" y="1104344"/>
          <a:ext cx="7740000" cy="19259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018540936"/>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95CF73-FB89-0B93-0441-FDF373A036EC}"/>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AB13B13-F7D6-AB1A-272B-46EBC1B9E54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41E7C470-70FD-74A4-7110-38731C308BE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D8EE896-E39A-D9A3-82FC-83118032EF6C}"/>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8/18/2025</a:t>
            </a:fld>
            <a:endParaRPr lang="en-US" noProof="0"/>
          </a:p>
        </p:txBody>
      </p:sp>
      <p:sp>
        <p:nvSpPr>
          <p:cNvPr id="4" name="Footer" hidden="1">
            <a:extLst>
              <a:ext uri="{FF2B5EF4-FFF2-40B4-BE49-F238E27FC236}">
                <a16:creationId xmlns:a16="http://schemas.microsoft.com/office/drawing/2014/main" id="{AB28F48E-D5E4-D538-CB9A-E9C13BFCEAE0}"/>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9BA2CC67-B5B8-0EB8-BBDE-2724EE1E3FF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7</a:t>
            </a:fld>
            <a:endParaRPr lang="en-US" noProof="0"/>
          </a:p>
        </p:txBody>
      </p:sp>
      <p:sp>
        <p:nvSpPr>
          <p:cNvPr id="15" name="Data Source">
            <a:extLst>
              <a:ext uri="{FF2B5EF4-FFF2-40B4-BE49-F238E27FC236}">
                <a16:creationId xmlns:a16="http://schemas.microsoft.com/office/drawing/2014/main" id="{38CC35B7-7F02-B941-A370-376CD60D8FD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Heading">
            <a:extLst>
              <a:ext uri="{FF2B5EF4-FFF2-40B4-BE49-F238E27FC236}">
                <a16:creationId xmlns:a16="http://schemas.microsoft.com/office/drawing/2014/main" id="{5C8672B9-8DFE-21DE-D66C-D147E4B826BF}"/>
              </a:ext>
            </a:extLst>
          </p:cNvPr>
          <p:cNvSpPr>
            <a:spLocks noGrp="1"/>
          </p:cNvSpPr>
          <p:nvPr>
            <p:ph type="body" sz="quarter" idx="18"/>
          </p:nvPr>
        </p:nvSpPr>
        <p:spPr>
          <a:xfrm>
            <a:off x="503238" y="774000"/>
            <a:ext cx="8136762" cy="360000"/>
          </a:xfrm>
        </p:spPr>
        <p:txBody>
          <a:bodyPr/>
          <a:lstStyle/>
          <a:p>
            <a:pPr>
              <a:defRPr sz="1200">
                <a:latin typeface="Nexa Bold (Headings)"/>
              </a:defRPr>
            </a:pPr>
            <a:r>
              <a:t>Seasonality Index | By Category | Walmart | Edgewell Personal Care | P3Y</a:t>
            </a:r>
          </a:p>
        </p:txBody>
      </p:sp>
      <p:sp>
        <p:nvSpPr>
          <p:cNvPr id="10" name="Title">
            <a:extLst>
              <a:ext uri="{FF2B5EF4-FFF2-40B4-BE49-F238E27FC236}">
                <a16:creationId xmlns:a16="http://schemas.microsoft.com/office/drawing/2014/main" id="{A8A34122-56EC-F352-D73B-2D45A1E7F2E1}"/>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14B7B400-46BB-5B96-87CC-231336D4FB5E}"/>
              </a:ext>
            </a:extLst>
          </p:cNvPr>
          <p:cNvGraphicFramePr>
            <a:graphicFrameLocks noGrp="1"/>
          </p:cNvGraphicFramePr>
          <p:nvPr>
            <p:extLst>
              <p:ext uri="{D42A27DB-BD31-4B8C-83A1-F6EECF244321}">
                <p14:modId xmlns:p14="http://schemas.microsoft.com/office/powerpoint/2010/main" val="96233226"/>
              </p:ext>
            </p:extLst>
          </p:nvPr>
        </p:nvGraphicFramePr>
        <p:xfrm>
          <a:off x="543331" y="1131888"/>
          <a:ext cx="303523" cy="1724763"/>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1724763">
                <a:tc>
                  <a:txBody>
                    <a:bodyPr/>
                    <a:lstStyle/>
                    <a:p>
                      <a:pPr algn="ctr">
                        <a:defRPr sz="800">
                          <a:latin typeface="Nexa Bold"/>
                        </a:defRPr>
                      </a:pPr>
                      <a:r>
                        <a:t>Manual Shave Men</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7" name="C2">
            <a:extLst>
              <a:ext uri="{FF2B5EF4-FFF2-40B4-BE49-F238E27FC236}">
                <a16:creationId xmlns:a16="http://schemas.microsoft.com/office/drawing/2014/main" id="{0613F4CC-2F1F-C5A5-BDE8-AA9221D44A00}"/>
              </a:ext>
            </a:extLst>
          </p:cNvPr>
          <p:cNvGraphicFramePr>
            <a:graphicFrameLocks/>
          </p:cNvGraphicFramePr>
          <p:nvPr>
            <p:extLst>
              <p:ext uri="{D42A27DB-BD31-4B8C-83A1-F6EECF244321}">
                <p14:modId xmlns:p14="http://schemas.microsoft.com/office/powerpoint/2010/main" val="3918470"/>
              </p:ext>
            </p:extLst>
          </p:nvPr>
        </p:nvGraphicFramePr>
        <p:xfrm>
          <a:off x="940093" y="1104344"/>
          <a:ext cx="7740000" cy="19259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74019318"/>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9E8954-1515-D7C7-CADE-697E5B1B6CFD}"/>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1E7C470-70FD-74A4-7110-38731C308BE5}"/>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A31CD73C-E590-EB05-5ED8-56326A9D19A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A31311B7-7F72-87F6-55E7-1BC91CD3C2E7}"/>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8/18/2025</a:t>
            </a:fld>
            <a:endParaRPr lang="en-US" noProof="0"/>
          </a:p>
        </p:txBody>
      </p:sp>
      <p:sp>
        <p:nvSpPr>
          <p:cNvPr id="4" name="Footer" hidden="1">
            <a:extLst>
              <a:ext uri="{FF2B5EF4-FFF2-40B4-BE49-F238E27FC236}">
                <a16:creationId xmlns:a16="http://schemas.microsoft.com/office/drawing/2014/main" id="{5457E92C-FE8F-068A-AB01-8E89F7BC9259}"/>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D3DAB0AB-0BA9-EB58-0EDC-64D2F6D79EC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8</a:t>
            </a:fld>
            <a:endParaRPr lang="en-US" noProof="0"/>
          </a:p>
        </p:txBody>
      </p:sp>
      <p:sp>
        <p:nvSpPr>
          <p:cNvPr id="15" name="Data Source">
            <a:extLst>
              <a:ext uri="{FF2B5EF4-FFF2-40B4-BE49-F238E27FC236}">
                <a16:creationId xmlns:a16="http://schemas.microsoft.com/office/drawing/2014/main" id="{ADE960CF-89BD-5FBC-2BEA-F1C9A35B7B8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Heading">
            <a:extLst>
              <a:ext uri="{FF2B5EF4-FFF2-40B4-BE49-F238E27FC236}">
                <a16:creationId xmlns:a16="http://schemas.microsoft.com/office/drawing/2014/main" id="{F9773734-2E19-E380-3F9E-EAD09C6E5058}"/>
              </a:ext>
            </a:extLst>
          </p:cNvPr>
          <p:cNvSpPr>
            <a:spLocks noGrp="1"/>
          </p:cNvSpPr>
          <p:nvPr>
            <p:ph type="body" sz="quarter" idx="18"/>
          </p:nvPr>
        </p:nvSpPr>
        <p:spPr>
          <a:xfrm>
            <a:off x="503238" y="774000"/>
            <a:ext cx="8136762" cy="360000"/>
          </a:xfrm>
        </p:spPr>
        <p:txBody>
          <a:bodyPr/>
          <a:lstStyle/>
          <a:p>
            <a:pPr>
              <a:defRPr sz="1200">
                <a:latin typeface="Nexa Bold (Headings)"/>
              </a:defRPr>
            </a:pPr>
            <a:r>
              <a:t>Seasonality Index | By Sector | Manual Shave Men | Bj's And Sam's | P3Y</a:t>
            </a:r>
          </a:p>
        </p:txBody>
      </p:sp>
      <p:sp>
        <p:nvSpPr>
          <p:cNvPr id="10" name="Title">
            <a:extLst>
              <a:ext uri="{FF2B5EF4-FFF2-40B4-BE49-F238E27FC236}">
                <a16:creationId xmlns:a16="http://schemas.microsoft.com/office/drawing/2014/main" id="{F980C054-4AD2-36DA-DF8D-72F9EAC5DF19}"/>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FD3FCF59-4D3D-63C9-1DFC-522E85B6F473}"/>
              </a:ext>
            </a:extLst>
          </p:cNvPr>
          <p:cNvGraphicFramePr>
            <a:graphicFrameLocks noGrp="1"/>
          </p:cNvGraphicFramePr>
          <p:nvPr>
            <p:extLst>
              <p:ext uri="{D42A27DB-BD31-4B8C-83A1-F6EECF244321}">
                <p14:modId xmlns:p14="http://schemas.microsoft.com/office/powerpoint/2010/main" val="1035235721"/>
              </p:ext>
            </p:extLst>
          </p:nvPr>
        </p:nvGraphicFramePr>
        <p:xfrm>
          <a:off x="543331" y="1131888"/>
          <a:ext cx="303523" cy="3449526"/>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1724763">
                <a:tc>
                  <a:txBody>
                    <a:bodyPr/>
                    <a:lstStyle/>
                    <a:p>
                      <a:pPr algn="ctr">
                        <a:defRPr sz="800">
                          <a:latin typeface="Nexa Bold"/>
                        </a:defRPr>
                      </a:pPr>
                      <a:r>
                        <a:t>Disposables</a:t>
                      </a:r>
                    </a:p>
                  </a:txBody>
                  <a:tcPr marL="4763" marR="4763" marT="4763" marB="0" vert="vert270" anchor="ctr">
                    <a:solidFill>
                      <a:schemeClr val="bg1">
                        <a:lumMod val="95000"/>
                      </a:schemeClr>
                    </a:solidFill>
                  </a:tcPr>
                </a:tc>
                <a:extLst>
                  <a:ext uri="{0D108BD9-81ED-4DB2-BD59-A6C34878D82A}">
                    <a16:rowId xmlns:a16="http://schemas.microsoft.com/office/drawing/2014/main" val="2824268041"/>
                  </a:ext>
                </a:extLst>
              </a:tr>
              <a:tr h="1724763">
                <a:tc>
                  <a:txBody>
                    <a:bodyPr/>
                    <a:lstStyle/>
                    <a:p>
                      <a:pPr algn="ctr">
                        <a:defRPr sz="800">
                          <a:latin typeface="Nexa Bold"/>
                        </a:defRPr>
                      </a:pPr>
                      <a:r>
                        <a:t>System</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26" name="C2">
            <a:extLst>
              <a:ext uri="{FF2B5EF4-FFF2-40B4-BE49-F238E27FC236}">
                <a16:creationId xmlns:a16="http://schemas.microsoft.com/office/drawing/2014/main" id="{C9AD43ED-F4F6-AE24-ED0E-A55367C3D320}"/>
              </a:ext>
            </a:extLst>
          </p:cNvPr>
          <p:cNvGraphicFramePr>
            <a:graphicFrameLocks/>
          </p:cNvGraphicFramePr>
          <p:nvPr>
            <p:extLst>
              <p:ext uri="{D42A27DB-BD31-4B8C-83A1-F6EECF244321}">
                <p14:modId xmlns:p14="http://schemas.microsoft.com/office/powerpoint/2010/main" val="3145327643"/>
              </p:ext>
            </p:extLst>
          </p:nvPr>
        </p:nvGraphicFramePr>
        <p:xfrm>
          <a:off x="899999" y="1131887"/>
          <a:ext cx="7740000" cy="172061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 name="C2">
            <a:extLst>
              <a:ext uri="{FF2B5EF4-FFF2-40B4-BE49-F238E27FC236}">
                <a16:creationId xmlns:a16="http://schemas.microsoft.com/office/drawing/2014/main" id="{5EA9E6B5-135B-7DC7-61F1-7E527BE5562D}"/>
              </a:ext>
            </a:extLst>
          </p:cNvPr>
          <p:cNvGraphicFramePr>
            <a:graphicFrameLocks/>
          </p:cNvGraphicFramePr>
          <p:nvPr>
            <p:extLst>
              <p:ext uri="{D42A27DB-BD31-4B8C-83A1-F6EECF244321}">
                <p14:modId xmlns:p14="http://schemas.microsoft.com/office/powerpoint/2010/main" val="355700526"/>
              </p:ext>
            </p:extLst>
          </p:nvPr>
        </p:nvGraphicFramePr>
        <p:xfrm>
          <a:off x="907981" y="2853850"/>
          <a:ext cx="7740000" cy="1925969"/>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738815711"/>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9E8954-1515-D7C7-CADE-697E5B1B6CFD}"/>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1E7C470-70FD-74A4-7110-38731C308BE5}"/>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A31CD73C-E590-EB05-5ED8-56326A9D19A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A31311B7-7F72-87F6-55E7-1BC91CD3C2E7}"/>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8/18/2025</a:t>
            </a:fld>
            <a:endParaRPr lang="en-US" noProof="0"/>
          </a:p>
        </p:txBody>
      </p:sp>
      <p:sp>
        <p:nvSpPr>
          <p:cNvPr id="4" name="Footer" hidden="1">
            <a:extLst>
              <a:ext uri="{FF2B5EF4-FFF2-40B4-BE49-F238E27FC236}">
                <a16:creationId xmlns:a16="http://schemas.microsoft.com/office/drawing/2014/main" id="{5457E92C-FE8F-068A-AB01-8E89F7BC9259}"/>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D3DAB0AB-0BA9-EB58-0EDC-64D2F6D79EC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9</a:t>
            </a:fld>
            <a:endParaRPr lang="en-US" noProof="0"/>
          </a:p>
        </p:txBody>
      </p:sp>
      <p:sp>
        <p:nvSpPr>
          <p:cNvPr id="15" name="Data Source">
            <a:extLst>
              <a:ext uri="{FF2B5EF4-FFF2-40B4-BE49-F238E27FC236}">
                <a16:creationId xmlns:a16="http://schemas.microsoft.com/office/drawing/2014/main" id="{ADE960CF-89BD-5FBC-2BEA-F1C9A35B7B8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Heading">
            <a:extLst>
              <a:ext uri="{FF2B5EF4-FFF2-40B4-BE49-F238E27FC236}">
                <a16:creationId xmlns:a16="http://schemas.microsoft.com/office/drawing/2014/main" id="{F9773734-2E19-E380-3F9E-EAD09C6E5058}"/>
              </a:ext>
            </a:extLst>
          </p:cNvPr>
          <p:cNvSpPr>
            <a:spLocks noGrp="1"/>
          </p:cNvSpPr>
          <p:nvPr>
            <p:ph type="body" sz="quarter" idx="18"/>
          </p:nvPr>
        </p:nvSpPr>
        <p:spPr>
          <a:xfrm>
            <a:off x="503238" y="774000"/>
            <a:ext cx="8136762" cy="360000"/>
          </a:xfrm>
        </p:spPr>
        <p:txBody>
          <a:bodyPr/>
          <a:lstStyle/>
          <a:p>
            <a:pPr>
              <a:defRPr sz="1200">
                <a:latin typeface="Nexa Bold (Headings)"/>
              </a:defRPr>
            </a:pPr>
            <a:r>
              <a:t>Seasonality Index | By Sector | Manual Shave Men | Walmart | P3Y</a:t>
            </a:r>
          </a:p>
        </p:txBody>
      </p:sp>
      <p:sp>
        <p:nvSpPr>
          <p:cNvPr id="10" name="Title">
            <a:extLst>
              <a:ext uri="{FF2B5EF4-FFF2-40B4-BE49-F238E27FC236}">
                <a16:creationId xmlns:a16="http://schemas.microsoft.com/office/drawing/2014/main" id="{F980C054-4AD2-36DA-DF8D-72F9EAC5DF19}"/>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FD3FCF59-4D3D-63C9-1DFC-522E85B6F473}"/>
              </a:ext>
            </a:extLst>
          </p:cNvPr>
          <p:cNvGraphicFramePr>
            <a:graphicFrameLocks noGrp="1"/>
          </p:cNvGraphicFramePr>
          <p:nvPr>
            <p:extLst>
              <p:ext uri="{D42A27DB-BD31-4B8C-83A1-F6EECF244321}">
                <p14:modId xmlns:p14="http://schemas.microsoft.com/office/powerpoint/2010/main" val="1035235721"/>
              </p:ext>
            </p:extLst>
          </p:nvPr>
        </p:nvGraphicFramePr>
        <p:xfrm>
          <a:off x="543331" y="1131888"/>
          <a:ext cx="303523" cy="3449526"/>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1724763">
                <a:tc>
                  <a:txBody>
                    <a:bodyPr/>
                    <a:lstStyle/>
                    <a:p>
                      <a:pPr algn="ctr">
                        <a:defRPr sz="800">
                          <a:latin typeface="Nexa Bold"/>
                        </a:defRPr>
                      </a:pPr>
                      <a:r>
                        <a:t>Disposables</a:t>
                      </a:r>
                    </a:p>
                  </a:txBody>
                  <a:tcPr marL="4763" marR="4763" marT="4763" marB="0" vert="vert270" anchor="ctr">
                    <a:solidFill>
                      <a:schemeClr val="bg1">
                        <a:lumMod val="95000"/>
                      </a:schemeClr>
                    </a:solidFill>
                  </a:tcPr>
                </a:tc>
                <a:extLst>
                  <a:ext uri="{0D108BD9-81ED-4DB2-BD59-A6C34878D82A}">
                    <a16:rowId xmlns:a16="http://schemas.microsoft.com/office/drawing/2014/main" val="2824268041"/>
                  </a:ext>
                </a:extLst>
              </a:tr>
              <a:tr h="1724763">
                <a:tc>
                  <a:txBody>
                    <a:bodyPr/>
                    <a:lstStyle/>
                    <a:p>
                      <a:pPr algn="ctr">
                        <a:defRPr sz="800">
                          <a:latin typeface="Nexa Bold"/>
                        </a:defRPr>
                      </a:pPr>
                      <a:r>
                        <a:t>System</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26" name="C2">
            <a:extLst>
              <a:ext uri="{FF2B5EF4-FFF2-40B4-BE49-F238E27FC236}">
                <a16:creationId xmlns:a16="http://schemas.microsoft.com/office/drawing/2014/main" id="{C9AD43ED-F4F6-AE24-ED0E-A55367C3D320}"/>
              </a:ext>
            </a:extLst>
          </p:cNvPr>
          <p:cNvGraphicFramePr>
            <a:graphicFrameLocks/>
          </p:cNvGraphicFramePr>
          <p:nvPr>
            <p:extLst>
              <p:ext uri="{D42A27DB-BD31-4B8C-83A1-F6EECF244321}">
                <p14:modId xmlns:p14="http://schemas.microsoft.com/office/powerpoint/2010/main" val="3145327643"/>
              </p:ext>
            </p:extLst>
          </p:nvPr>
        </p:nvGraphicFramePr>
        <p:xfrm>
          <a:off x="899999" y="1131887"/>
          <a:ext cx="7740000" cy="172061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 name="C2">
            <a:extLst>
              <a:ext uri="{FF2B5EF4-FFF2-40B4-BE49-F238E27FC236}">
                <a16:creationId xmlns:a16="http://schemas.microsoft.com/office/drawing/2014/main" id="{5EA9E6B5-135B-7DC7-61F1-7E527BE5562D}"/>
              </a:ext>
            </a:extLst>
          </p:cNvPr>
          <p:cNvGraphicFramePr>
            <a:graphicFrameLocks/>
          </p:cNvGraphicFramePr>
          <p:nvPr>
            <p:extLst>
              <p:ext uri="{D42A27DB-BD31-4B8C-83A1-F6EECF244321}">
                <p14:modId xmlns:p14="http://schemas.microsoft.com/office/powerpoint/2010/main" val="355700526"/>
              </p:ext>
            </p:extLst>
          </p:nvPr>
        </p:nvGraphicFramePr>
        <p:xfrm>
          <a:off x="907981" y="2853850"/>
          <a:ext cx="7740000" cy="1925969"/>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88866313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222808FD-ACDC-CC7C-8644-923BBD07B29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222808FD-ACDC-CC7C-8644-923BBD07B29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20" name="Chart 19">
            <a:extLst>
              <a:ext uri="{FF2B5EF4-FFF2-40B4-BE49-F238E27FC236}">
                <a16:creationId xmlns:a16="http://schemas.microsoft.com/office/drawing/2014/main" id="{B1FE0159-4E62-4A93-B376-F25F0DD097D3}"/>
              </a:ext>
            </a:extLst>
          </p:cNvPr>
          <p:cNvGraphicFramePr/>
          <p:nvPr>
            <p:extLst>
              <p:ext uri="{D42A27DB-BD31-4B8C-83A1-F6EECF244321}">
                <p14:modId xmlns:p14="http://schemas.microsoft.com/office/powerpoint/2010/main" val="2052339713"/>
              </p:ext>
            </p:extLst>
          </p:nvPr>
        </p:nvGraphicFramePr>
        <p:xfrm>
          <a:off x="540000" y="1133639"/>
          <a:ext cx="8100000" cy="3509669"/>
        </p:xfrm>
        <a:graphic>
          <a:graphicData uri="http://schemas.openxmlformats.org/drawingml/2006/chart">
            <c:chart xmlns:c="http://schemas.openxmlformats.org/drawingml/2006/chart" xmlns:r="http://schemas.openxmlformats.org/officeDocument/2006/relationships" r:id="rId6"/>
          </a:graphicData>
        </a:graphic>
      </p:graphicFrame>
      <p:sp>
        <p:nvSpPr>
          <p:cNvPr id="18" name="Date Placeholder 17">
            <a:extLst>
              <a:ext uri="{FF2B5EF4-FFF2-40B4-BE49-F238E27FC236}">
                <a16:creationId xmlns:a16="http://schemas.microsoft.com/office/drawing/2014/main" id="{C1C06F40-5A22-69B8-A694-546E63E1BA0C}"/>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2D21337-F382-4FF4-BA40-ECEC8B4CA4A3}"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1" name="Footer Placeholder 20">
            <a:extLst>
              <a:ext uri="{FF2B5EF4-FFF2-40B4-BE49-F238E27FC236}">
                <a16:creationId xmlns:a16="http://schemas.microsoft.com/office/drawing/2014/main" id="{FBEB295B-B94A-FD99-99F9-D5E99E11858A}"/>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9" name="Slide Number Placeholder 18">
            <a:extLst>
              <a:ext uri="{FF2B5EF4-FFF2-40B4-BE49-F238E27FC236}">
                <a16:creationId xmlns:a16="http://schemas.microsoft.com/office/drawing/2014/main" id="{7E74166E-6986-24E0-FE60-F1092A45D18E}"/>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10" name="Text Placeholder 9">
            <a:extLst>
              <a:ext uri="{FF2B5EF4-FFF2-40B4-BE49-F238E27FC236}">
                <a16:creationId xmlns:a16="http://schemas.microsoft.com/office/drawing/2014/main" id="{234ADF96-6FB1-4D58-8B54-873D4F64F33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Content Placeholder 1">
            <a:extLst>
              <a:ext uri="{FF2B5EF4-FFF2-40B4-BE49-F238E27FC236}">
                <a16:creationId xmlns:a16="http://schemas.microsoft.com/office/drawing/2014/main" id="{130C05D2-CF04-4DA4-82C4-9E265F94F028}"/>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by brand | Disposables | P12M</a:t>
            </a:r>
          </a:p>
        </p:txBody>
      </p:sp>
      <p:sp>
        <p:nvSpPr>
          <p:cNvPr id="17" name="Title 16">
            <a:extLst>
              <a:ext uri="{FF2B5EF4-FFF2-40B4-BE49-F238E27FC236}">
                <a16:creationId xmlns:a16="http://schemas.microsoft.com/office/drawing/2014/main" id="{4F16EBB1-4C79-4A6F-8868-FA7F8505744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by retailer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4" name="TextBox 13">
            <a:extLst>
              <a:ext uri="{FF2B5EF4-FFF2-40B4-BE49-F238E27FC236}">
                <a16:creationId xmlns:a16="http://schemas.microsoft.com/office/drawing/2014/main" id="{B849EA39-EC71-4F3C-B69E-269019A3BE69}"/>
              </a:ext>
            </a:extLst>
          </p:cNvPr>
          <p:cNvSpPr txBox="1"/>
          <p:nvPr/>
        </p:nvSpPr>
        <p:spPr>
          <a:xfrm>
            <a:off x="546969" y="1143000"/>
            <a:ext cx="2019790" cy="24622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Bubble size by Promo sales</a:t>
            </a:r>
            <a:endParaRPr kumimoji="0" lang="en-CH"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endParaRPr>
          </a:p>
        </p:txBody>
      </p:sp>
      <p:graphicFrame>
        <p:nvGraphicFramePr>
          <p:cNvPr id="5" name="Table 5">
            <a:extLst>
              <a:ext uri="{FF2B5EF4-FFF2-40B4-BE49-F238E27FC236}">
                <a16:creationId xmlns:a16="http://schemas.microsoft.com/office/drawing/2014/main" id="{5519C780-DF17-D565-38D2-E69BBF4F5C8A}"/>
              </a:ext>
            </a:extLst>
          </p:cNvPr>
          <p:cNvGraphicFramePr>
            <a:graphicFrameLocks noGrp="1"/>
          </p:cNvGraphicFramePr>
          <p:nvPr/>
        </p:nvGraphicFramePr>
        <p:xfrm>
          <a:off x="1525055" y="4454629"/>
          <a:ext cx="6815298" cy="434340"/>
        </p:xfrm>
        <a:graphic>
          <a:graphicData uri="http://schemas.openxmlformats.org/drawingml/2006/table">
            <a:tbl>
              <a:tblPr firstRow="1" bandRow="1">
                <a:tableStyleId>{5C22544A-7EE6-4342-B048-85BDC9FD1C3A}</a:tableStyleId>
              </a:tblPr>
              <a:tblGrid>
                <a:gridCol w="3407649">
                  <a:extLst>
                    <a:ext uri="{9D8B030D-6E8A-4147-A177-3AD203B41FA5}">
                      <a16:colId xmlns:a16="http://schemas.microsoft.com/office/drawing/2014/main" val="826016986"/>
                    </a:ext>
                  </a:extLst>
                </a:gridCol>
                <a:gridCol w="3407649">
                  <a:extLst>
                    <a:ext uri="{9D8B030D-6E8A-4147-A177-3AD203B41FA5}">
                      <a16:colId xmlns:a16="http://schemas.microsoft.com/office/drawing/2014/main" val="2337481629"/>
                    </a:ext>
                  </a:extLst>
                </a:gridCol>
              </a:tblGrid>
              <a:tr h="278130">
                <a:tc>
                  <a:txBody>
                    <a:bodyPr/>
                    <a:lstStyle/>
                    <a:p>
                      <a:pPr algn="ctr">
                        <a:defRPr sz="800" b="0">
                          <a:solidFill>
                            <a:srgbClr val="575555"/>
                          </a:solidFill>
                          <a:latin typeface="Nexa Bold"/>
                        </a:defRPr>
                      </a:pPr>
                      <a:r>
                        <a:rPr sz="800">
                          <a:latin typeface="Nexa Bold"/>
                        </a:rPr>
                        <a:t>Bj's And Sam's</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Walmart</a:t>
                      </a:r>
                    </a:p>
                  </a:txBody>
                  <a:tcPr marL="68580" marR="68580" marT="34290" marB="34290" anchor="ctr">
                    <a:solidFill>
                      <a:schemeClr val="bg1">
                        <a:lumMod val="95000"/>
                      </a:schemeClr>
                    </a:solidFill>
                  </a:tcPr>
                </a:tc>
                <a:extLst>
                  <a:ext uri="{0D108BD9-81ED-4DB2-BD59-A6C34878D82A}">
                    <a16:rowId xmlns:a16="http://schemas.microsoft.com/office/drawing/2014/main" val="43767022"/>
                  </a:ext>
                </a:extLst>
              </a:tr>
            </a:tbl>
          </a:graphicData>
        </a:graphic>
      </p:graphicFrame>
    </p:spTree>
    <p:extLst>
      <p:ext uri="{BB962C8B-B14F-4D97-AF65-F5344CB8AC3E}">
        <p14:creationId xmlns:p14="http://schemas.microsoft.com/office/powerpoint/2010/main" val="2621813567"/>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9E8954-1515-D7C7-CADE-697E5B1B6CFD}"/>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1E7C470-70FD-74A4-7110-38731C308BE5}"/>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A31CD73C-E590-EB05-5ED8-56326A9D19A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A31311B7-7F72-87F6-55E7-1BC91CD3C2E7}"/>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8/18/2025</a:t>
            </a:fld>
            <a:endParaRPr lang="en-US" noProof="0"/>
          </a:p>
        </p:txBody>
      </p:sp>
      <p:sp>
        <p:nvSpPr>
          <p:cNvPr id="4" name="Footer" hidden="1">
            <a:extLst>
              <a:ext uri="{FF2B5EF4-FFF2-40B4-BE49-F238E27FC236}">
                <a16:creationId xmlns:a16="http://schemas.microsoft.com/office/drawing/2014/main" id="{5457E92C-FE8F-068A-AB01-8E89F7BC9259}"/>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D3DAB0AB-0BA9-EB58-0EDC-64D2F6D79EC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0</a:t>
            </a:fld>
            <a:endParaRPr lang="en-US" noProof="0"/>
          </a:p>
        </p:txBody>
      </p:sp>
      <p:sp>
        <p:nvSpPr>
          <p:cNvPr id="15" name="Data Source">
            <a:extLst>
              <a:ext uri="{FF2B5EF4-FFF2-40B4-BE49-F238E27FC236}">
                <a16:creationId xmlns:a16="http://schemas.microsoft.com/office/drawing/2014/main" id="{ADE960CF-89BD-5FBC-2BEA-F1C9A35B7B8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Heading">
            <a:extLst>
              <a:ext uri="{FF2B5EF4-FFF2-40B4-BE49-F238E27FC236}">
                <a16:creationId xmlns:a16="http://schemas.microsoft.com/office/drawing/2014/main" id="{F9773734-2E19-E380-3F9E-EAD09C6E5058}"/>
              </a:ext>
            </a:extLst>
          </p:cNvPr>
          <p:cNvSpPr>
            <a:spLocks noGrp="1"/>
          </p:cNvSpPr>
          <p:nvPr>
            <p:ph type="body" sz="quarter" idx="18"/>
          </p:nvPr>
        </p:nvSpPr>
        <p:spPr>
          <a:xfrm>
            <a:off x="503238" y="774000"/>
            <a:ext cx="8136762" cy="360000"/>
          </a:xfrm>
        </p:spPr>
        <p:txBody>
          <a:bodyPr/>
          <a:lstStyle/>
          <a:p>
            <a:pPr>
              <a:defRPr sz="1200">
                <a:latin typeface="Nexa Bold (Headings)"/>
              </a:defRPr>
            </a:pPr>
            <a:r>
              <a:t>Seasonality Index | By Segment | System | Bj's And Sam's | P3Y</a:t>
            </a:r>
          </a:p>
        </p:txBody>
      </p:sp>
      <p:sp>
        <p:nvSpPr>
          <p:cNvPr id="10" name="Title">
            <a:extLst>
              <a:ext uri="{FF2B5EF4-FFF2-40B4-BE49-F238E27FC236}">
                <a16:creationId xmlns:a16="http://schemas.microsoft.com/office/drawing/2014/main" id="{F980C054-4AD2-36DA-DF8D-72F9EAC5DF19}"/>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FD3FCF59-4D3D-63C9-1DFC-522E85B6F473}"/>
              </a:ext>
            </a:extLst>
          </p:cNvPr>
          <p:cNvGraphicFramePr>
            <a:graphicFrameLocks noGrp="1"/>
          </p:cNvGraphicFramePr>
          <p:nvPr>
            <p:extLst>
              <p:ext uri="{D42A27DB-BD31-4B8C-83A1-F6EECF244321}">
                <p14:modId xmlns:p14="http://schemas.microsoft.com/office/powerpoint/2010/main" val="1035235721"/>
              </p:ext>
            </p:extLst>
          </p:nvPr>
        </p:nvGraphicFramePr>
        <p:xfrm>
          <a:off x="543331" y="1131888"/>
          <a:ext cx="303523" cy="3449526"/>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1724763">
                <a:tc>
                  <a:txBody>
                    <a:bodyPr/>
                    <a:lstStyle/>
                    <a:p>
                      <a:pPr algn="ctr">
                        <a:defRPr sz="800">
                          <a:latin typeface="Nexa Bold"/>
                        </a:defRPr>
                      </a:pPr>
                      <a:r>
                        <a:t>Razors</a:t>
                      </a:r>
                    </a:p>
                  </a:txBody>
                  <a:tcPr marL="4763" marR="4763" marT="4763" marB="0" vert="vert270" anchor="ctr">
                    <a:solidFill>
                      <a:schemeClr val="bg1">
                        <a:lumMod val="95000"/>
                      </a:schemeClr>
                    </a:solidFill>
                  </a:tcPr>
                </a:tc>
                <a:extLst>
                  <a:ext uri="{0D108BD9-81ED-4DB2-BD59-A6C34878D82A}">
                    <a16:rowId xmlns:a16="http://schemas.microsoft.com/office/drawing/2014/main" val="2824268041"/>
                  </a:ext>
                </a:extLst>
              </a:tr>
              <a:tr h="1724763">
                <a:tc>
                  <a:txBody>
                    <a:bodyPr/>
                    <a:lstStyle/>
                    <a:p>
                      <a:pPr algn="ctr">
                        <a:defRPr sz="800">
                          <a:latin typeface="Nexa Bold"/>
                        </a:defRPr>
                      </a:pPr>
                      <a:r>
                        <a:t>Refills</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26" name="C2">
            <a:extLst>
              <a:ext uri="{FF2B5EF4-FFF2-40B4-BE49-F238E27FC236}">
                <a16:creationId xmlns:a16="http://schemas.microsoft.com/office/drawing/2014/main" id="{C9AD43ED-F4F6-AE24-ED0E-A55367C3D320}"/>
              </a:ext>
            </a:extLst>
          </p:cNvPr>
          <p:cNvGraphicFramePr>
            <a:graphicFrameLocks/>
          </p:cNvGraphicFramePr>
          <p:nvPr>
            <p:extLst>
              <p:ext uri="{D42A27DB-BD31-4B8C-83A1-F6EECF244321}">
                <p14:modId xmlns:p14="http://schemas.microsoft.com/office/powerpoint/2010/main" val="3145327643"/>
              </p:ext>
            </p:extLst>
          </p:nvPr>
        </p:nvGraphicFramePr>
        <p:xfrm>
          <a:off x="899999" y="1131887"/>
          <a:ext cx="7740000" cy="172061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 name="C2">
            <a:extLst>
              <a:ext uri="{FF2B5EF4-FFF2-40B4-BE49-F238E27FC236}">
                <a16:creationId xmlns:a16="http://schemas.microsoft.com/office/drawing/2014/main" id="{5EA9E6B5-135B-7DC7-61F1-7E527BE5562D}"/>
              </a:ext>
            </a:extLst>
          </p:cNvPr>
          <p:cNvGraphicFramePr>
            <a:graphicFrameLocks/>
          </p:cNvGraphicFramePr>
          <p:nvPr>
            <p:extLst>
              <p:ext uri="{D42A27DB-BD31-4B8C-83A1-F6EECF244321}">
                <p14:modId xmlns:p14="http://schemas.microsoft.com/office/powerpoint/2010/main" val="355700526"/>
              </p:ext>
            </p:extLst>
          </p:nvPr>
        </p:nvGraphicFramePr>
        <p:xfrm>
          <a:off x="907981" y="2853850"/>
          <a:ext cx="7740000" cy="1925969"/>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530669872"/>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95CF73-FB89-0B93-0441-FDF373A036EC}"/>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AB13B13-F7D6-AB1A-272B-46EBC1B9E54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41E7C470-70FD-74A4-7110-38731C308BE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D8EE896-E39A-D9A3-82FC-83118032EF6C}"/>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8/18/2025</a:t>
            </a:fld>
            <a:endParaRPr lang="en-US" noProof="0"/>
          </a:p>
        </p:txBody>
      </p:sp>
      <p:sp>
        <p:nvSpPr>
          <p:cNvPr id="4" name="Footer" hidden="1">
            <a:extLst>
              <a:ext uri="{FF2B5EF4-FFF2-40B4-BE49-F238E27FC236}">
                <a16:creationId xmlns:a16="http://schemas.microsoft.com/office/drawing/2014/main" id="{AB28F48E-D5E4-D538-CB9A-E9C13BFCEAE0}"/>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9BA2CC67-B5B8-0EB8-BBDE-2724EE1E3FF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1</a:t>
            </a:fld>
            <a:endParaRPr lang="en-US" noProof="0"/>
          </a:p>
        </p:txBody>
      </p:sp>
      <p:sp>
        <p:nvSpPr>
          <p:cNvPr id="15" name="Data Source">
            <a:extLst>
              <a:ext uri="{FF2B5EF4-FFF2-40B4-BE49-F238E27FC236}">
                <a16:creationId xmlns:a16="http://schemas.microsoft.com/office/drawing/2014/main" id="{38CC35B7-7F02-B941-A370-376CD60D8FD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Heading">
            <a:extLst>
              <a:ext uri="{FF2B5EF4-FFF2-40B4-BE49-F238E27FC236}">
                <a16:creationId xmlns:a16="http://schemas.microsoft.com/office/drawing/2014/main" id="{5C8672B9-8DFE-21DE-D66C-D147E4B826BF}"/>
              </a:ext>
            </a:extLst>
          </p:cNvPr>
          <p:cNvSpPr>
            <a:spLocks noGrp="1"/>
          </p:cNvSpPr>
          <p:nvPr>
            <p:ph type="body" sz="quarter" idx="18"/>
          </p:nvPr>
        </p:nvSpPr>
        <p:spPr>
          <a:xfrm>
            <a:off x="503238" y="774000"/>
            <a:ext cx="8136762" cy="360000"/>
          </a:xfrm>
        </p:spPr>
        <p:txBody>
          <a:bodyPr/>
          <a:lstStyle/>
          <a:p>
            <a:pPr>
              <a:defRPr sz="1200">
                <a:latin typeface="Nexa Bold (Headings)"/>
              </a:defRPr>
            </a:pPr>
            <a:r>
              <a:t>Seasonality Index | By Segment | Disposables | Bj's And Sam's | P3Y</a:t>
            </a:r>
          </a:p>
        </p:txBody>
      </p:sp>
      <p:sp>
        <p:nvSpPr>
          <p:cNvPr id="10" name="Title">
            <a:extLst>
              <a:ext uri="{FF2B5EF4-FFF2-40B4-BE49-F238E27FC236}">
                <a16:creationId xmlns:a16="http://schemas.microsoft.com/office/drawing/2014/main" id="{A8A34122-56EC-F352-D73B-2D45A1E7F2E1}"/>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14B7B400-46BB-5B96-87CC-231336D4FB5E}"/>
              </a:ext>
            </a:extLst>
          </p:cNvPr>
          <p:cNvGraphicFramePr>
            <a:graphicFrameLocks noGrp="1"/>
          </p:cNvGraphicFramePr>
          <p:nvPr>
            <p:extLst>
              <p:ext uri="{D42A27DB-BD31-4B8C-83A1-F6EECF244321}">
                <p14:modId xmlns:p14="http://schemas.microsoft.com/office/powerpoint/2010/main" val="96233226"/>
              </p:ext>
            </p:extLst>
          </p:nvPr>
        </p:nvGraphicFramePr>
        <p:xfrm>
          <a:off x="543331" y="1131888"/>
          <a:ext cx="303523" cy="1724763"/>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1724763">
                <a:tc>
                  <a:txBody>
                    <a:bodyPr/>
                    <a:lstStyle/>
                    <a:p>
                      <a:pPr algn="ctr">
                        <a:defRPr sz="800">
                          <a:latin typeface="Nexa Bold"/>
                        </a:defRPr>
                      </a:pPr>
                      <a:r>
                        <a:t>Disposables</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7" name="C2">
            <a:extLst>
              <a:ext uri="{FF2B5EF4-FFF2-40B4-BE49-F238E27FC236}">
                <a16:creationId xmlns:a16="http://schemas.microsoft.com/office/drawing/2014/main" id="{0613F4CC-2F1F-C5A5-BDE8-AA9221D44A00}"/>
              </a:ext>
            </a:extLst>
          </p:cNvPr>
          <p:cNvGraphicFramePr>
            <a:graphicFrameLocks/>
          </p:cNvGraphicFramePr>
          <p:nvPr>
            <p:extLst>
              <p:ext uri="{D42A27DB-BD31-4B8C-83A1-F6EECF244321}">
                <p14:modId xmlns:p14="http://schemas.microsoft.com/office/powerpoint/2010/main" val="3918470"/>
              </p:ext>
            </p:extLst>
          </p:nvPr>
        </p:nvGraphicFramePr>
        <p:xfrm>
          <a:off x="940093" y="1104344"/>
          <a:ext cx="7740000" cy="19259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221441979"/>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9E8954-1515-D7C7-CADE-697E5B1B6CFD}"/>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1E7C470-70FD-74A4-7110-38731C308BE5}"/>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A31CD73C-E590-EB05-5ED8-56326A9D19A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A31311B7-7F72-87F6-55E7-1BC91CD3C2E7}"/>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8/18/2025</a:t>
            </a:fld>
            <a:endParaRPr lang="en-US" noProof="0"/>
          </a:p>
        </p:txBody>
      </p:sp>
      <p:sp>
        <p:nvSpPr>
          <p:cNvPr id="4" name="Footer" hidden="1">
            <a:extLst>
              <a:ext uri="{FF2B5EF4-FFF2-40B4-BE49-F238E27FC236}">
                <a16:creationId xmlns:a16="http://schemas.microsoft.com/office/drawing/2014/main" id="{5457E92C-FE8F-068A-AB01-8E89F7BC9259}"/>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D3DAB0AB-0BA9-EB58-0EDC-64D2F6D79EC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2</a:t>
            </a:fld>
            <a:endParaRPr lang="en-US" noProof="0"/>
          </a:p>
        </p:txBody>
      </p:sp>
      <p:sp>
        <p:nvSpPr>
          <p:cNvPr id="15" name="Data Source">
            <a:extLst>
              <a:ext uri="{FF2B5EF4-FFF2-40B4-BE49-F238E27FC236}">
                <a16:creationId xmlns:a16="http://schemas.microsoft.com/office/drawing/2014/main" id="{ADE960CF-89BD-5FBC-2BEA-F1C9A35B7B8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Heading">
            <a:extLst>
              <a:ext uri="{FF2B5EF4-FFF2-40B4-BE49-F238E27FC236}">
                <a16:creationId xmlns:a16="http://schemas.microsoft.com/office/drawing/2014/main" id="{F9773734-2E19-E380-3F9E-EAD09C6E5058}"/>
              </a:ext>
            </a:extLst>
          </p:cNvPr>
          <p:cNvSpPr>
            <a:spLocks noGrp="1"/>
          </p:cNvSpPr>
          <p:nvPr>
            <p:ph type="body" sz="quarter" idx="18"/>
          </p:nvPr>
        </p:nvSpPr>
        <p:spPr>
          <a:xfrm>
            <a:off x="503238" y="774000"/>
            <a:ext cx="8136762" cy="360000"/>
          </a:xfrm>
        </p:spPr>
        <p:txBody>
          <a:bodyPr/>
          <a:lstStyle/>
          <a:p>
            <a:pPr>
              <a:defRPr sz="1200">
                <a:latin typeface="Nexa Bold (Headings)"/>
              </a:defRPr>
            </a:pPr>
            <a:r>
              <a:t>Seasonality Index | By Segment | System | Walmart | P3Y</a:t>
            </a:r>
          </a:p>
        </p:txBody>
      </p:sp>
      <p:sp>
        <p:nvSpPr>
          <p:cNvPr id="10" name="Title">
            <a:extLst>
              <a:ext uri="{FF2B5EF4-FFF2-40B4-BE49-F238E27FC236}">
                <a16:creationId xmlns:a16="http://schemas.microsoft.com/office/drawing/2014/main" id="{F980C054-4AD2-36DA-DF8D-72F9EAC5DF19}"/>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FD3FCF59-4D3D-63C9-1DFC-522E85B6F473}"/>
              </a:ext>
            </a:extLst>
          </p:cNvPr>
          <p:cNvGraphicFramePr>
            <a:graphicFrameLocks noGrp="1"/>
          </p:cNvGraphicFramePr>
          <p:nvPr>
            <p:extLst>
              <p:ext uri="{D42A27DB-BD31-4B8C-83A1-F6EECF244321}">
                <p14:modId xmlns:p14="http://schemas.microsoft.com/office/powerpoint/2010/main" val="1035235721"/>
              </p:ext>
            </p:extLst>
          </p:nvPr>
        </p:nvGraphicFramePr>
        <p:xfrm>
          <a:off x="543331" y="1131888"/>
          <a:ext cx="303523" cy="3449526"/>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1724763">
                <a:tc>
                  <a:txBody>
                    <a:bodyPr/>
                    <a:lstStyle/>
                    <a:p>
                      <a:pPr algn="ctr">
                        <a:defRPr sz="800">
                          <a:latin typeface="Nexa Bold"/>
                        </a:defRPr>
                      </a:pPr>
                      <a:r>
                        <a:t>Razors</a:t>
                      </a:r>
                    </a:p>
                  </a:txBody>
                  <a:tcPr marL="4763" marR="4763" marT="4763" marB="0" vert="vert270" anchor="ctr">
                    <a:solidFill>
                      <a:schemeClr val="bg1">
                        <a:lumMod val="95000"/>
                      </a:schemeClr>
                    </a:solidFill>
                  </a:tcPr>
                </a:tc>
                <a:extLst>
                  <a:ext uri="{0D108BD9-81ED-4DB2-BD59-A6C34878D82A}">
                    <a16:rowId xmlns:a16="http://schemas.microsoft.com/office/drawing/2014/main" val="2824268041"/>
                  </a:ext>
                </a:extLst>
              </a:tr>
              <a:tr h="1724763">
                <a:tc>
                  <a:txBody>
                    <a:bodyPr/>
                    <a:lstStyle/>
                    <a:p>
                      <a:pPr algn="ctr">
                        <a:defRPr sz="800">
                          <a:latin typeface="Nexa Bold"/>
                        </a:defRPr>
                      </a:pPr>
                      <a:r>
                        <a:t>Refills</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26" name="C2">
            <a:extLst>
              <a:ext uri="{FF2B5EF4-FFF2-40B4-BE49-F238E27FC236}">
                <a16:creationId xmlns:a16="http://schemas.microsoft.com/office/drawing/2014/main" id="{C9AD43ED-F4F6-AE24-ED0E-A55367C3D320}"/>
              </a:ext>
            </a:extLst>
          </p:cNvPr>
          <p:cNvGraphicFramePr>
            <a:graphicFrameLocks/>
          </p:cNvGraphicFramePr>
          <p:nvPr>
            <p:extLst>
              <p:ext uri="{D42A27DB-BD31-4B8C-83A1-F6EECF244321}">
                <p14:modId xmlns:p14="http://schemas.microsoft.com/office/powerpoint/2010/main" val="3145327643"/>
              </p:ext>
            </p:extLst>
          </p:nvPr>
        </p:nvGraphicFramePr>
        <p:xfrm>
          <a:off x="899999" y="1131887"/>
          <a:ext cx="7740000" cy="172061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 name="C2">
            <a:extLst>
              <a:ext uri="{FF2B5EF4-FFF2-40B4-BE49-F238E27FC236}">
                <a16:creationId xmlns:a16="http://schemas.microsoft.com/office/drawing/2014/main" id="{5EA9E6B5-135B-7DC7-61F1-7E527BE5562D}"/>
              </a:ext>
            </a:extLst>
          </p:cNvPr>
          <p:cNvGraphicFramePr>
            <a:graphicFrameLocks/>
          </p:cNvGraphicFramePr>
          <p:nvPr>
            <p:extLst>
              <p:ext uri="{D42A27DB-BD31-4B8C-83A1-F6EECF244321}">
                <p14:modId xmlns:p14="http://schemas.microsoft.com/office/powerpoint/2010/main" val="355700526"/>
              </p:ext>
            </p:extLst>
          </p:nvPr>
        </p:nvGraphicFramePr>
        <p:xfrm>
          <a:off x="907981" y="2853850"/>
          <a:ext cx="7740000" cy="1925969"/>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271761396"/>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95CF73-FB89-0B93-0441-FDF373A036EC}"/>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AB13B13-F7D6-AB1A-272B-46EBC1B9E54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41E7C470-70FD-74A4-7110-38731C308BE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D8EE896-E39A-D9A3-82FC-83118032EF6C}"/>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8/18/2025</a:t>
            </a:fld>
            <a:endParaRPr lang="en-US" noProof="0"/>
          </a:p>
        </p:txBody>
      </p:sp>
      <p:sp>
        <p:nvSpPr>
          <p:cNvPr id="4" name="Footer" hidden="1">
            <a:extLst>
              <a:ext uri="{FF2B5EF4-FFF2-40B4-BE49-F238E27FC236}">
                <a16:creationId xmlns:a16="http://schemas.microsoft.com/office/drawing/2014/main" id="{AB28F48E-D5E4-D538-CB9A-E9C13BFCEAE0}"/>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9BA2CC67-B5B8-0EB8-BBDE-2724EE1E3FF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3</a:t>
            </a:fld>
            <a:endParaRPr lang="en-US" noProof="0"/>
          </a:p>
        </p:txBody>
      </p:sp>
      <p:sp>
        <p:nvSpPr>
          <p:cNvPr id="15" name="Data Source">
            <a:extLst>
              <a:ext uri="{FF2B5EF4-FFF2-40B4-BE49-F238E27FC236}">
                <a16:creationId xmlns:a16="http://schemas.microsoft.com/office/drawing/2014/main" id="{38CC35B7-7F02-B941-A370-376CD60D8FD0}"/>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Heading">
            <a:extLst>
              <a:ext uri="{FF2B5EF4-FFF2-40B4-BE49-F238E27FC236}">
                <a16:creationId xmlns:a16="http://schemas.microsoft.com/office/drawing/2014/main" id="{5C8672B9-8DFE-21DE-D66C-D147E4B826BF}"/>
              </a:ext>
            </a:extLst>
          </p:cNvPr>
          <p:cNvSpPr>
            <a:spLocks noGrp="1"/>
          </p:cNvSpPr>
          <p:nvPr>
            <p:ph type="body" sz="quarter" idx="18"/>
          </p:nvPr>
        </p:nvSpPr>
        <p:spPr>
          <a:xfrm>
            <a:off x="503238" y="774000"/>
            <a:ext cx="8136762" cy="360000"/>
          </a:xfrm>
        </p:spPr>
        <p:txBody>
          <a:bodyPr/>
          <a:lstStyle/>
          <a:p>
            <a:pPr>
              <a:defRPr sz="1200">
                <a:latin typeface="Nexa Bold (Headings)"/>
              </a:defRPr>
            </a:pPr>
            <a:r>
              <a:t>Seasonality Index | By Segment | Disposables | Walmart | P3Y</a:t>
            </a:r>
          </a:p>
        </p:txBody>
      </p:sp>
      <p:sp>
        <p:nvSpPr>
          <p:cNvPr id="10" name="Title">
            <a:extLst>
              <a:ext uri="{FF2B5EF4-FFF2-40B4-BE49-F238E27FC236}">
                <a16:creationId xmlns:a16="http://schemas.microsoft.com/office/drawing/2014/main" id="{A8A34122-56EC-F352-D73B-2D45A1E7F2E1}"/>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14B7B400-46BB-5B96-87CC-231336D4FB5E}"/>
              </a:ext>
            </a:extLst>
          </p:cNvPr>
          <p:cNvGraphicFramePr>
            <a:graphicFrameLocks noGrp="1"/>
          </p:cNvGraphicFramePr>
          <p:nvPr>
            <p:extLst>
              <p:ext uri="{D42A27DB-BD31-4B8C-83A1-F6EECF244321}">
                <p14:modId xmlns:p14="http://schemas.microsoft.com/office/powerpoint/2010/main" val="96233226"/>
              </p:ext>
            </p:extLst>
          </p:nvPr>
        </p:nvGraphicFramePr>
        <p:xfrm>
          <a:off x="543331" y="1131888"/>
          <a:ext cx="303523" cy="1724763"/>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1724763">
                <a:tc>
                  <a:txBody>
                    <a:bodyPr/>
                    <a:lstStyle/>
                    <a:p>
                      <a:pPr algn="ctr">
                        <a:defRPr sz="800">
                          <a:latin typeface="Nexa Bold"/>
                        </a:defRPr>
                      </a:pPr>
                      <a:r>
                        <a:t>Disposables</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7" name="C2">
            <a:extLst>
              <a:ext uri="{FF2B5EF4-FFF2-40B4-BE49-F238E27FC236}">
                <a16:creationId xmlns:a16="http://schemas.microsoft.com/office/drawing/2014/main" id="{0613F4CC-2F1F-C5A5-BDE8-AA9221D44A00}"/>
              </a:ext>
            </a:extLst>
          </p:cNvPr>
          <p:cNvGraphicFramePr>
            <a:graphicFrameLocks/>
          </p:cNvGraphicFramePr>
          <p:nvPr>
            <p:extLst>
              <p:ext uri="{D42A27DB-BD31-4B8C-83A1-F6EECF244321}">
                <p14:modId xmlns:p14="http://schemas.microsoft.com/office/powerpoint/2010/main" val="3918470"/>
              </p:ext>
            </p:extLst>
          </p:nvPr>
        </p:nvGraphicFramePr>
        <p:xfrm>
          <a:off x="940093" y="1104344"/>
          <a:ext cx="7740000" cy="19259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185508710"/>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9A74A6-A795-CE79-8C39-495A20EFB579}"/>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2DCC7D2-AA42-3C73-3D0E-CA46E36A7FB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63E2AE8E-4C30-FE9E-7D13-A332318FB41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8532D7D4-9D0E-8F6B-387E-FCD29E76B66B}"/>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C3572431-5FDA-4C15-BC5A-5EE3413ECCC7}"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Footer Placeholder 1">
            <a:extLst>
              <a:ext uri="{FF2B5EF4-FFF2-40B4-BE49-F238E27FC236}">
                <a16:creationId xmlns:a16="http://schemas.microsoft.com/office/drawing/2014/main" id="{04C31CC0-F4A5-1822-031A-D80FBCEFB1C6}"/>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8" name="Slide Number Placeholder 7">
            <a:extLst>
              <a:ext uri="{FF2B5EF4-FFF2-40B4-BE49-F238E27FC236}">
                <a16:creationId xmlns:a16="http://schemas.microsoft.com/office/drawing/2014/main" id="{98AD9E9E-68FC-D2ED-5793-9ECF80CBE0E2}"/>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9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Text Placeholder 3">
            <a:extLst>
              <a:ext uri="{FF2B5EF4-FFF2-40B4-BE49-F238E27FC236}">
                <a16:creationId xmlns:a16="http://schemas.microsoft.com/office/drawing/2014/main" id="{D8870972-6E56-C568-450C-EA7488ABB91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478BDEC-4F50-B693-CAA2-ADF3EEFD40E7}"/>
              </a:ext>
            </a:extLst>
          </p:cNvPr>
          <p:cNvSpPr>
            <a:spLocks noGrp="1"/>
          </p:cNvSpPr>
          <p:nvPr>
            <p:ph type="body" sz="quarter" idx="18"/>
          </p:nvPr>
        </p:nvSpPr>
        <p:spPr>
          <a:xfrm>
            <a:off x="503238" y="774000"/>
            <a:ext cx="8136762" cy="360000"/>
          </a:xfrm>
        </p:spPr>
        <p:txBody>
          <a:bodyPr/>
          <a:lstStyle/>
          <a:p>
            <a:pPr>
              <a:defRPr sz="1200">
                <a:latin typeface="Nexa Bold (Headings)"/>
              </a:defRPr>
            </a:pPr>
            <a:r>
              <a:t>Promotional Frequency Analysis | Manual Shave Men | Edgewell Personal Care | RETAILER | P12M</a:t>
            </a:r>
          </a:p>
        </p:txBody>
      </p:sp>
      <p:sp>
        <p:nvSpPr>
          <p:cNvPr id="20" name="Title 19">
            <a:extLst>
              <a:ext uri="{FF2B5EF4-FFF2-40B4-BE49-F238E27FC236}">
                <a16:creationId xmlns:a16="http://schemas.microsoft.com/office/drawing/2014/main" id="{1DA5462C-C7E5-8D84-AB19-B01FA32675C7}"/>
              </a:ext>
            </a:extLst>
          </p:cNvPr>
          <p:cNvSpPr>
            <a:spLocks noGrp="1"/>
          </p:cNvSpPr>
          <p:nvPr>
            <p:ph type="title"/>
          </p:nvPr>
        </p:nvSpPr>
        <p:spPr>
          <a:xfrm>
            <a:off x="504000" y="-1"/>
            <a:ext cx="8136000" cy="771525"/>
          </a:xfrm>
          <a:noFill/>
        </p:spPr>
        <p:txBody>
          <a:bodyPr/>
          <a:lstStyle/>
          <a:p>
            <a:pPr>
              <a:defRPr sz="1600">
                <a:latin typeface="Nexa Bold (Headings)"/>
              </a:defRPr>
            </a:pPr>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E5BB5A87-2F25-4479-E7A4-F56174768DB6}"/>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Dubai Light"/>
              </a:rPr>
              <a:t>Event Value Uplift (%) &gt;5%</a:t>
            </a:r>
          </a:p>
        </p:txBody>
      </p:sp>
      <p:sp>
        <p:nvSpPr>
          <p:cNvPr id="11" name="Oval 10">
            <a:extLst>
              <a:ext uri="{FF2B5EF4-FFF2-40B4-BE49-F238E27FC236}">
                <a16:creationId xmlns:a16="http://schemas.microsoft.com/office/drawing/2014/main" id="{D00CE631-517E-C6FF-E1A7-F125131A9D46}"/>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A4E4B0DB-B2C0-C69B-2EAC-38AE18FDD870}"/>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F09CFE6-69A7-C7F1-2DAA-5AB620677C36}"/>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Dubai Light"/>
              </a:rPr>
              <a:t>Weeks with VSOD &gt;20%</a:t>
            </a:r>
          </a:p>
        </p:txBody>
      </p:sp>
      <p:graphicFrame>
        <p:nvGraphicFramePr>
          <p:cNvPr id="3" name="Table 2">
            <a:extLst>
              <a:ext uri="{FF2B5EF4-FFF2-40B4-BE49-F238E27FC236}">
                <a16:creationId xmlns:a16="http://schemas.microsoft.com/office/drawing/2014/main" id="{EAF0EB5E-DB0F-2EBC-C1D5-5639F7C6A6CE}"/>
              </a:ext>
            </a:extLst>
          </p:cNvPr>
          <p:cNvGraphicFramePr>
            <a:graphicFrameLocks noGrp="1"/>
          </p:cNvGraphicFramePr>
          <p:nvPr/>
        </p:nvGraphicFramePr>
        <p:xfrm>
          <a:off x="546968" y="1364051"/>
          <a:ext cx="801009" cy="1915112"/>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pPr algn="ctr">
                        <a:defRPr sz="800">
                          <a:latin typeface="Nexa Bold"/>
                        </a:defRPr>
                      </a:pPr>
                      <a:r>
                        <a:t>Bj's And Sam's</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22659435"/>
                  </a:ext>
                </a:extLst>
              </a:tr>
              <a:tr h="957556">
                <a:tc>
                  <a:txBody>
                    <a:bodyPr/>
                    <a:lstStyle/>
                    <a:p>
                      <a:pPr algn="ctr">
                        <a:defRPr sz="800">
                          <a:latin typeface="Nexa Bold"/>
                        </a:defRPr>
                      </a:pPr>
                      <a:r>
                        <a:t>Walmart</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4957612"/>
                  </a:ext>
                </a:extLst>
              </a:tr>
            </a:tbl>
          </a:graphicData>
        </a:graphic>
      </p:graphicFrame>
      <p:graphicFrame>
        <p:nvGraphicFramePr>
          <p:cNvPr id="15" name="Chart 14">
            <a:extLst>
              <a:ext uri="{FF2B5EF4-FFF2-40B4-BE49-F238E27FC236}">
                <a16:creationId xmlns:a16="http://schemas.microsoft.com/office/drawing/2014/main" id="{2C71707F-2392-7965-7295-8624E7A0741E}"/>
              </a:ext>
            </a:extLst>
          </p:cNvPr>
          <p:cNvGraphicFramePr/>
          <p:nvPr/>
        </p:nvGraphicFramePr>
        <p:xfrm>
          <a:off x="1347977" y="1361938"/>
          <a:ext cx="7292024" cy="96206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7" name="Chart 16">
            <a:extLst>
              <a:ext uri="{FF2B5EF4-FFF2-40B4-BE49-F238E27FC236}">
                <a16:creationId xmlns:a16="http://schemas.microsoft.com/office/drawing/2014/main" id="{FAA7897A-7271-E11F-7BEB-579939ACD547}"/>
              </a:ext>
            </a:extLst>
          </p:cNvPr>
          <p:cNvGraphicFramePr/>
          <p:nvPr/>
        </p:nvGraphicFramePr>
        <p:xfrm>
          <a:off x="1347976" y="2324000"/>
          <a:ext cx="7300566" cy="1510384"/>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63638236"/>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9A74A6-A795-CE79-8C39-495A20EFB579}"/>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2DCC7D2-AA42-3C73-3D0E-CA46E36A7FB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63E2AE8E-4C30-FE9E-7D13-A332318FB41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8532D7D4-9D0E-8F6B-387E-FCD29E76B66B}"/>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C3572431-5FDA-4C15-BC5A-5EE3413ECCC7}"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Footer Placeholder 1">
            <a:extLst>
              <a:ext uri="{FF2B5EF4-FFF2-40B4-BE49-F238E27FC236}">
                <a16:creationId xmlns:a16="http://schemas.microsoft.com/office/drawing/2014/main" id="{04C31CC0-F4A5-1822-031A-D80FBCEFB1C6}"/>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8" name="Slide Number Placeholder 7">
            <a:extLst>
              <a:ext uri="{FF2B5EF4-FFF2-40B4-BE49-F238E27FC236}">
                <a16:creationId xmlns:a16="http://schemas.microsoft.com/office/drawing/2014/main" id="{98AD9E9E-68FC-D2ED-5793-9ECF80CBE0E2}"/>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9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Text Placeholder 3">
            <a:extLst>
              <a:ext uri="{FF2B5EF4-FFF2-40B4-BE49-F238E27FC236}">
                <a16:creationId xmlns:a16="http://schemas.microsoft.com/office/drawing/2014/main" id="{D8870972-6E56-C568-450C-EA7488ABB91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478BDEC-4F50-B693-CAA2-ADF3EEFD40E7}"/>
              </a:ext>
            </a:extLst>
          </p:cNvPr>
          <p:cNvSpPr>
            <a:spLocks noGrp="1"/>
          </p:cNvSpPr>
          <p:nvPr>
            <p:ph type="body" sz="quarter" idx="18"/>
          </p:nvPr>
        </p:nvSpPr>
        <p:spPr>
          <a:xfrm>
            <a:off x="503238" y="774000"/>
            <a:ext cx="8136762" cy="360000"/>
          </a:xfrm>
        </p:spPr>
        <p:txBody>
          <a:bodyPr/>
          <a:lstStyle/>
          <a:p>
            <a:pPr>
              <a:defRPr sz="1200">
                <a:latin typeface="Nexa Bold (Headings)"/>
              </a:defRPr>
            </a:pPr>
            <a:r>
              <a:t>Promotional Frequency Analysis | Manual Shave Men | Schick | RETAILER | P12M</a:t>
            </a:r>
          </a:p>
        </p:txBody>
      </p:sp>
      <p:sp>
        <p:nvSpPr>
          <p:cNvPr id="20" name="Title 19">
            <a:extLst>
              <a:ext uri="{FF2B5EF4-FFF2-40B4-BE49-F238E27FC236}">
                <a16:creationId xmlns:a16="http://schemas.microsoft.com/office/drawing/2014/main" id="{1DA5462C-C7E5-8D84-AB19-B01FA32675C7}"/>
              </a:ext>
            </a:extLst>
          </p:cNvPr>
          <p:cNvSpPr>
            <a:spLocks noGrp="1"/>
          </p:cNvSpPr>
          <p:nvPr>
            <p:ph type="title"/>
          </p:nvPr>
        </p:nvSpPr>
        <p:spPr>
          <a:xfrm>
            <a:off x="504000" y="-1"/>
            <a:ext cx="8136000" cy="771525"/>
          </a:xfrm>
          <a:noFill/>
        </p:spPr>
        <p:txBody>
          <a:bodyPr/>
          <a:lstStyle/>
          <a:p>
            <a:pPr>
              <a:defRPr sz="1600">
                <a:latin typeface="Nexa Bold (Headings)"/>
              </a:defRPr>
            </a:pPr>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E5BB5A87-2F25-4479-E7A4-F56174768DB6}"/>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Dubai Light"/>
              </a:rPr>
              <a:t>Event Value Uplift (%) &gt;5%</a:t>
            </a:r>
          </a:p>
        </p:txBody>
      </p:sp>
      <p:sp>
        <p:nvSpPr>
          <p:cNvPr id="11" name="Oval 10">
            <a:extLst>
              <a:ext uri="{FF2B5EF4-FFF2-40B4-BE49-F238E27FC236}">
                <a16:creationId xmlns:a16="http://schemas.microsoft.com/office/drawing/2014/main" id="{D00CE631-517E-C6FF-E1A7-F125131A9D46}"/>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A4E4B0DB-B2C0-C69B-2EAC-38AE18FDD870}"/>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F09CFE6-69A7-C7F1-2DAA-5AB620677C36}"/>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Dubai Light"/>
              </a:rPr>
              <a:t>Weeks with VSOD &gt;20%</a:t>
            </a:r>
          </a:p>
        </p:txBody>
      </p:sp>
      <p:graphicFrame>
        <p:nvGraphicFramePr>
          <p:cNvPr id="3" name="Table 2">
            <a:extLst>
              <a:ext uri="{FF2B5EF4-FFF2-40B4-BE49-F238E27FC236}">
                <a16:creationId xmlns:a16="http://schemas.microsoft.com/office/drawing/2014/main" id="{EAF0EB5E-DB0F-2EBC-C1D5-5639F7C6A6CE}"/>
              </a:ext>
            </a:extLst>
          </p:cNvPr>
          <p:cNvGraphicFramePr>
            <a:graphicFrameLocks noGrp="1"/>
          </p:cNvGraphicFramePr>
          <p:nvPr/>
        </p:nvGraphicFramePr>
        <p:xfrm>
          <a:off x="546968" y="1364051"/>
          <a:ext cx="801009" cy="1915112"/>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pPr algn="ctr">
                        <a:defRPr sz="800">
                          <a:latin typeface="Nexa Bold"/>
                        </a:defRPr>
                      </a:pPr>
                      <a:r>
                        <a:t>Bj's And Sam's</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22659435"/>
                  </a:ext>
                </a:extLst>
              </a:tr>
              <a:tr h="957556">
                <a:tc>
                  <a:txBody>
                    <a:bodyPr/>
                    <a:lstStyle/>
                    <a:p>
                      <a:pPr algn="ctr">
                        <a:defRPr sz="800">
                          <a:latin typeface="Nexa Bold"/>
                        </a:defRPr>
                      </a:pPr>
                      <a:r>
                        <a:t>Walmart</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4957612"/>
                  </a:ext>
                </a:extLst>
              </a:tr>
            </a:tbl>
          </a:graphicData>
        </a:graphic>
      </p:graphicFrame>
      <p:graphicFrame>
        <p:nvGraphicFramePr>
          <p:cNvPr id="15" name="Chart 14">
            <a:extLst>
              <a:ext uri="{FF2B5EF4-FFF2-40B4-BE49-F238E27FC236}">
                <a16:creationId xmlns:a16="http://schemas.microsoft.com/office/drawing/2014/main" id="{2C71707F-2392-7965-7295-8624E7A0741E}"/>
              </a:ext>
            </a:extLst>
          </p:cNvPr>
          <p:cNvGraphicFramePr/>
          <p:nvPr/>
        </p:nvGraphicFramePr>
        <p:xfrm>
          <a:off x="1347977" y="1361938"/>
          <a:ext cx="7292024" cy="96206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7" name="Chart 16">
            <a:extLst>
              <a:ext uri="{FF2B5EF4-FFF2-40B4-BE49-F238E27FC236}">
                <a16:creationId xmlns:a16="http://schemas.microsoft.com/office/drawing/2014/main" id="{FAA7897A-7271-E11F-7BEB-579939ACD547}"/>
              </a:ext>
            </a:extLst>
          </p:cNvPr>
          <p:cNvGraphicFramePr/>
          <p:nvPr/>
        </p:nvGraphicFramePr>
        <p:xfrm>
          <a:off x="1347976" y="2324000"/>
          <a:ext cx="7300566" cy="1510384"/>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66356519"/>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9A74A6-A795-CE79-8C39-495A20EFB579}"/>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2DCC7D2-AA42-3C73-3D0E-CA46E36A7FB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63E2AE8E-4C30-FE9E-7D13-A332318FB41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8532D7D4-9D0E-8F6B-387E-FCD29E76B66B}"/>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C3572431-5FDA-4C15-BC5A-5EE3413ECCC7}"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Footer Placeholder 1">
            <a:extLst>
              <a:ext uri="{FF2B5EF4-FFF2-40B4-BE49-F238E27FC236}">
                <a16:creationId xmlns:a16="http://schemas.microsoft.com/office/drawing/2014/main" id="{04C31CC0-F4A5-1822-031A-D80FBCEFB1C6}"/>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8" name="Slide Number Placeholder 7">
            <a:extLst>
              <a:ext uri="{FF2B5EF4-FFF2-40B4-BE49-F238E27FC236}">
                <a16:creationId xmlns:a16="http://schemas.microsoft.com/office/drawing/2014/main" id="{98AD9E9E-68FC-D2ED-5793-9ECF80CBE0E2}"/>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9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Text Placeholder 3">
            <a:extLst>
              <a:ext uri="{FF2B5EF4-FFF2-40B4-BE49-F238E27FC236}">
                <a16:creationId xmlns:a16="http://schemas.microsoft.com/office/drawing/2014/main" id="{D8870972-6E56-C568-450C-EA7488ABB91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478BDEC-4F50-B693-CAA2-ADF3EEFD40E7}"/>
              </a:ext>
            </a:extLst>
          </p:cNvPr>
          <p:cNvSpPr>
            <a:spLocks noGrp="1"/>
          </p:cNvSpPr>
          <p:nvPr>
            <p:ph type="body" sz="quarter" idx="18"/>
          </p:nvPr>
        </p:nvSpPr>
        <p:spPr>
          <a:xfrm>
            <a:off x="503238" y="774000"/>
            <a:ext cx="8136762" cy="360000"/>
          </a:xfrm>
        </p:spPr>
        <p:txBody>
          <a:bodyPr/>
          <a:lstStyle/>
          <a:p>
            <a:pPr>
              <a:defRPr sz="1200">
                <a:latin typeface="Nexa Bold (Headings)"/>
              </a:defRPr>
            </a:pPr>
            <a:r>
              <a:t>Promotional Frequency Analysis | Disposables | Edgewell Personal Care | RETAILER | P12M</a:t>
            </a:r>
          </a:p>
        </p:txBody>
      </p:sp>
      <p:sp>
        <p:nvSpPr>
          <p:cNvPr id="20" name="Title 19">
            <a:extLst>
              <a:ext uri="{FF2B5EF4-FFF2-40B4-BE49-F238E27FC236}">
                <a16:creationId xmlns:a16="http://schemas.microsoft.com/office/drawing/2014/main" id="{1DA5462C-C7E5-8D84-AB19-B01FA32675C7}"/>
              </a:ext>
            </a:extLst>
          </p:cNvPr>
          <p:cNvSpPr>
            <a:spLocks noGrp="1"/>
          </p:cNvSpPr>
          <p:nvPr>
            <p:ph type="title"/>
          </p:nvPr>
        </p:nvSpPr>
        <p:spPr>
          <a:xfrm>
            <a:off x="504000" y="-1"/>
            <a:ext cx="8136000" cy="771525"/>
          </a:xfrm>
          <a:noFill/>
        </p:spPr>
        <p:txBody>
          <a:bodyPr/>
          <a:lstStyle/>
          <a:p>
            <a:pPr>
              <a:defRPr sz="1600">
                <a:latin typeface="Nexa Bold (Headings)"/>
              </a:defRPr>
            </a:pPr>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E5BB5A87-2F25-4479-E7A4-F56174768DB6}"/>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Dubai Light"/>
              </a:rPr>
              <a:t>Event Value Uplift (%) &gt;5%</a:t>
            </a:r>
          </a:p>
        </p:txBody>
      </p:sp>
      <p:sp>
        <p:nvSpPr>
          <p:cNvPr id="11" name="Oval 10">
            <a:extLst>
              <a:ext uri="{FF2B5EF4-FFF2-40B4-BE49-F238E27FC236}">
                <a16:creationId xmlns:a16="http://schemas.microsoft.com/office/drawing/2014/main" id="{D00CE631-517E-C6FF-E1A7-F125131A9D46}"/>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A4E4B0DB-B2C0-C69B-2EAC-38AE18FDD870}"/>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F09CFE6-69A7-C7F1-2DAA-5AB620677C36}"/>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Dubai Light"/>
              </a:rPr>
              <a:t>Weeks with VSOD &gt;20%</a:t>
            </a:r>
          </a:p>
        </p:txBody>
      </p:sp>
      <p:graphicFrame>
        <p:nvGraphicFramePr>
          <p:cNvPr id="3" name="Table 2">
            <a:extLst>
              <a:ext uri="{FF2B5EF4-FFF2-40B4-BE49-F238E27FC236}">
                <a16:creationId xmlns:a16="http://schemas.microsoft.com/office/drawing/2014/main" id="{EAF0EB5E-DB0F-2EBC-C1D5-5639F7C6A6CE}"/>
              </a:ext>
            </a:extLst>
          </p:cNvPr>
          <p:cNvGraphicFramePr>
            <a:graphicFrameLocks noGrp="1"/>
          </p:cNvGraphicFramePr>
          <p:nvPr/>
        </p:nvGraphicFramePr>
        <p:xfrm>
          <a:off x="546968" y="1364051"/>
          <a:ext cx="801009" cy="1915112"/>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pPr algn="ctr">
                        <a:defRPr sz="800">
                          <a:latin typeface="Nexa Bold"/>
                        </a:defRPr>
                      </a:pPr>
                      <a:r>
                        <a:t>Bj's And Sam's</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22659435"/>
                  </a:ext>
                </a:extLst>
              </a:tr>
              <a:tr h="957556">
                <a:tc>
                  <a:txBody>
                    <a:bodyPr/>
                    <a:lstStyle/>
                    <a:p>
                      <a:pPr algn="ctr">
                        <a:defRPr sz="800">
                          <a:latin typeface="Nexa Bold"/>
                        </a:defRPr>
                      </a:pPr>
                      <a:r>
                        <a:t>Walmart</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4957612"/>
                  </a:ext>
                </a:extLst>
              </a:tr>
            </a:tbl>
          </a:graphicData>
        </a:graphic>
      </p:graphicFrame>
      <p:graphicFrame>
        <p:nvGraphicFramePr>
          <p:cNvPr id="15" name="Chart 14">
            <a:extLst>
              <a:ext uri="{FF2B5EF4-FFF2-40B4-BE49-F238E27FC236}">
                <a16:creationId xmlns:a16="http://schemas.microsoft.com/office/drawing/2014/main" id="{2C71707F-2392-7965-7295-8624E7A0741E}"/>
              </a:ext>
            </a:extLst>
          </p:cNvPr>
          <p:cNvGraphicFramePr/>
          <p:nvPr/>
        </p:nvGraphicFramePr>
        <p:xfrm>
          <a:off x="1347977" y="1361938"/>
          <a:ext cx="7292024" cy="96206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7" name="Chart 16">
            <a:extLst>
              <a:ext uri="{FF2B5EF4-FFF2-40B4-BE49-F238E27FC236}">
                <a16:creationId xmlns:a16="http://schemas.microsoft.com/office/drawing/2014/main" id="{FAA7897A-7271-E11F-7BEB-579939ACD547}"/>
              </a:ext>
            </a:extLst>
          </p:cNvPr>
          <p:cNvGraphicFramePr/>
          <p:nvPr/>
        </p:nvGraphicFramePr>
        <p:xfrm>
          <a:off x="1347976" y="2324000"/>
          <a:ext cx="7300566" cy="1510384"/>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37947535"/>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D9F713-CB4C-7BD6-DC55-DEC948F8D8DF}"/>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2CAC19F0-BB46-358A-B6C6-69127B12EE7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485F1A87-D3CC-A322-7838-907D2FF0C08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B2D61BD4-0BF8-D200-23F1-FABD5C28762A}"/>
              </a:ext>
            </a:extLst>
          </p:cNvPr>
          <p:cNvSpPr>
            <a:spLocks noGrp="1"/>
          </p:cNvSpPr>
          <p:nvPr>
            <p:ph type="dt" sz="half" idx="14"/>
          </p:nvPr>
        </p:nvSpPr>
        <p:spPr>
          <a:xfrm>
            <a:off x="8082390" y="4972050"/>
            <a:ext cx="557609" cy="171450"/>
          </a:xfrm>
        </p:spPr>
        <p:txBody>
          <a:bodyPr/>
          <a:lstStyle/>
          <a:p>
            <a:pPr lvl="0"/>
            <a:fld id="{C3572431-5FDA-4C15-BC5A-5EE3413ECCC7}" type="datetime1">
              <a:rPr lang="en-US" noProof="0" smtClean="0"/>
              <a:pPr lvl="0"/>
              <a:t>8/18/2025</a:t>
            </a:fld>
            <a:endParaRPr lang="en-US" noProof="0"/>
          </a:p>
        </p:txBody>
      </p:sp>
      <p:sp>
        <p:nvSpPr>
          <p:cNvPr id="2" name="Footer Placeholder 1">
            <a:extLst>
              <a:ext uri="{FF2B5EF4-FFF2-40B4-BE49-F238E27FC236}">
                <a16:creationId xmlns:a16="http://schemas.microsoft.com/office/drawing/2014/main" id="{CEA02AA9-AEDE-6252-139F-DAF1465C978F}"/>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297EBF08-74B8-16C6-0E52-DBD051CE042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7</a:t>
            </a:fld>
            <a:endParaRPr lang="en-US" noProof="0"/>
          </a:p>
        </p:txBody>
      </p:sp>
      <p:sp>
        <p:nvSpPr>
          <p:cNvPr id="4" name="Text Placeholder 3">
            <a:extLst>
              <a:ext uri="{FF2B5EF4-FFF2-40B4-BE49-F238E27FC236}">
                <a16:creationId xmlns:a16="http://schemas.microsoft.com/office/drawing/2014/main" id="{FEB2B946-9464-30C9-B43F-F137B55A3C7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12A61832-B208-AA5B-E40E-DC5C53D72915}"/>
              </a:ext>
            </a:extLst>
          </p:cNvPr>
          <p:cNvSpPr>
            <a:spLocks noGrp="1"/>
          </p:cNvSpPr>
          <p:nvPr>
            <p:ph type="body" sz="quarter" idx="18"/>
          </p:nvPr>
        </p:nvSpPr>
        <p:spPr>
          <a:xfrm>
            <a:off x="503238" y="774000"/>
            <a:ext cx="8136762" cy="360000"/>
          </a:xfrm>
        </p:spPr>
        <p:txBody>
          <a:bodyPr/>
          <a:lstStyle/>
          <a:p>
            <a:pPr>
              <a:defRPr sz="1200">
                <a:latin typeface="Nexa Bold (Headings)"/>
              </a:defRPr>
            </a:pPr>
            <a:r>
              <a:t>Promotional Frequency Analysis | System | Edgewell Personal Care | RETAILER | P12M</a:t>
            </a:r>
          </a:p>
        </p:txBody>
      </p:sp>
      <p:sp>
        <p:nvSpPr>
          <p:cNvPr id="20" name="Title 19">
            <a:extLst>
              <a:ext uri="{FF2B5EF4-FFF2-40B4-BE49-F238E27FC236}">
                <a16:creationId xmlns:a16="http://schemas.microsoft.com/office/drawing/2014/main" id="{55B37E12-511C-C8BB-B144-290B6993E0BC}"/>
              </a:ext>
            </a:extLst>
          </p:cNvPr>
          <p:cNvSpPr>
            <a:spLocks noGrp="1"/>
          </p:cNvSpPr>
          <p:nvPr>
            <p:ph type="title"/>
          </p:nvPr>
        </p:nvSpPr>
        <p:spPr>
          <a:xfrm>
            <a:off x="504000" y="-1"/>
            <a:ext cx="8136000" cy="771525"/>
          </a:xfrm>
          <a:noFill/>
        </p:spPr>
        <p:txBody>
          <a:bodyPr/>
          <a:lstStyle/>
          <a:p>
            <a:pPr>
              <a:defRPr sz="1600">
                <a:latin typeface="Nexa Bold (Headings)"/>
              </a:defRPr>
            </a:pPr>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D4DEAD75-1470-58B2-6F9F-189D37AE5FA9}"/>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mn-cs"/>
              </a:rPr>
              <a:t>Event Value Uplift (%) &gt;5%</a:t>
            </a:r>
          </a:p>
        </p:txBody>
      </p:sp>
      <p:sp>
        <p:nvSpPr>
          <p:cNvPr id="11" name="Oval 10">
            <a:extLst>
              <a:ext uri="{FF2B5EF4-FFF2-40B4-BE49-F238E27FC236}">
                <a16:creationId xmlns:a16="http://schemas.microsoft.com/office/drawing/2014/main" id="{D1AAD118-3982-3FE6-AB4A-7E682A04C6BF}"/>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0EFDBF96-F62B-3594-2822-E2757DE13622}"/>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35E12F0-14E9-0AF5-383D-C71312A22ACB}"/>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mn-cs"/>
              </a:rPr>
              <a:t>Weeks with VSOD &gt;20%</a:t>
            </a:r>
          </a:p>
        </p:txBody>
      </p:sp>
      <p:graphicFrame>
        <p:nvGraphicFramePr>
          <p:cNvPr id="3" name="Table 2">
            <a:extLst>
              <a:ext uri="{FF2B5EF4-FFF2-40B4-BE49-F238E27FC236}">
                <a16:creationId xmlns:a16="http://schemas.microsoft.com/office/drawing/2014/main" id="{C8272231-EDA3-2EB4-E976-3F0F0B6DED41}"/>
              </a:ext>
            </a:extLst>
          </p:cNvPr>
          <p:cNvGraphicFramePr>
            <a:graphicFrameLocks noGrp="1"/>
          </p:cNvGraphicFramePr>
          <p:nvPr/>
        </p:nvGraphicFramePr>
        <p:xfrm>
          <a:off x="546968" y="1364051"/>
          <a:ext cx="801009" cy="957556"/>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pPr algn="ctr">
                        <a:defRPr sz="800">
                          <a:latin typeface="Nexa Bold"/>
                        </a:defRPr>
                      </a:pPr>
                      <a:r>
                        <a:t>Walmart</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80994830"/>
                  </a:ext>
                </a:extLst>
              </a:tr>
            </a:tbl>
          </a:graphicData>
        </a:graphic>
      </p:graphicFrame>
      <p:graphicFrame>
        <p:nvGraphicFramePr>
          <p:cNvPr id="10" name="Chart 9">
            <a:extLst>
              <a:ext uri="{FF2B5EF4-FFF2-40B4-BE49-F238E27FC236}">
                <a16:creationId xmlns:a16="http://schemas.microsoft.com/office/drawing/2014/main" id="{AF688A9F-6A1E-E8D1-5206-5F35E0C223EA}"/>
              </a:ext>
            </a:extLst>
          </p:cNvPr>
          <p:cNvGraphicFramePr/>
          <p:nvPr>
            <p:extLst>
              <p:ext uri="{D42A27DB-BD31-4B8C-83A1-F6EECF244321}">
                <p14:modId xmlns:p14="http://schemas.microsoft.com/office/powerpoint/2010/main" val="1251783051"/>
              </p:ext>
            </p:extLst>
          </p:nvPr>
        </p:nvGraphicFramePr>
        <p:xfrm>
          <a:off x="1347976" y="1333400"/>
          <a:ext cx="7300566" cy="1510384"/>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441681614"/>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D9F713-CB4C-7BD6-DC55-DEC948F8D8DF}"/>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2CAC19F0-BB46-358A-B6C6-69127B12EE7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485F1A87-D3CC-A322-7838-907D2FF0C08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B2D61BD4-0BF8-D200-23F1-FABD5C28762A}"/>
              </a:ext>
            </a:extLst>
          </p:cNvPr>
          <p:cNvSpPr>
            <a:spLocks noGrp="1"/>
          </p:cNvSpPr>
          <p:nvPr>
            <p:ph type="dt" sz="half" idx="14"/>
          </p:nvPr>
        </p:nvSpPr>
        <p:spPr>
          <a:xfrm>
            <a:off x="8082390" y="4972050"/>
            <a:ext cx="557609" cy="171450"/>
          </a:xfrm>
        </p:spPr>
        <p:txBody>
          <a:bodyPr/>
          <a:lstStyle/>
          <a:p>
            <a:pPr lvl="0"/>
            <a:fld id="{C3572431-5FDA-4C15-BC5A-5EE3413ECCC7}" type="datetime1">
              <a:rPr lang="en-US" noProof="0" smtClean="0"/>
              <a:pPr lvl="0"/>
              <a:t>8/18/2025</a:t>
            </a:fld>
            <a:endParaRPr lang="en-US" noProof="0"/>
          </a:p>
        </p:txBody>
      </p:sp>
      <p:sp>
        <p:nvSpPr>
          <p:cNvPr id="2" name="Footer Placeholder 1">
            <a:extLst>
              <a:ext uri="{FF2B5EF4-FFF2-40B4-BE49-F238E27FC236}">
                <a16:creationId xmlns:a16="http://schemas.microsoft.com/office/drawing/2014/main" id="{CEA02AA9-AEDE-6252-139F-DAF1465C978F}"/>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297EBF08-74B8-16C6-0E52-DBD051CE042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8</a:t>
            </a:fld>
            <a:endParaRPr lang="en-US" noProof="0"/>
          </a:p>
        </p:txBody>
      </p:sp>
      <p:sp>
        <p:nvSpPr>
          <p:cNvPr id="4" name="Text Placeholder 3">
            <a:extLst>
              <a:ext uri="{FF2B5EF4-FFF2-40B4-BE49-F238E27FC236}">
                <a16:creationId xmlns:a16="http://schemas.microsoft.com/office/drawing/2014/main" id="{FEB2B946-9464-30C9-B43F-F137B55A3C7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12A61832-B208-AA5B-E40E-DC5C53D72915}"/>
              </a:ext>
            </a:extLst>
          </p:cNvPr>
          <p:cNvSpPr>
            <a:spLocks noGrp="1"/>
          </p:cNvSpPr>
          <p:nvPr>
            <p:ph type="body" sz="quarter" idx="18"/>
          </p:nvPr>
        </p:nvSpPr>
        <p:spPr>
          <a:xfrm>
            <a:off x="503238" y="774000"/>
            <a:ext cx="8136762" cy="360000"/>
          </a:xfrm>
        </p:spPr>
        <p:txBody>
          <a:bodyPr/>
          <a:lstStyle/>
          <a:p>
            <a:pPr>
              <a:defRPr sz="1200">
                <a:latin typeface="Nexa Bold (Headings)"/>
              </a:defRPr>
            </a:pPr>
            <a:r>
              <a:t>Promotional Frequency Analysis | Disposables | Equate | RETAILER | P12M</a:t>
            </a:r>
          </a:p>
        </p:txBody>
      </p:sp>
      <p:sp>
        <p:nvSpPr>
          <p:cNvPr id="20" name="Title 19">
            <a:extLst>
              <a:ext uri="{FF2B5EF4-FFF2-40B4-BE49-F238E27FC236}">
                <a16:creationId xmlns:a16="http://schemas.microsoft.com/office/drawing/2014/main" id="{55B37E12-511C-C8BB-B144-290B6993E0BC}"/>
              </a:ext>
            </a:extLst>
          </p:cNvPr>
          <p:cNvSpPr>
            <a:spLocks noGrp="1"/>
          </p:cNvSpPr>
          <p:nvPr>
            <p:ph type="title"/>
          </p:nvPr>
        </p:nvSpPr>
        <p:spPr>
          <a:xfrm>
            <a:off x="504000" y="-1"/>
            <a:ext cx="8136000" cy="771525"/>
          </a:xfrm>
          <a:noFill/>
        </p:spPr>
        <p:txBody>
          <a:bodyPr/>
          <a:lstStyle/>
          <a:p>
            <a:pPr>
              <a:defRPr sz="1600">
                <a:latin typeface="Nexa Bold (Headings)"/>
              </a:defRPr>
            </a:pPr>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D4DEAD75-1470-58B2-6F9F-189D37AE5FA9}"/>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mn-cs"/>
              </a:rPr>
              <a:t>Event Value Uplift (%) &gt;5%</a:t>
            </a:r>
          </a:p>
        </p:txBody>
      </p:sp>
      <p:sp>
        <p:nvSpPr>
          <p:cNvPr id="11" name="Oval 10">
            <a:extLst>
              <a:ext uri="{FF2B5EF4-FFF2-40B4-BE49-F238E27FC236}">
                <a16:creationId xmlns:a16="http://schemas.microsoft.com/office/drawing/2014/main" id="{D1AAD118-3982-3FE6-AB4A-7E682A04C6BF}"/>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0EFDBF96-F62B-3594-2822-E2757DE13622}"/>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35E12F0-14E9-0AF5-383D-C71312A22ACB}"/>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mn-cs"/>
              </a:rPr>
              <a:t>Weeks with VSOD &gt;20%</a:t>
            </a:r>
          </a:p>
        </p:txBody>
      </p:sp>
      <p:graphicFrame>
        <p:nvGraphicFramePr>
          <p:cNvPr id="3" name="Table 2">
            <a:extLst>
              <a:ext uri="{FF2B5EF4-FFF2-40B4-BE49-F238E27FC236}">
                <a16:creationId xmlns:a16="http://schemas.microsoft.com/office/drawing/2014/main" id="{C8272231-EDA3-2EB4-E976-3F0F0B6DED41}"/>
              </a:ext>
            </a:extLst>
          </p:cNvPr>
          <p:cNvGraphicFramePr>
            <a:graphicFrameLocks noGrp="1"/>
          </p:cNvGraphicFramePr>
          <p:nvPr/>
        </p:nvGraphicFramePr>
        <p:xfrm>
          <a:off x="546968" y="1364051"/>
          <a:ext cx="801009" cy="957556"/>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pPr algn="ctr">
                        <a:defRPr sz="800">
                          <a:latin typeface="Nexa Bold"/>
                        </a:defRPr>
                      </a:pPr>
                      <a:r>
                        <a:t>Walmart</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80994830"/>
                  </a:ext>
                </a:extLst>
              </a:tr>
            </a:tbl>
          </a:graphicData>
        </a:graphic>
      </p:graphicFrame>
      <p:graphicFrame>
        <p:nvGraphicFramePr>
          <p:cNvPr id="10" name="Chart 9">
            <a:extLst>
              <a:ext uri="{FF2B5EF4-FFF2-40B4-BE49-F238E27FC236}">
                <a16:creationId xmlns:a16="http://schemas.microsoft.com/office/drawing/2014/main" id="{AF688A9F-6A1E-E8D1-5206-5F35E0C223EA}"/>
              </a:ext>
            </a:extLst>
          </p:cNvPr>
          <p:cNvGraphicFramePr/>
          <p:nvPr>
            <p:extLst>
              <p:ext uri="{D42A27DB-BD31-4B8C-83A1-F6EECF244321}">
                <p14:modId xmlns:p14="http://schemas.microsoft.com/office/powerpoint/2010/main" val="1251783051"/>
              </p:ext>
            </p:extLst>
          </p:nvPr>
        </p:nvGraphicFramePr>
        <p:xfrm>
          <a:off x="1347976" y="1333400"/>
          <a:ext cx="7300566" cy="1510384"/>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27197302"/>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D9F713-CB4C-7BD6-DC55-DEC948F8D8DF}"/>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2CAC19F0-BB46-358A-B6C6-69127B12EE7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485F1A87-D3CC-A322-7838-907D2FF0C08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B2D61BD4-0BF8-D200-23F1-FABD5C28762A}"/>
              </a:ext>
            </a:extLst>
          </p:cNvPr>
          <p:cNvSpPr>
            <a:spLocks noGrp="1"/>
          </p:cNvSpPr>
          <p:nvPr>
            <p:ph type="dt" sz="half" idx="14"/>
          </p:nvPr>
        </p:nvSpPr>
        <p:spPr>
          <a:xfrm>
            <a:off x="8082390" y="4972050"/>
            <a:ext cx="557609" cy="171450"/>
          </a:xfrm>
        </p:spPr>
        <p:txBody>
          <a:bodyPr/>
          <a:lstStyle/>
          <a:p>
            <a:pPr lvl="0"/>
            <a:fld id="{C3572431-5FDA-4C15-BC5A-5EE3413ECCC7}" type="datetime1">
              <a:rPr lang="en-US" noProof="0" smtClean="0"/>
              <a:pPr lvl="0"/>
              <a:t>8/18/2025</a:t>
            </a:fld>
            <a:endParaRPr lang="en-US" noProof="0"/>
          </a:p>
        </p:txBody>
      </p:sp>
      <p:sp>
        <p:nvSpPr>
          <p:cNvPr id="2" name="Footer Placeholder 1">
            <a:extLst>
              <a:ext uri="{FF2B5EF4-FFF2-40B4-BE49-F238E27FC236}">
                <a16:creationId xmlns:a16="http://schemas.microsoft.com/office/drawing/2014/main" id="{CEA02AA9-AEDE-6252-139F-DAF1465C978F}"/>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297EBF08-74B8-16C6-0E52-DBD051CE042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9</a:t>
            </a:fld>
            <a:endParaRPr lang="en-US" noProof="0"/>
          </a:p>
        </p:txBody>
      </p:sp>
      <p:sp>
        <p:nvSpPr>
          <p:cNvPr id="4" name="Text Placeholder 3">
            <a:extLst>
              <a:ext uri="{FF2B5EF4-FFF2-40B4-BE49-F238E27FC236}">
                <a16:creationId xmlns:a16="http://schemas.microsoft.com/office/drawing/2014/main" id="{FEB2B946-9464-30C9-B43F-F137B55A3C7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12A61832-B208-AA5B-E40E-DC5C53D72915}"/>
              </a:ext>
            </a:extLst>
          </p:cNvPr>
          <p:cNvSpPr>
            <a:spLocks noGrp="1"/>
          </p:cNvSpPr>
          <p:nvPr>
            <p:ph type="body" sz="quarter" idx="18"/>
          </p:nvPr>
        </p:nvSpPr>
        <p:spPr>
          <a:xfrm>
            <a:off x="503238" y="774000"/>
            <a:ext cx="8136762" cy="360000"/>
          </a:xfrm>
        </p:spPr>
        <p:txBody>
          <a:bodyPr/>
          <a:lstStyle/>
          <a:p>
            <a:pPr>
              <a:defRPr sz="1200">
                <a:latin typeface="Nexa Bold (Headings)"/>
              </a:defRPr>
            </a:pPr>
            <a:r>
              <a:t>Promotional Frequency Analysis | System | Equate | RETAILER | P12M</a:t>
            </a:r>
          </a:p>
        </p:txBody>
      </p:sp>
      <p:sp>
        <p:nvSpPr>
          <p:cNvPr id="20" name="Title 19">
            <a:extLst>
              <a:ext uri="{FF2B5EF4-FFF2-40B4-BE49-F238E27FC236}">
                <a16:creationId xmlns:a16="http://schemas.microsoft.com/office/drawing/2014/main" id="{55B37E12-511C-C8BB-B144-290B6993E0BC}"/>
              </a:ext>
            </a:extLst>
          </p:cNvPr>
          <p:cNvSpPr>
            <a:spLocks noGrp="1"/>
          </p:cNvSpPr>
          <p:nvPr>
            <p:ph type="title"/>
          </p:nvPr>
        </p:nvSpPr>
        <p:spPr>
          <a:xfrm>
            <a:off x="504000" y="-1"/>
            <a:ext cx="8136000" cy="771525"/>
          </a:xfrm>
          <a:noFill/>
        </p:spPr>
        <p:txBody>
          <a:bodyPr/>
          <a:lstStyle/>
          <a:p>
            <a:pPr>
              <a:defRPr sz="1600">
                <a:latin typeface="Nexa Bold (Headings)"/>
              </a:defRPr>
            </a:pPr>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D4DEAD75-1470-58B2-6F9F-189D37AE5FA9}"/>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mn-cs"/>
              </a:rPr>
              <a:t>Event Value Uplift (%) &gt;5%</a:t>
            </a:r>
          </a:p>
        </p:txBody>
      </p:sp>
      <p:sp>
        <p:nvSpPr>
          <p:cNvPr id="11" name="Oval 10">
            <a:extLst>
              <a:ext uri="{FF2B5EF4-FFF2-40B4-BE49-F238E27FC236}">
                <a16:creationId xmlns:a16="http://schemas.microsoft.com/office/drawing/2014/main" id="{D1AAD118-3982-3FE6-AB4A-7E682A04C6BF}"/>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0EFDBF96-F62B-3594-2822-E2757DE13622}"/>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35E12F0-14E9-0AF5-383D-C71312A22ACB}"/>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mn-cs"/>
              </a:rPr>
              <a:t>Weeks with VSOD &gt;20%</a:t>
            </a:r>
          </a:p>
        </p:txBody>
      </p:sp>
      <p:graphicFrame>
        <p:nvGraphicFramePr>
          <p:cNvPr id="3" name="Table 2">
            <a:extLst>
              <a:ext uri="{FF2B5EF4-FFF2-40B4-BE49-F238E27FC236}">
                <a16:creationId xmlns:a16="http://schemas.microsoft.com/office/drawing/2014/main" id="{C8272231-EDA3-2EB4-E976-3F0F0B6DED41}"/>
              </a:ext>
            </a:extLst>
          </p:cNvPr>
          <p:cNvGraphicFramePr>
            <a:graphicFrameLocks noGrp="1"/>
          </p:cNvGraphicFramePr>
          <p:nvPr/>
        </p:nvGraphicFramePr>
        <p:xfrm>
          <a:off x="546968" y="1364051"/>
          <a:ext cx="801009" cy="957556"/>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pPr algn="ctr">
                        <a:defRPr sz="800">
                          <a:latin typeface="Nexa Bold"/>
                        </a:defRPr>
                      </a:pPr>
                      <a:r>
                        <a:t>Walmart</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80994830"/>
                  </a:ext>
                </a:extLst>
              </a:tr>
            </a:tbl>
          </a:graphicData>
        </a:graphic>
      </p:graphicFrame>
      <p:graphicFrame>
        <p:nvGraphicFramePr>
          <p:cNvPr id="10" name="Chart 9">
            <a:extLst>
              <a:ext uri="{FF2B5EF4-FFF2-40B4-BE49-F238E27FC236}">
                <a16:creationId xmlns:a16="http://schemas.microsoft.com/office/drawing/2014/main" id="{AF688A9F-6A1E-E8D1-5206-5F35E0C223EA}"/>
              </a:ext>
            </a:extLst>
          </p:cNvPr>
          <p:cNvGraphicFramePr/>
          <p:nvPr>
            <p:extLst>
              <p:ext uri="{D42A27DB-BD31-4B8C-83A1-F6EECF244321}">
                <p14:modId xmlns:p14="http://schemas.microsoft.com/office/powerpoint/2010/main" val="1251783051"/>
              </p:ext>
            </p:extLst>
          </p:nvPr>
        </p:nvGraphicFramePr>
        <p:xfrm>
          <a:off x="1347976" y="1333400"/>
          <a:ext cx="7300566" cy="1510384"/>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84570414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8/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Manual Shave Men | Walmart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3"/>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539960">
                <a:tc>
                  <a:txBody>
                    <a:bodyPr/>
                    <a:lstStyle/>
                    <a:p>
                      <a:pPr algn="ctr">
                        <a:defRPr sz="800">
                          <a:latin typeface="Nexa Bold"/>
                        </a:defRPr>
                      </a:pPr>
                      <a:r>
                        <a:t>Gille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10,656,80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1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539960">
                <a:tc>
                  <a:txBody>
                    <a:bodyPr/>
                    <a:lstStyle/>
                    <a:p>
                      <a:pPr algn="ctr">
                        <a:defRPr sz="800">
                          <a:latin typeface="Nexa Bold"/>
                        </a:defRPr>
                      </a:pPr>
                      <a:r>
                        <a:t>Schick</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71,03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539960">
                <a:tc>
                  <a:txBody>
                    <a:bodyPr/>
                    <a:lstStyle/>
                    <a:p>
                      <a:pPr algn="ctr">
                        <a:defRPr sz="800">
                          <a:latin typeface="Nexa Bold"/>
                        </a:defRPr>
                      </a:pPr>
                      <a:r>
                        <a:t>Bic</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03,85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539960">
                <a:tc>
                  <a:txBody>
                    <a:bodyPr/>
                    <a:lstStyle/>
                    <a:p>
                      <a:pPr algn="ctr">
                        <a:defRPr sz="800">
                          <a:latin typeface="Nexa Bold"/>
                        </a:defRPr>
                      </a:pPr>
                      <a:r>
                        <a:t>Dollar Shave Club</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29,11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539960">
                <a:tc>
                  <a:txBody>
                    <a:bodyPr/>
                    <a:lstStyle/>
                    <a:p>
                      <a:pPr algn="ctr">
                        <a:defRPr sz="800">
                          <a:latin typeface="Nexa Bold"/>
                        </a:defRPr>
                      </a:pPr>
                      <a:r>
                        <a:t>Equa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71,58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539960">
                <a:tc>
                  <a:txBody>
                    <a:bodyPr/>
                    <a:lstStyle/>
                    <a:p>
                      <a:pPr algn="ctr">
                        <a:defRPr sz="800">
                          <a:latin typeface="Nexa Bold"/>
                        </a:defRPr>
                      </a:pPr>
                      <a:r>
                        <a:t>Comfort 3</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3,97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81143770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222808FD-ACDC-CC7C-8644-923BBD07B29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222808FD-ACDC-CC7C-8644-923BBD07B29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20" name="Chart 19">
            <a:extLst>
              <a:ext uri="{FF2B5EF4-FFF2-40B4-BE49-F238E27FC236}">
                <a16:creationId xmlns:a16="http://schemas.microsoft.com/office/drawing/2014/main" id="{B1FE0159-4E62-4A93-B376-F25F0DD097D3}"/>
              </a:ext>
            </a:extLst>
          </p:cNvPr>
          <p:cNvGraphicFramePr/>
          <p:nvPr>
            <p:extLst>
              <p:ext uri="{D42A27DB-BD31-4B8C-83A1-F6EECF244321}">
                <p14:modId xmlns:p14="http://schemas.microsoft.com/office/powerpoint/2010/main" val="1886356813"/>
              </p:ext>
            </p:extLst>
          </p:nvPr>
        </p:nvGraphicFramePr>
        <p:xfrm>
          <a:off x="540000" y="1133639"/>
          <a:ext cx="8100000" cy="3509669"/>
        </p:xfrm>
        <a:graphic>
          <a:graphicData uri="http://schemas.openxmlformats.org/drawingml/2006/chart">
            <c:chart xmlns:c="http://schemas.openxmlformats.org/drawingml/2006/chart" xmlns:r="http://schemas.openxmlformats.org/officeDocument/2006/relationships" r:id="rId6"/>
          </a:graphicData>
        </a:graphic>
      </p:graphicFrame>
      <p:sp>
        <p:nvSpPr>
          <p:cNvPr id="18" name="Date Placeholder 17">
            <a:extLst>
              <a:ext uri="{FF2B5EF4-FFF2-40B4-BE49-F238E27FC236}">
                <a16:creationId xmlns:a16="http://schemas.microsoft.com/office/drawing/2014/main" id="{C1C06F40-5A22-69B8-A694-546E63E1BA0C}"/>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2D21337-F382-4FF4-BA40-ECEC8B4CA4A3}"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1" name="Footer Placeholder 20">
            <a:extLst>
              <a:ext uri="{FF2B5EF4-FFF2-40B4-BE49-F238E27FC236}">
                <a16:creationId xmlns:a16="http://schemas.microsoft.com/office/drawing/2014/main" id="{FBEB295B-B94A-FD99-99F9-D5E99E11858A}"/>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9" name="Slide Number Placeholder 18">
            <a:extLst>
              <a:ext uri="{FF2B5EF4-FFF2-40B4-BE49-F238E27FC236}">
                <a16:creationId xmlns:a16="http://schemas.microsoft.com/office/drawing/2014/main" id="{7E74166E-6986-24E0-FE60-F1092A45D18E}"/>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10" name="Text Placeholder 9">
            <a:extLst>
              <a:ext uri="{FF2B5EF4-FFF2-40B4-BE49-F238E27FC236}">
                <a16:creationId xmlns:a16="http://schemas.microsoft.com/office/drawing/2014/main" id="{234ADF96-6FB1-4D58-8B54-873D4F64F33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Content Placeholder 1">
            <a:extLst>
              <a:ext uri="{FF2B5EF4-FFF2-40B4-BE49-F238E27FC236}">
                <a16:creationId xmlns:a16="http://schemas.microsoft.com/office/drawing/2014/main" id="{130C05D2-CF04-4DA4-82C4-9E265F94F028}"/>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by brand | Disposables | P12M</a:t>
            </a:r>
          </a:p>
        </p:txBody>
      </p:sp>
      <p:sp>
        <p:nvSpPr>
          <p:cNvPr id="17" name="Title 16">
            <a:extLst>
              <a:ext uri="{FF2B5EF4-FFF2-40B4-BE49-F238E27FC236}">
                <a16:creationId xmlns:a16="http://schemas.microsoft.com/office/drawing/2014/main" id="{4F16EBB1-4C79-4A6F-8868-FA7F8505744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by retailer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4" name="TextBox 13">
            <a:extLst>
              <a:ext uri="{FF2B5EF4-FFF2-40B4-BE49-F238E27FC236}">
                <a16:creationId xmlns:a16="http://schemas.microsoft.com/office/drawing/2014/main" id="{B849EA39-EC71-4F3C-B69E-269019A3BE69}"/>
              </a:ext>
            </a:extLst>
          </p:cNvPr>
          <p:cNvSpPr txBox="1"/>
          <p:nvPr/>
        </p:nvSpPr>
        <p:spPr>
          <a:xfrm>
            <a:off x="546969" y="1143000"/>
            <a:ext cx="2019790" cy="24622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Bubble size by Promo sales</a:t>
            </a:r>
            <a:endParaRPr kumimoji="0" lang="en-CH"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endParaRPr>
          </a:p>
        </p:txBody>
      </p:sp>
      <p:graphicFrame>
        <p:nvGraphicFramePr>
          <p:cNvPr id="5" name="Table 5">
            <a:extLst>
              <a:ext uri="{FF2B5EF4-FFF2-40B4-BE49-F238E27FC236}">
                <a16:creationId xmlns:a16="http://schemas.microsoft.com/office/drawing/2014/main" id="{5519C780-DF17-D565-38D2-E69BBF4F5C8A}"/>
              </a:ext>
            </a:extLst>
          </p:cNvPr>
          <p:cNvGraphicFramePr>
            <a:graphicFrameLocks noGrp="1"/>
          </p:cNvGraphicFramePr>
          <p:nvPr/>
        </p:nvGraphicFramePr>
        <p:xfrm>
          <a:off x="1525055" y="4454629"/>
          <a:ext cx="6815298" cy="434340"/>
        </p:xfrm>
        <a:graphic>
          <a:graphicData uri="http://schemas.openxmlformats.org/drawingml/2006/table">
            <a:tbl>
              <a:tblPr firstRow="1" bandRow="1">
                <a:tableStyleId>{5C22544A-7EE6-4342-B048-85BDC9FD1C3A}</a:tableStyleId>
              </a:tblPr>
              <a:tblGrid>
                <a:gridCol w="3407649">
                  <a:extLst>
                    <a:ext uri="{9D8B030D-6E8A-4147-A177-3AD203B41FA5}">
                      <a16:colId xmlns:a16="http://schemas.microsoft.com/office/drawing/2014/main" val="826016986"/>
                    </a:ext>
                  </a:extLst>
                </a:gridCol>
                <a:gridCol w="3407649">
                  <a:extLst>
                    <a:ext uri="{9D8B030D-6E8A-4147-A177-3AD203B41FA5}">
                      <a16:colId xmlns:a16="http://schemas.microsoft.com/office/drawing/2014/main" val="2337481629"/>
                    </a:ext>
                  </a:extLst>
                </a:gridCol>
              </a:tblGrid>
              <a:tr h="278130">
                <a:tc>
                  <a:txBody>
                    <a:bodyPr/>
                    <a:lstStyle/>
                    <a:p>
                      <a:pPr algn="ctr">
                        <a:defRPr sz="800" b="0">
                          <a:solidFill>
                            <a:srgbClr val="575555"/>
                          </a:solidFill>
                          <a:latin typeface="Nexa Bold"/>
                        </a:defRPr>
                      </a:pPr>
                      <a:r>
                        <a:rPr sz="800">
                          <a:latin typeface="Nexa Bold"/>
                        </a:rPr>
                        <a:t>Bj's And Sam's</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Walmart</a:t>
                      </a:r>
                    </a:p>
                  </a:txBody>
                  <a:tcPr marL="68580" marR="68580" marT="34290" marB="34290" anchor="ctr">
                    <a:solidFill>
                      <a:schemeClr val="bg1">
                        <a:lumMod val="95000"/>
                      </a:schemeClr>
                    </a:solidFill>
                  </a:tcPr>
                </a:tc>
                <a:extLst>
                  <a:ext uri="{0D108BD9-81ED-4DB2-BD59-A6C34878D82A}">
                    <a16:rowId xmlns:a16="http://schemas.microsoft.com/office/drawing/2014/main" val="43767022"/>
                  </a:ext>
                </a:extLst>
              </a:tr>
            </a:tbl>
          </a:graphicData>
        </a:graphic>
      </p:graphicFrame>
    </p:spTree>
    <p:extLst>
      <p:ext uri="{BB962C8B-B14F-4D97-AF65-F5344CB8AC3E}">
        <p14:creationId xmlns:p14="http://schemas.microsoft.com/office/powerpoint/2010/main" val="1949426532"/>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9A74A6-A795-CE79-8C39-495A20EFB579}"/>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2DCC7D2-AA42-3C73-3D0E-CA46E36A7FB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63E2AE8E-4C30-FE9E-7D13-A332318FB41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8532D7D4-9D0E-8F6B-387E-FCD29E76B66B}"/>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C3572431-5FDA-4C15-BC5A-5EE3413ECCC7}"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Footer Placeholder 1">
            <a:extLst>
              <a:ext uri="{FF2B5EF4-FFF2-40B4-BE49-F238E27FC236}">
                <a16:creationId xmlns:a16="http://schemas.microsoft.com/office/drawing/2014/main" id="{04C31CC0-F4A5-1822-031A-D80FBCEFB1C6}"/>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8" name="Slide Number Placeholder 7">
            <a:extLst>
              <a:ext uri="{FF2B5EF4-FFF2-40B4-BE49-F238E27FC236}">
                <a16:creationId xmlns:a16="http://schemas.microsoft.com/office/drawing/2014/main" id="{98AD9E9E-68FC-D2ED-5793-9ECF80CBE0E2}"/>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0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Text Placeholder 3">
            <a:extLst>
              <a:ext uri="{FF2B5EF4-FFF2-40B4-BE49-F238E27FC236}">
                <a16:creationId xmlns:a16="http://schemas.microsoft.com/office/drawing/2014/main" id="{D8870972-6E56-C568-450C-EA7488ABB91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478BDEC-4F50-B693-CAA2-ADF3EEFD40E7}"/>
              </a:ext>
            </a:extLst>
          </p:cNvPr>
          <p:cNvSpPr>
            <a:spLocks noGrp="1"/>
          </p:cNvSpPr>
          <p:nvPr>
            <p:ph type="body" sz="quarter" idx="18"/>
          </p:nvPr>
        </p:nvSpPr>
        <p:spPr>
          <a:xfrm>
            <a:off x="503238" y="774000"/>
            <a:ext cx="8136762" cy="360000"/>
          </a:xfrm>
        </p:spPr>
        <p:txBody>
          <a:bodyPr/>
          <a:lstStyle/>
          <a:p>
            <a:pPr>
              <a:defRPr sz="1200">
                <a:latin typeface="Nexa Bold (Headings)"/>
              </a:defRPr>
            </a:pPr>
            <a:r>
              <a:t>Promotional Frequency Analysis | Disposables | Schick | RETAILER | P12M</a:t>
            </a:r>
          </a:p>
        </p:txBody>
      </p:sp>
      <p:sp>
        <p:nvSpPr>
          <p:cNvPr id="20" name="Title 19">
            <a:extLst>
              <a:ext uri="{FF2B5EF4-FFF2-40B4-BE49-F238E27FC236}">
                <a16:creationId xmlns:a16="http://schemas.microsoft.com/office/drawing/2014/main" id="{1DA5462C-C7E5-8D84-AB19-B01FA32675C7}"/>
              </a:ext>
            </a:extLst>
          </p:cNvPr>
          <p:cNvSpPr>
            <a:spLocks noGrp="1"/>
          </p:cNvSpPr>
          <p:nvPr>
            <p:ph type="title"/>
          </p:nvPr>
        </p:nvSpPr>
        <p:spPr>
          <a:xfrm>
            <a:off x="504000" y="-1"/>
            <a:ext cx="8136000" cy="771525"/>
          </a:xfrm>
          <a:noFill/>
        </p:spPr>
        <p:txBody>
          <a:bodyPr/>
          <a:lstStyle/>
          <a:p>
            <a:pPr>
              <a:defRPr sz="1600">
                <a:latin typeface="Nexa Bold (Headings)"/>
              </a:defRPr>
            </a:pPr>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E5BB5A87-2F25-4479-E7A4-F56174768DB6}"/>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Dubai Light"/>
              </a:rPr>
              <a:t>Event Value Uplift (%) &gt;5%</a:t>
            </a:r>
          </a:p>
        </p:txBody>
      </p:sp>
      <p:sp>
        <p:nvSpPr>
          <p:cNvPr id="11" name="Oval 10">
            <a:extLst>
              <a:ext uri="{FF2B5EF4-FFF2-40B4-BE49-F238E27FC236}">
                <a16:creationId xmlns:a16="http://schemas.microsoft.com/office/drawing/2014/main" id="{D00CE631-517E-C6FF-E1A7-F125131A9D46}"/>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A4E4B0DB-B2C0-C69B-2EAC-38AE18FDD870}"/>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F09CFE6-69A7-C7F1-2DAA-5AB620677C36}"/>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Dubai Light"/>
              </a:rPr>
              <a:t>Weeks with VSOD &gt;20%</a:t>
            </a:r>
          </a:p>
        </p:txBody>
      </p:sp>
      <p:graphicFrame>
        <p:nvGraphicFramePr>
          <p:cNvPr id="3" name="Table 2">
            <a:extLst>
              <a:ext uri="{FF2B5EF4-FFF2-40B4-BE49-F238E27FC236}">
                <a16:creationId xmlns:a16="http://schemas.microsoft.com/office/drawing/2014/main" id="{EAF0EB5E-DB0F-2EBC-C1D5-5639F7C6A6CE}"/>
              </a:ext>
            </a:extLst>
          </p:cNvPr>
          <p:cNvGraphicFramePr>
            <a:graphicFrameLocks noGrp="1"/>
          </p:cNvGraphicFramePr>
          <p:nvPr/>
        </p:nvGraphicFramePr>
        <p:xfrm>
          <a:off x="546968" y="1364051"/>
          <a:ext cx="801009" cy="1915112"/>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pPr algn="ctr">
                        <a:defRPr sz="800">
                          <a:latin typeface="Nexa Bold"/>
                        </a:defRPr>
                      </a:pPr>
                      <a:r>
                        <a:t>Bj's And Sam's</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22659435"/>
                  </a:ext>
                </a:extLst>
              </a:tr>
              <a:tr h="957556">
                <a:tc>
                  <a:txBody>
                    <a:bodyPr/>
                    <a:lstStyle/>
                    <a:p>
                      <a:pPr algn="ctr">
                        <a:defRPr sz="800">
                          <a:latin typeface="Nexa Bold"/>
                        </a:defRPr>
                      </a:pPr>
                      <a:r>
                        <a:t>Walmart</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4957612"/>
                  </a:ext>
                </a:extLst>
              </a:tr>
            </a:tbl>
          </a:graphicData>
        </a:graphic>
      </p:graphicFrame>
      <p:graphicFrame>
        <p:nvGraphicFramePr>
          <p:cNvPr id="15" name="Chart 14">
            <a:extLst>
              <a:ext uri="{FF2B5EF4-FFF2-40B4-BE49-F238E27FC236}">
                <a16:creationId xmlns:a16="http://schemas.microsoft.com/office/drawing/2014/main" id="{2C71707F-2392-7965-7295-8624E7A0741E}"/>
              </a:ext>
            </a:extLst>
          </p:cNvPr>
          <p:cNvGraphicFramePr/>
          <p:nvPr/>
        </p:nvGraphicFramePr>
        <p:xfrm>
          <a:off x="1347977" y="1361938"/>
          <a:ext cx="7292024" cy="96206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7" name="Chart 16">
            <a:extLst>
              <a:ext uri="{FF2B5EF4-FFF2-40B4-BE49-F238E27FC236}">
                <a16:creationId xmlns:a16="http://schemas.microsoft.com/office/drawing/2014/main" id="{FAA7897A-7271-E11F-7BEB-579939ACD547}"/>
              </a:ext>
            </a:extLst>
          </p:cNvPr>
          <p:cNvGraphicFramePr/>
          <p:nvPr/>
        </p:nvGraphicFramePr>
        <p:xfrm>
          <a:off x="1347976" y="2324000"/>
          <a:ext cx="7300566" cy="1510384"/>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795965999"/>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D9F713-CB4C-7BD6-DC55-DEC948F8D8DF}"/>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2CAC19F0-BB46-358A-B6C6-69127B12EE7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485F1A87-D3CC-A322-7838-907D2FF0C08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B2D61BD4-0BF8-D200-23F1-FABD5C28762A}"/>
              </a:ext>
            </a:extLst>
          </p:cNvPr>
          <p:cNvSpPr>
            <a:spLocks noGrp="1"/>
          </p:cNvSpPr>
          <p:nvPr>
            <p:ph type="dt" sz="half" idx="14"/>
          </p:nvPr>
        </p:nvSpPr>
        <p:spPr>
          <a:xfrm>
            <a:off x="8082390" y="4972050"/>
            <a:ext cx="557609" cy="171450"/>
          </a:xfrm>
        </p:spPr>
        <p:txBody>
          <a:bodyPr/>
          <a:lstStyle/>
          <a:p>
            <a:pPr lvl="0"/>
            <a:fld id="{C3572431-5FDA-4C15-BC5A-5EE3413ECCC7}" type="datetime1">
              <a:rPr lang="en-US" noProof="0" smtClean="0"/>
              <a:pPr lvl="0"/>
              <a:t>8/18/2025</a:t>
            </a:fld>
            <a:endParaRPr lang="en-US" noProof="0"/>
          </a:p>
        </p:txBody>
      </p:sp>
      <p:sp>
        <p:nvSpPr>
          <p:cNvPr id="2" name="Footer Placeholder 1">
            <a:extLst>
              <a:ext uri="{FF2B5EF4-FFF2-40B4-BE49-F238E27FC236}">
                <a16:creationId xmlns:a16="http://schemas.microsoft.com/office/drawing/2014/main" id="{CEA02AA9-AEDE-6252-139F-DAF1465C978F}"/>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297EBF08-74B8-16C6-0E52-DBD051CE042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1</a:t>
            </a:fld>
            <a:endParaRPr lang="en-US" noProof="0"/>
          </a:p>
        </p:txBody>
      </p:sp>
      <p:sp>
        <p:nvSpPr>
          <p:cNvPr id="4" name="Text Placeholder 3">
            <a:extLst>
              <a:ext uri="{FF2B5EF4-FFF2-40B4-BE49-F238E27FC236}">
                <a16:creationId xmlns:a16="http://schemas.microsoft.com/office/drawing/2014/main" id="{FEB2B946-9464-30C9-B43F-F137B55A3C7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12A61832-B208-AA5B-E40E-DC5C53D72915}"/>
              </a:ext>
            </a:extLst>
          </p:cNvPr>
          <p:cNvSpPr>
            <a:spLocks noGrp="1"/>
          </p:cNvSpPr>
          <p:nvPr>
            <p:ph type="body" sz="quarter" idx="18"/>
          </p:nvPr>
        </p:nvSpPr>
        <p:spPr>
          <a:xfrm>
            <a:off x="503238" y="774000"/>
            <a:ext cx="8136762" cy="360000"/>
          </a:xfrm>
        </p:spPr>
        <p:txBody>
          <a:bodyPr/>
          <a:lstStyle/>
          <a:p>
            <a:pPr>
              <a:defRPr sz="1200">
                <a:latin typeface="Nexa Bold (Headings)"/>
              </a:defRPr>
            </a:pPr>
            <a:r>
              <a:t>Promotional Frequency Analysis | System | Schick | RETAILER | P12M</a:t>
            </a:r>
          </a:p>
        </p:txBody>
      </p:sp>
      <p:sp>
        <p:nvSpPr>
          <p:cNvPr id="20" name="Title 19">
            <a:extLst>
              <a:ext uri="{FF2B5EF4-FFF2-40B4-BE49-F238E27FC236}">
                <a16:creationId xmlns:a16="http://schemas.microsoft.com/office/drawing/2014/main" id="{55B37E12-511C-C8BB-B144-290B6993E0BC}"/>
              </a:ext>
            </a:extLst>
          </p:cNvPr>
          <p:cNvSpPr>
            <a:spLocks noGrp="1"/>
          </p:cNvSpPr>
          <p:nvPr>
            <p:ph type="title"/>
          </p:nvPr>
        </p:nvSpPr>
        <p:spPr>
          <a:xfrm>
            <a:off x="504000" y="-1"/>
            <a:ext cx="8136000" cy="771525"/>
          </a:xfrm>
          <a:noFill/>
        </p:spPr>
        <p:txBody>
          <a:bodyPr/>
          <a:lstStyle/>
          <a:p>
            <a:pPr>
              <a:defRPr sz="1600">
                <a:latin typeface="Nexa Bold (Headings)"/>
              </a:defRPr>
            </a:pPr>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D4DEAD75-1470-58B2-6F9F-189D37AE5FA9}"/>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mn-cs"/>
              </a:rPr>
              <a:t>Event Value Uplift (%) &gt;5%</a:t>
            </a:r>
          </a:p>
        </p:txBody>
      </p:sp>
      <p:sp>
        <p:nvSpPr>
          <p:cNvPr id="11" name="Oval 10">
            <a:extLst>
              <a:ext uri="{FF2B5EF4-FFF2-40B4-BE49-F238E27FC236}">
                <a16:creationId xmlns:a16="http://schemas.microsoft.com/office/drawing/2014/main" id="{D1AAD118-3982-3FE6-AB4A-7E682A04C6BF}"/>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0EFDBF96-F62B-3594-2822-E2757DE13622}"/>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35E12F0-14E9-0AF5-383D-C71312A22ACB}"/>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mn-cs"/>
              </a:rPr>
              <a:t>Weeks with VSOD &gt;20%</a:t>
            </a:r>
          </a:p>
        </p:txBody>
      </p:sp>
      <p:graphicFrame>
        <p:nvGraphicFramePr>
          <p:cNvPr id="3" name="Table 2">
            <a:extLst>
              <a:ext uri="{FF2B5EF4-FFF2-40B4-BE49-F238E27FC236}">
                <a16:creationId xmlns:a16="http://schemas.microsoft.com/office/drawing/2014/main" id="{C8272231-EDA3-2EB4-E976-3F0F0B6DED41}"/>
              </a:ext>
            </a:extLst>
          </p:cNvPr>
          <p:cNvGraphicFramePr>
            <a:graphicFrameLocks noGrp="1"/>
          </p:cNvGraphicFramePr>
          <p:nvPr/>
        </p:nvGraphicFramePr>
        <p:xfrm>
          <a:off x="546968" y="1364051"/>
          <a:ext cx="801009" cy="957556"/>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pPr algn="ctr">
                        <a:defRPr sz="800">
                          <a:latin typeface="Nexa Bold"/>
                        </a:defRPr>
                      </a:pPr>
                      <a:r>
                        <a:t>Walmart</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80994830"/>
                  </a:ext>
                </a:extLst>
              </a:tr>
            </a:tbl>
          </a:graphicData>
        </a:graphic>
      </p:graphicFrame>
      <p:graphicFrame>
        <p:nvGraphicFramePr>
          <p:cNvPr id="10" name="Chart 9">
            <a:extLst>
              <a:ext uri="{FF2B5EF4-FFF2-40B4-BE49-F238E27FC236}">
                <a16:creationId xmlns:a16="http://schemas.microsoft.com/office/drawing/2014/main" id="{AF688A9F-6A1E-E8D1-5206-5F35E0C223EA}"/>
              </a:ext>
            </a:extLst>
          </p:cNvPr>
          <p:cNvGraphicFramePr/>
          <p:nvPr>
            <p:extLst>
              <p:ext uri="{D42A27DB-BD31-4B8C-83A1-F6EECF244321}">
                <p14:modId xmlns:p14="http://schemas.microsoft.com/office/powerpoint/2010/main" val="1251783051"/>
              </p:ext>
            </p:extLst>
          </p:nvPr>
        </p:nvGraphicFramePr>
        <p:xfrm>
          <a:off x="1347976" y="1333400"/>
          <a:ext cx="7300566" cy="1510384"/>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741376134"/>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9A74A6-A795-CE79-8C39-495A20EFB579}"/>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2DCC7D2-AA42-3C73-3D0E-CA46E36A7FB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63E2AE8E-4C30-FE9E-7D13-A332318FB41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8532D7D4-9D0E-8F6B-387E-FCD29E76B66B}"/>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C3572431-5FDA-4C15-BC5A-5EE3413ECCC7}"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Footer Placeholder 1">
            <a:extLst>
              <a:ext uri="{FF2B5EF4-FFF2-40B4-BE49-F238E27FC236}">
                <a16:creationId xmlns:a16="http://schemas.microsoft.com/office/drawing/2014/main" id="{04C31CC0-F4A5-1822-031A-D80FBCEFB1C6}"/>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8" name="Slide Number Placeholder 7">
            <a:extLst>
              <a:ext uri="{FF2B5EF4-FFF2-40B4-BE49-F238E27FC236}">
                <a16:creationId xmlns:a16="http://schemas.microsoft.com/office/drawing/2014/main" id="{98AD9E9E-68FC-D2ED-5793-9ECF80CBE0E2}"/>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0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Text Placeholder 3">
            <a:extLst>
              <a:ext uri="{FF2B5EF4-FFF2-40B4-BE49-F238E27FC236}">
                <a16:creationId xmlns:a16="http://schemas.microsoft.com/office/drawing/2014/main" id="{D8870972-6E56-C568-450C-EA7488ABB91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478BDEC-4F50-B693-CAA2-ADF3EEFD40E7}"/>
              </a:ext>
            </a:extLst>
          </p:cNvPr>
          <p:cNvSpPr>
            <a:spLocks noGrp="1"/>
          </p:cNvSpPr>
          <p:nvPr>
            <p:ph type="body" sz="quarter" idx="18"/>
          </p:nvPr>
        </p:nvSpPr>
        <p:spPr>
          <a:xfrm>
            <a:off x="503238" y="774000"/>
            <a:ext cx="8136762" cy="360000"/>
          </a:xfrm>
        </p:spPr>
        <p:txBody>
          <a:bodyPr/>
          <a:lstStyle/>
          <a:p>
            <a:pPr>
              <a:defRPr sz="1200">
                <a:latin typeface="Nexa Bold (Headings)"/>
              </a:defRPr>
            </a:pPr>
            <a:r>
              <a:t>Promotional Frequency Analysis | Disposables | Edgewell Personal Care | RETAILER | P12M</a:t>
            </a:r>
          </a:p>
        </p:txBody>
      </p:sp>
      <p:sp>
        <p:nvSpPr>
          <p:cNvPr id="20" name="Title 19">
            <a:extLst>
              <a:ext uri="{FF2B5EF4-FFF2-40B4-BE49-F238E27FC236}">
                <a16:creationId xmlns:a16="http://schemas.microsoft.com/office/drawing/2014/main" id="{1DA5462C-C7E5-8D84-AB19-B01FA32675C7}"/>
              </a:ext>
            </a:extLst>
          </p:cNvPr>
          <p:cNvSpPr>
            <a:spLocks noGrp="1"/>
          </p:cNvSpPr>
          <p:nvPr>
            <p:ph type="title"/>
          </p:nvPr>
        </p:nvSpPr>
        <p:spPr>
          <a:xfrm>
            <a:off x="504000" y="-1"/>
            <a:ext cx="8136000" cy="771525"/>
          </a:xfrm>
          <a:noFill/>
        </p:spPr>
        <p:txBody>
          <a:bodyPr/>
          <a:lstStyle/>
          <a:p>
            <a:pPr>
              <a:defRPr sz="1600">
                <a:latin typeface="Nexa Bold (Headings)"/>
              </a:defRPr>
            </a:pPr>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E5BB5A87-2F25-4479-E7A4-F56174768DB6}"/>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Dubai Light"/>
              </a:rPr>
              <a:t>Event Value Uplift (%) &gt;5%</a:t>
            </a:r>
          </a:p>
        </p:txBody>
      </p:sp>
      <p:sp>
        <p:nvSpPr>
          <p:cNvPr id="11" name="Oval 10">
            <a:extLst>
              <a:ext uri="{FF2B5EF4-FFF2-40B4-BE49-F238E27FC236}">
                <a16:creationId xmlns:a16="http://schemas.microsoft.com/office/drawing/2014/main" id="{D00CE631-517E-C6FF-E1A7-F125131A9D46}"/>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A4E4B0DB-B2C0-C69B-2EAC-38AE18FDD870}"/>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F09CFE6-69A7-C7F1-2DAA-5AB620677C36}"/>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Dubai Light"/>
              </a:rPr>
              <a:t>Weeks with VSOD &gt;20%</a:t>
            </a:r>
          </a:p>
        </p:txBody>
      </p:sp>
      <p:graphicFrame>
        <p:nvGraphicFramePr>
          <p:cNvPr id="3" name="Table 2">
            <a:extLst>
              <a:ext uri="{FF2B5EF4-FFF2-40B4-BE49-F238E27FC236}">
                <a16:creationId xmlns:a16="http://schemas.microsoft.com/office/drawing/2014/main" id="{EAF0EB5E-DB0F-2EBC-C1D5-5639F7C6A6CE}"/>
              </a:ext>
            </a:extLst>
          </p:cNvPr>
          <p:cNvGraphicFramePr>
            <a:graphicFrameLocks noGrp="1"/>
          </p:cNvGraphicFramePr>
          <p:nvPr/>
        </p:nvGraphicFramePr>
        <p:xfrm>
          <a:off x="546968" y="1364051"/>
          <a:ext cx="801009" cy="1915112"/>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pPr algn="ctr">
                        <a:defRPr sz="800">
                          <a:latin typeface="Nexa Bold"/>
                        </a:defRPr>
                      </a:pPr>
                      <a:r>
                        <a:t>Bj's And Sam's</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22659435"/>
                  </a:ext>
                </a:extLst>
              </a:tr>
              <a:tr h="957556">
                <a:tc>
                  <a:txBody>
                    <a:bodyPr/>
                    <a:lstStyle/>
                    <a:p>
                      <a:pPr algn="ctr">
                        <a:defRPr sz="800">
                          <a:latin typeface="Nexa Bold"/>
                        </a:defRPr>
                      </a:pPr>
                      <a:r>
                        <a:t>Walmart</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4957612"/>
                  </a:ext>
                </a:extLst>
              </a:tr>
            </a:tbl>
          </a:graphicData>
        </a:graphic>
      </p:graphicFrame>
      <p:graphicFrame>
        <p:nvGraphicFramePr>
          <p:cNvPr id="15" name="Chart 14">
            <a:extLst>
              <a:ext uri="{FF2B5EF4-FFF2-40B4-BE49-F238E27FC236}">
                <a16:creationId xmlns:a16="http://schemas.microsoft.com/office/drawing/2014/main" id="{2C71707F-2392-7965-7295-8624E7A0741E}"/>
              </a:ext>
            </a:extLst>
          </p:cNvPr>
          <p:cNvGraphicFramePr/>
          <p:nvPr/>
        </p:nvGraphicFramePr>
        <p:xfrm>
          <a:off x="1347977" y="1361938"/>
          <a:ext cx="7292024" cy="96206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7" name="Chart 16">
            <a:extLst>
              <a:ext uri="{FF2B5EF4-FFF2-40B4-BE49-F238E27FC236}">
                <a16:creationId xmlns:a16="http://schemas.microsoft.com/office/drawing/2014/main" id="{FAA7897A-7271-E11F-7BEB-579939ACD547}"/>
              </a:ext>
            </a:extLst>
          </p:cNvPr>
          <p:cNvGraphicFramePr/>
          <p:nvPr/>
        </p:nvGraphicFramePr>
        <p:xfrm>
          <a:off x="1347976" y="2324000"/>
          <a:ext cx="7300566" cy="1510384"/>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290799083"/>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D9F713-CB4C-7BD6-DC55-DEC948F8D8DF}"/>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2CAC19F0-BB46-358A-B6C6-69127B12EE7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485F1A87-D3CC-A322-7838-907D2FF0C08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B2D61BD4-0BF8-D200-23F1-FABD5C28762A}"/>
              </a:ext>
            </a:extLst>
          </p:cNvPr>
          <p:cNvSpPr>
            <a:spLocks noGrp="1"/>
          </p:cNvSpPr>
          <p:nvPr>
            <p:ph type="dt" sz="half" idx="14"/>
          </p:nvPr>
        </p:nvSpPr>
        <p:spPr>
          <a:xfrm>
            <a:off x="8082390" y="4972050"/>
            <a:ext cx="557609" cy="171450"/>
          </a:xfrm>
        </p:spPr>
        <p:txBody>
          <a:bodyPr/>
          <a:lstStyle/>
          <a:p>
            <a:pPr lvl="0"/>
            <a:fld id="{C3572431-5FDA-4C15-BC5A-5EE3413ECCC7}" type="datetime1">
              <a:rPr lang="en-US" noProof="0" smtClean="0"/>
              <a:pPr lvl="0"/>
              <a:t>8/18/2025</a:t>
            </a:fld>
            <a:endParaRPr lang="en-US" noProof="0"/>
          </a:p>
        </p:txBody>
      </p:sp>
      <p:sp>
        <p:nvSpPr>
          <p:cNvPr id="2" name="Footer Placeholder 1">
            <a:extLst>
              <a:ext uri="{FF2B5EF4-FFF2-40B4-BE49-F238E27FC236}">
                <a16:creationId xmlns:a16="http://schemas.microsoft.com/office/drawing/2014/main" id="{CEA02AA9-AEDE-6252-139F-DAF1465C978F}"/>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297EBF08-74B8-16C6-0E52-DBD051CE042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3</a:t>
            </a:fld>
            <a:endParaRPr lang="en-US" noProof="0"/>
          </a:p>
        </p:txBody>
      </p:sp>
      <p:sp>
        <p:nvSpPr>
          <p:cNvPr id="4" name="Text Placeholder 3">
            <a:extLst>
              <a:ext uri="{FF2B5EF4-FFF2-40B4-BE49-F238E27FC236}">
                <a16:creationId xmlns:a16="http://schemas.microsoft.com/office/drawing/2014/main" id="{FEB2B946-9464-30C9-B43F-F137B55A3C7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12A61832-B208-AA5B-E40E-DC5C53D72915}"/>
              </a:ext>
            </a:extLst>
          </p:cNvPr>
          <p:cNvSpPr>
            <a:spLocks noGrp="1"/>
          </p:cNvSpPr>
          <p:nvPr>
            <p:ph type="body" sz="quarter" idx="18"/>
          </p:nvPr>
        </p:nvSpPr>
        <p:spPr>
          <a:xfrm>
            <a:off x="503238" y="774000"/>
            <a:ext cx="8136762" cy="360000"/>
          </a:xfrm>
        </p:spPr>
        <p:txBody>
          <a:bodyPr/>
          <a:lstStyle/>
          <a:p>
            <a:pPr>
              <a:defRPr sz="1200">
                <a:latin typeface="Nexa Bold (Headings)"/>
              </a:defRPr>
            </a:pPr>
            <a:r>
              <a:t>Promotional Frequency Analysis | Razors | Edgewell Personal Care | RETAILER | P12M</a:t>
            </a:r>
          </a:p>
        </p:txBody>
      </p:sp>
      <p:sp>
        <p:nvSpPr>
          <p:cNvPr id="20" name="Title 19">
            <a:extLst>
              <a:ext uri="{FF2B5EF4-FFF2-40B4-BE49-F238E27FC236}">
                <a16:creationId xmlns:a16="http://schemas.microsoft.com/office/drawing/2014/main" id="{55B37E12-511C-C8BB-B144-290B6993E0BC}"/>
              </a:ext>
            </a:extLst>
          </p:cNvPr>
          <p:cNvSpPr>
            <a:spLocks noGrp="1"/>
          </p:cNvSpPr>
          <p:nvPr>
            <p:ph type="title"/>
          </p:nvPr>
        </p:nvSpPr>
        <p:spPr>
          <a:xfrm>
            <a:off x="504000" y="-1"/>
            <a:ext cx="8136000" cy="771525"/>
          </a:xfrm>
          <a:noFill/>
        </p:spPr>
        <p:txBody>
          <a:bodyPr/>
          <a:lstStyle/>
          <a:p>
            <a:pPr>
              <a:defRPr sz="1600">
                <a:latin typeface="Nexa Bold (Headings)"/>
              </a:defRPr>
            </a:pPr>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D4DEAD75-1470-58B2-6F9F-189D37AE5FA9}"/>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mn-cs"/>
              </a:rPr>
              <a:t>Event Value Uplift (%) &gt;5%</a:t>
            </a:r>
          </a:p>
        </p:txBody>
      </p:sp>
      <p:sp>
        <p:nvSpPr>
          <p:cNvPr id="11" name="Oval 10">
            <a:extLst>
              <a:ext uri="{FF2B5EF4-FFF2-40B4-BE49-F238E27FC236}">
                <a16:creationId xmlns:a16="http://schemas.microsoft.com/office/drawing/2014/main" id="{D1AAD118-3982-3FE6-AB4A-7E682A04C6BF}"/>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0EFDBF96-F62B-3594-2822-E2757DE13622}"/>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35E12F0-14E9-0AF5-383D-C71312A22ACB}"/>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mn-cs"/>
              </a:rPr>
              <a:t>Weeks with VSOD &gt;20%</a:t>
            </a:r>
          </a:p>
        </p:txBody>
      </p:sp>
      <p:graphicFrame>
        <p:nvGraphicFramePr>
          <p:cNvPr id="3" name="Table 2">
            <a:extLst>
              <a:ext uri="{FF2B5EF4-FFF2-40B4-BE49-F238E27FC236}">
                <a16:creationId xmlns:a16="http://schemas.microsoft.com/office/drawing/2014/main" id="{C8272231-EDA3-2EB4-E976-3F0F0B6DED41}"/>
              </a:ext>
            </a:extLst>
          </p:cNvPr>
          <p:cNvGraphicFramePr>
            <a:graphicFrameLocks noGrp="1"/>
          </p:cNvGraphicFramePr>
          <p:nvPr/>
        </p:nvGraphicFramePr>
        <p:xfrm>
          <a:off x="546968" y="1364051"/>
          <a:ext cx="801009" cy="957556"/>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pPr algn="ctr">
                        <a:defRPr sz="800">
                          <a:latin typeface="Nexa Bold"/>
                        </a:defRPr>
                      </a:pPr>
                      <a:r>
                        <a:t>Walmart</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80994830"/>
                  </a:ext>
                </a:extLst>
              </a:tr>
            </a:tbl>
          </a:graphicData>
        </a:graphic>
      </p:graphicFrame>
      <p:graphicFrame>
        <p:nvGraphicFramePr>
          <p:cNvPr id="10" name="Chart 9">
            <a:extLst>
              <a:ext uri="{FF2B5EF4-FFF2-40B4-BE49-F238E27FC236}">
                <a16:creationId xmlns:a16="http://schemas.microsoft.com/office/drawing/2014/main" id="{AF688A9F-6A1E-E8D1-5206-5F35E0C223EA}"/>
              </a:ext>
            </a:extLst>
          </p:cNvPr>
          <p:cNvGraphicFramePr/>
          <p:nvPr>
            <p:extLst>
              <p:ext uri="{D42A27DB-BD31-4B8C-83A1-F6EECF244321}">
                <p14:modId xmlns:p14="http://schemas.microsoft.com/office/powerpoint/2010/main" val="1251783051"/>
              </p:ext>
            </p:extLst>
          </p:nvPr>
        </p:nvGraphicFramePr>
        <p:xfrm>
          <a:off x="1347976" y="1333400"/>
          <a:ext cx="7300566" cy="1510384"/>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480417295"/>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D9F713-CB4C-7BD6-DC55-DEC948F8D8DF}"/>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2CAC19F0-BB46-358A-B6C6-69127B12EE7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485F1A87-D3CC-A322-7838-907D2FF0C08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B2D61BD4-0BF8-D200-23F1-FABD5C28762A}"/>
              </a:ext>
            </a:extLst>
          </p:cNvPr>
          <p:cNvSpPr>
            <a:spLocks noGrp="1"/>
          </p:cNvSpPr>
          <p:nvPr>
            <p:ph type="dt" sz="half" idx="14"/>
          </p:nvPr>
        </p:nvSpPr>
        <p:spPr>
          <a:xfrm>
            <a:off x="8082390" y="4972050"/>
            <a:ext cx="557609" cy="171450"/>
          </a:xfrm>
        </p:spPr>
        <p:txBody>
          <a:bodyPr/>
          <a:lstStyle/>
          <a:p>
            <a:pPr lvl="0"/>
            <a:fld id="{C3572431-5FDA-4C15-BC5A-5EE3413ECCC7}" type="datetime1">
              <a:rPr lang="en-US" noProof="0" smtClean="0"/>
              <a:pPr lvl="0"/>
              <a:t>8/18/2025</a:t>
            </a:fld>
            <a:endParaRPr lang="en-US" noProof="0"/>
          </a:p>
        </p:txBody>
      </p:sp>
      <p:sp>
        <p:nvSpPr>
          <p:cNvPr id="2" name="Footer Placeholder 1">
            <a:extLst>
              <a:ext uri="{FF2B5EF4-FFF2-40B4-BE49-F238E27FC236}">
                <a16:creationId xmlns:a16="http://schemas.microsoft.com/office/drawing/2014/main" id="{CEA02AA9-AEDE-6252-139F-DAF1465C978F}"/>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297EBF08-74B8-16C6-0E52-DBD051CE042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4</a:t>
            </a:fld>
            <a:endParaRPr lang="en-US" noProof="0"/>
          </a:p>
        </p:txBody>
      </p:sp>
      <p:sp>
        <p:nvSpPr>
          <p:cNvPr id="4" name="Text Placeholder 3">
            <a:extLst>
              <a:ext uri="{FF2B5EF4-FFF2-40B4-BE49-F238E27FC236}">
                <a16:creationId xmlns:a16="http://schemas.microsoft.com/office/drawing/2014/main" id="{FEB2B946-9464-30C9-B43F-F137B55A3C7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12A61832-B208-AA5B-E40E-DC5C53D72915}"/>
              </a:ext>
            </a:extLst>
          </p:cNvPr>
          <p:cNvSpPr>
            <a:spLocks noGrp="1"/>
          </p:cNvSpPr>
          <p:nvPr>
            <p:ph type="body" sz="quarter" idx="18"/>
          </p:nvPr>
        </p:nvSpPr>
        <p:spPr>
          <a:xfrm>
            <a:off x="503238" y="774000"/>
            <a:ext cx="8136762" cy="360000"/>
          </a:xfrm>
        </p:spPr>
        <p:txBody>
          <a:bodyPr/>
          <a:lstStyle/>
          <a:p>
            <a:pPr>
              <a:defRPr sz="1200">
                <a:latin typeface="Nexa Bold (Headings)"/>
              </a:defRPr>
            </a:pPr>
            <a:r>
              <a:t>Promotional Frequency Analysis | Refills | Edgewell Personal Care | RETAILER | P12M</a:t>
            </a:r>
          </a:p>
        </p:txBody>
      </p:sp>
      <p:sp>
        <p:nvSpPr>
          <p:cNvPr id="20" name="Title 19">
            <a:extLst>
              <a:ext uri="{FF2B5EF4-FFF2-40B4-BE49-F238E27FC236}">
                <a16:creationId xmlns:a16="http://schemas.microsoft.com/office/drawing/2014/main" id="{55B37E12-511C-C8BB-B144-290B6993E0BC}"/>
              </a:ext>
            </a:extLst>
          </p:cNvPr>
          <p:cNvSpPr>
            <a:spLocks noGrp="1"/>
          </p:cNvSpPr>
          <p:nvPr>
            <p:ph type="title"/>
          </p:nvPr>
        </p:nvSpPr>
        <p:spPr>
          <a:xfrm>
            <a:off x="504000" y="-1"/>
            <a:ext cx="8136000" cy="771525"/>
          </a:xfrm>
          <a:noFill/>
        </p:spPr>
        <p:txBody>
          <a:bodyPr/>
          <a:lstStyle/>
          <a:p>
            <a:pPr>
              <a:defRPr sz="1600">
                <a:latin typeface="Nexa Bold (Headings)"/>
              </a:defRPr>
            </a:pPr>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D4DEAD75-1470-58B2-6F9F-189D37AE5FA9}"/>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mn-cs"/>
              </a:rPr>
              <a:t>Event Value Uplift (%) &gt;5%</a:t>
            </a:r>
          </a:p>
        </p:txBody>
      </p:sp>
      <p:sp>
        <p:nvSpPr>
          <p:cNvPr id="11" name="Oval 10">
            <a:extLst>
              <a:ext uri="{FF2B5EF4-FFF2-40B4-BE49-F238E27FC236}">
                <a16:creationId xmlns:a16="http://schemas.microsoft.com/office/drawing/2014/main" id="{D1AAD118-3982-3FE6-AB4A-7E682A04C6BF}"/>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0EFDBF96-F62B-3594-2822-E2757DE13622}"/>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35E12F0-14E9-0AF5-383D-C71312A22ACB}"/>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mn-cs"/>
              </a:rPr>
              <a:t>Weeks with VSOD &gt;20%</a:t>
            </a:r>
          </a:p>
        </p:txBody>
      </p:sp>
      <p:graphicFrame>
        <p:nvGraphicFramePr>
          <p:cNvPr id="3" name="Table 2">
            <a:extLst>
              <a:ext uri="{FF2B5EF4-FFF2-40B4-BE49-F238E27FC236}">
                <a16:creationId xmlns:a16="http://schemas.microsoft.com/office/drawing/2014/main" id="{C8272231-EDA3-2EB4-E976-3F0F0B6DED41}"/>
              </a:ext>
            </a:extLst>
          </p:cNvPr>
          <p:cNvGraphicFramePr>
            <a:graphicFrameLocks noGrp="1"/>
          </p:cNvGraphicFramePr>
          <p:nvPr/>
        </p:nvGraphicFramePr>
        <p:xfrm>
          <a:off x="546968" y="1364051"/>
          <a:ext cx="801009" cy="957556"/>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pPr algn="ctr">
                        <a:defRPr sz="800">
                          <a:latin typeface="Nexa Bold"/>
                        </a:defRPr>
                      </a:pPr>
                      <a:r>
                        <a:t>Walmart</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80994830"/>
                  </a:ext>
                </a:extLst>
              </a:tr>
            </a:tbl>
          </a:graphicData>
        </a:graphic>
      </p:graphicFrame>
      <p:graphicFrame>
        <p:nvGraphicFramePr>
          <p:cNvPr id="10" name="Chart 9">
            <a:extLst>
              <a:ext uri="{FF2B5EF4-FFF2-40B4-BE49-F238E27FC236}">
                <a16:creationId xmlns:a16="http://schemas.microsoft.com/office/drawing/2014/main" id="{AF688A9F-6A1E-E8D1-5206-5F35E0C223EA}"/>
              </a:ext>
            </a:extLst>
          </p:cNvPr>
          <p:cNvGraphicFramePr/>
          <p:nvPr>
            <p:extLst>
              <p:ext uri="{D42A27DB-BD31-4B8C-83A1-F6EECF244321}">
                <p14:modId xmlns:p14="http://schemas.microsoft.com/office/powerpoint/2010/main" val="1251783051"/>
              </p:ext>
            </p:extLst>
          </p:nvPr>
        </p:nvGraphicFramePr>
        <p:xfrm>
          <a:off x="1347976" y="1333400"/>
          <a:ext cx="7300566" cy="1510384"/>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705186330"/>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D9F713-CB4C-7BD6-DC55-DEC948F8D8DF}"/>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2CAC19F0-BB46-358A-B6C6-69127B12EE7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485F1A87-D3CC-A322-7838-907D2FF0C08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B2D61BD4-0BF8-D200-23F1-FABD5C28762A}"/>
              </a:ext>
            </a:extLst>
          </p:cNvPr>
          <p:cNvSpPr>
            <a:spLocks noGrp="1"/>
          </p:cNvSpPr>
          <p:nvPr>
            <p:ph type="dt" sz="half" idx="14"/>
          </p:nvPr>
        </p:nvSpPr>
        <p:spPr>
          <a:xfrm>
            <a:off x="8082390" y="4972050"/>
            <a:ext cx="557609" cy="171450"/>
          </a:xfrm>
        </p:spPr>
        <p:txBody>
          <a:bodyPr/>
          <a:lstStyle/>
          <a:p>
            <a:pPr lvl="0"/>
            <a:fld id="{C3572431-5FDA-4C15-BC5A-5EE3413ECCC7}" type="datetime1">
              <a:rPr lang="en-US" noProof="0" smtClean="0"/>
              <a:pPr lvl="0"/>
              <a:t>8/18/2025</a:t>
            </a:fld>
            <a:endParaRPr lang="en-US" noProof="0"/>
          </a:p>
        </p:txBody>
      </p:sp>
      <p:sp>
        <p:nvSpPr>
          <p:cNvPr id="2" name="Footer Placeholder 1">
            <a:extLst>
              <a:ext uri="{FF2B5EF4-FFF2-40B4-BE49-F238E27FC236}">
                <a16:creationId xmlns:a16="http://schemas.microsoft.com/office/drawing/2014/main" id="{CEA02AA9-AEDE-6252-139F-DAF1465C978F}"/>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297EBF08-74B8-16C6-0E52-DBD051CE042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5</a:t>
            </a:fld>
            <a:endParaRPr lang="en-US" noProof="0"/>
          </a:p>
        </p:txBody>
      </p:sp>
      <p:sp>
        <p:nvSpPr>
          <p:cNvPr id="4" name="Text Placeholder 3">
            <a:extLst>
              <a:ext uri="{FF2B5EF4-FFF2-40B4-BE49-F238E27FC236}">
                <a16:creationId xmlns:a16="http://schemas.microsoft.com/office/drawing/2014/main" id="{FEB2B946-9464-30C9-B43F-F137B55A3C7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12A61832-B208-AA5B-E40E-DC5C53D72915}"/>
              </a:ext>
            </a:extLst>
          </p:cNvPr>
          <p:cNvSpPr>
            <a:spLocks noGrp="1"/>
          </p:cNvSpPr>
          <p:nvPr>
            <p:ph type="body" sz="quarter" idx="18"/>
          </p:nvPr>
        </p:nvSpPr>
        <p:spPr>
          <a:xfrm>
            <a:off x="503238" y="774000"/>
            <a:ext cx="8136762" cy="360000"/>
          </a:xfrm>
        </p:spPr>
        <p:txBody>
          <a:bodyPr/>
          <a:lstStyle/>
          <a:p>
            <a:pPr>
              <a:defRPr sz="1200">
                <a:latin typeface="Nexa Bold (Headings)"/>
              </a:defRPr>
            </a:pPr>
            <a:r>
              <a:t>Promotional Frequency Analysis | Disposables | Equate | RETAILER | P12M</a:t>
            </a:r>
          </a:p>
        </p:txBody>
      </p:sp>
      <p:sp>
        <p:nvSpPr>
          <p:cNvPr id="20" name="Title 19">
            <a:extLst>
              <a:ext uri="{FF2B5EF4-FFF2-40B4-BE49-F238E27FC236}">
                <a16:creationId xmlns:a16="http://schemas.microsoft.com/office/drawing/2014/main" id="{55B37E12-511C-C8BB-B144-290B6993E0BC}"/>
              </a:ext>
            </a:extLst>
          </p:cNvPr>
          <p:cNvSpPr>
            <a:spLocks noGrp="1"/>
          </p:cNvSpPr>
          <p:nvPr>
            <p:ph type="title"/>
          </p:nvPr>
        </p:nvSpPr>
        <p:spPr>
          <a:xfrm>
            <a:off x="504000" y="-1"/>
            <a:ext cx="8136000" cy="771525"/>
          </a:xfrm>
          <a:noFill/>
        </p:spPr>
        <p:txBody>
          <a:bodyPr/>
          <a:lstStyle/>
          <a:p>
            <a:pPr>
              <a:defRPr sz="1600">
                <a:latin typeface="Nexa Bold (Headings)"/>
              </a:defRPr>
            </a:pPr>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D4DEAD75-1470-58B2-6F9F-189D37AE5FA9}"/>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mn-cs"/>
              </a:rPr>
              <a:t>Event Value Uplift (%) &gt;5%</a:t>
            </a:r>
          </a:p>
        </p:txBody>
      </p:sp>
      <p:sp>
        <p:nvSpPr>
          <p:cNvPr id="11" name="Oval 10">
            <a:extLst>
              <a:ext uri="{FF2B5EF4-FFF2-40B4-BE49-F238E27FC236}">
                <a16:creationId xmlns:a16="http://schemas.microsoft.com/office/drawing/2014/main" id="{D1AAD118-3982-3FE6-AB4A-7E682A04C6BF}"/>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0EFDBF96-F62B-3594-2822-E2757DE13622}"/>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35E12F0-14E9-0AF5-383D-C71312A22ACB}"/>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mn-cs"/>
              </a:rPr>
              <a:t>Weeks with VSOD &gt;20%</a:t>
            </a:r>
          </a:p>
        </p:txBody>
      </p:sp>
      <p:graphicFrame>
        <p:nvGraphicFramePr>
          <p:cNvPr id="3" name="Table 2">
            <a:extLst>
              <a:ext uri="{FF2B5EF4-FFF2-40B4-BE49-F238E27FC236}">
                <a16:creationId xmlns:a16="http://schemas.microsoft.com/office/drawing/2014/main" id="{C8272231-EDA3-2EB4-E976-3F0F0B6DED41}"/>
              </a:ext>
            </a:extLst>
          </p:cNvPr>
          <p:cNvGraphicFramePr>
            <a:graphicFrameLocks noGrp="1"/>
          </p:cNvGraphicFramePr>
          <p:nvPr/>
        </p:nvGraphicFramePr>
        <p:xfrm>
          <a:off x="546968" y="1364051"/>
          <a:ext cx="801009" cy="957556"/>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pPr algn="ctr">
                        <a:defRPr sz="800">
                          <a:latin typeface="Nexa Bold"/>
                        </a:defRPr>
                      </a:pPr>
                      <a:r>
                        <a:t>Walmart</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80994830"/>
                  </a:ext>
                </a:extLst>
              </a:tr>
            </a:tbl>
          </a:graphicData>
        </a:graphic>
      </p:graphicFrame>
      <p:graphicFrame>
        <p:nvGraphicFramePr>
          <p:cNvPr id="10" name="Chart 9">
            <a:extLst>
              <a:ext uri="{FF2B5EF4-FFF2-40B4-BE49-F238E27FC236}">
                <a16:creationId xmlns:a16="http://schemas.microsoft.com/office/drawing/2014/main" id="{AF688A9F-6A1E-E8D1-5206-5F35E0C223EA}"/>
              </a:ext>
            </a:extLst>
          </p:cNvPr>
          <p:cNvGraphicFramePr/>
          <p:nvPr>
            <p:extLst>
              <p:ext uri="{D42A27DB-BD31-4B8C-83A1-F6EECF244321}">
                <p14:modId xmlns:p14="http://schemas.microsoft.com/office/powerpoint/2010/main" val="1251783051"/>
              </p:ext>
            </p:extLst>
          </p:nvPr>
        </p:nvGraphicFramePr>
        <p:xfrm>
          <a:off x="1347976" y="1333400"/>
          <a:ext cx="7300566" cy="1510384"/>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548670611"/>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D9F713-CB4C-7BD6-DC55-DEC948F8D8DF}"/>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2CAC19F0-BB46-358A-B6C6-69127B12EE7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485F1A87-D3CC-A322-7838-907D2FF0C08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B2D61BD4-0BF8-D200-23F1-FABD5C28762A}"/>
              </a:ext>
            </a:extLst>
          </p:cNvPr>
          <p:cNvSpPr>
            <a:spLocks noGrp="1"/>
          </p:cNvSpPr>
          <p:nvPr>
            <p:ph type="dt" sz="half" idx="14"/>
          </p:nvPr>
        </p:nvSpPr>
        <p:spPr>
          <a:xfrm>
            <a:off x="8082390" y="4972050"/>
            <a:ext cx="557609" cy="171450"/>
          </a:xfrm>
        </p:spPr>
        <p:txBody>
          <a:bodyPr/>
          <a:lstStyle/>
          <a:p>
            <a:pPr lvl="0"/>
            <a:fld id="{C3572431-5FDA-4C15-BC5A-5EE3413ECCC7}" type="datetime1">
              <a:rPr lang="en-US" noProof="0" smtClean="0"/>
              <a:pPr lvl="0"/>
              <a:t>8/18/2025</a:t>
            </a:fld>
            <a:endParaRPr lang="en-US" noProof="0"/>
          </a:p>
        </p:txBody>
      </p:sp>
      <p:sp>
        <p:nvSpPr>
          <p:cNvPr id="2" name="Footer Placeholder 1">
            <a:extLst>
              <a:ext uri="{FF2B5EF4-FFF2-40B4-BE49-F238E27FC236}">
                <a16:creationId xmlns:a16="http://schemas.microsoft.com/office/drawing/2014/main" id="{CEA02AA9-AEDE-6252-139F-DAF1465C978F}"/>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297EBF08-74B8-16C6-0E52-DBD051CE042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6</a:t>
            </a:fld>
            <a:endParaRPr lang="en-US" noProof="0"/>
          </a:p>
        </p:txBody>
      </p:sp>
      <p:sp>
        <p:nvSpPr>
          <p:cNvPr id="4" name="Text Placeholder 3">
            <a:extLst>
              <a:ext uri="{FF2B5EF4-FFF2-40B4-BE49-F238E27FC236}">
                <a16:creationId xmlns:a16="http://schemas.microsoft.com/office/drawing/2014/main" id="{FEB2B946-9464-30C9-B43F-F137B55A3C7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12A61832-B208-AA5B-E40E-DC5C53D72915}"/>
              </a:ext>
            </a:extLst>
          </p:cNvPr>
          <p:cNvSpPr>
            <a:spLocks noGrp="1"/>
          </p:cNvSpPr>
          <p:nvPr>
            <p:ph type="body" sz="quarter" idx="18"/>
          </p:nvPr>
        </p:nvSpPr>
        <p:spPr>
          <a:xfrm>
            <a:off x="503238" y="774000"/>
            <a:ext cx="8136762" cy="360000"/>
          </a:xfrm>
        </p:spPr>
        <p:txBody>
          <a:bodyPr/>
          <a:lstStyle/>
          <a:p>
            <a:pPr>
              <a:defRPr sz="1200">
                <a:latin typeface="Nexa Bold (Headings)"/>
              </a:defRPr>
            </a:pPr>
            <a:r>
              <a:t>Promotional Frequency Analysis | Refills | Equate | RETAILER | P12M</a:t>
            </a:r>
          </a:p>
        </p:txBody>
      </p:sp>
      <p:sp>
        <p:nvSpPr>
          <p:cNvPr id="20" name="Title 19">
            <a:extLst>
              <a:ext uri="{FF2B5EF4-FFF2-40B4-BE49-F238E27FC236}">
                <a16:creationId xmlns:a16="http://schemas.microsoft.com/office/drawing/2014/main" id="{55B37E12-511C-C8BB-B144-290B6993E0BC}"/>
              </a:ext>
            </a:extLst>
          </p:cNvPr>
          <p:cNvSpPr>
            <a:spLocks noGrp="1"/>
          </p:cNvSpPr>
          <p:nvPr>
            <p:ph type="title"/>
          </p:nvPr>
        </p:nvSpPr>
        <p:spPr>
          <a:xfrm>
            <a:off x="504000" y="-1"/>
            <a:ext cx="8136000" cy="771525"/>
          </a:xfrm>
          <a:noFill/>
        </p:spPr>
        <p:txBody>
          <a:bodyPr/>
          <a:lstStyle/>
          <a:p>
            <a:pPr>
              <a:defRPr sz="1600">
                <a:latin typeface="Nexa Bold (Headings)"/>
              </a:defRPr>
            </a:pPr>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D4DEAD75-1470-58B2-6F9F-189D37AE5FA9}"/>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mn-cs"/>
              </a:rPr>
              <a:t>Event Value Uplift (%) &gt;5%</a:t>
            </a:r>
          </a:p>
        </p:txBody>
      </p:sp>
      <p:sp>
        <p:nvSpPr>
          <p:cNvPr id="11" name="Oval 10">
            <a:extLst>
              <a:ext uri="{FF2B5EF4-FFF2-40B4-BE49-F238E27FC236}">
                <a16:creationId xmlns:a16="http://schemas.microsoft.com/office/drawing/2014/main" id="{D1AAD118-3982-3FE6-AB4A-7E682A04C6BF}"/>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0EFDBF96-F62B-3594-2822-E2757DE13622}"/>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35E12F0-14E9-0AF5-383D-C71312A22ACB}"/>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mn-cs"/>
              </a:rPr>
              <a:t>Weeks with VSOD &gt;20%</a:t>
            </a:r>
          </a:p>
        </p:txBody>
      </p:sp>
      <p:graphicFrame>
        <p:nvGraphicFramePr>
          <p:cNvPr id="3" name="Table 2">
            <a:extLst>
              <a:ext uri="{FF2B5EF4-FFF2-40B4-BE49-F238E27FC236}">
                <a16:creationId xmlns:a16="http://schemas.microsoft.com/office/drawing/2014/main" id="{C8272231-EDA3-2EB4-E976-3F0F0B6DED41}"/>
              </a:ext>
            </a:extLst>
          </p:cNvPr>
          <p:cNvGraphicFramePr>
            <a:graphicFrameLocks noGrp="1"/>
          </p:cNvGraphicFramePr>
          <p:nvPr/>
        </p:nvGraphicFramePr>
        <p:xfrm>
          <a:off x="546968" y="1364051"/>
          <a:ext cx="801009" cy="957556"/>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pPr algn="ctr">
                        <a:defRPr sz="800">
                          <a:latin typeface="Nexa Bold"/>
                        </a:defRPr>
                      </a:pPr>
                      <a:r>
                        <a:t>Walmart</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80994830"/>
                  </a:ext>
                </a:extLst>
              </a:tr>
            </a:tbl>
          </a:graphicData>
        </a:graphic>
      </p:graphicFrame>
      <p:graphicFrame>
        <p:nvGraphicFramePr>
          <p:cNvPr id="10" name="Chart 9">
            <a:extLst>
              <a:ext uri="{FF2B5EF4-FFF2-40B4-BE49-F238E27FC236}">
                <a16:creationId xmlns:a16="http://schemas.microsoft.com/office/drawing/2014/main" id="{AF688A9F-6A1E-E8D1-5206-5F35E0C223EA}"/>
              </a:ext>
            </a:extLst>
          </p:cNvPr>
          <p:cNvGraphicFramePr/>
          <p:nvPr>
            <p:extLst>
              <p:ext uri="{D42A27DB-BD31-4B8C-83A1-F6EECF244321}">
                <p14:modId xmlns:p14="http://schemas.microsoft.com/office/powerpoint/2010/main" val="1251783051"/>
              </p:ext>
            </p:extLst>
          </p:nvPr>
        </p:nvGraphicFramePr>
        <p:xfrm>
          <a:off x="1347976" y="1333400"/>
          <a:ext cx="7300566" cy="1510384"/>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644728228"/>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9A74A6-A795-CE79-8C39-495A20EFB579}"/>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2DCC7D2-AA42-3C73-3D0E-CA46E36A7FB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63E2AE8E-4C30-FE9E-7D13-A332318FB41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8532D7D4-9D0E-8F6B-387E-FCD29E76B66B}"/>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C3572431-5FDA-4C15-BC5A-5EE3413ECCC7}"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Footer Placeholder 1">
            <a:extLst>
              <a:ext uri="{FF2B5EF4-FFF2-40B4-BE49-F238E27FC236}">
                <a16:creationId xmlns:a16="http://schemas.microsoft.com/office/drawing/2014/main" id="{04C31CC0-F4A5-1822-031A-D80FBCEFB1C6}"/>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8" name="Slide Number Placeholder 7">
            <a:extLst>
              <a:ext uri="{FF2B5EF4-FFF2-40B4-BE49-F238E27FC236}">
                <a16:creationId xmlns:a16="http://schemas.microsoft.com/office/drawing/2014/main" id="{98AD9E9E-68FC-D2ED-5793-9ECF80CBE0E2}"/>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0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Text Placeholder 3">
            <a:extLst>
              <a:ext uri="{FF2B5EF4-FFF2-40B4-BE49-F238E27FC236}">
                <a16:creationId xmlns:a16="http://schemas.microsoft.com/office/drawing/2014/main" id="{D8870972-6E56-C568-450C-EA7488ABB91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478BDEC-4F50-B693-CAA2-ADF3EEFD40E7}"/>
              </a:ext>
            </a:extLst>
          </p:cNvPr>
          <p:cNvSpPr>
            <a:spLocks noGrp="1"/>
          </p:cNvSpPr>
          <p:nvPr>
            <p:ph type="body" sz="quarter" idx="18"/>
          </p:nvPr>
        </p:nvSpPr>
        <p:spPr>
          <a:xfrm>
            <a:off x="503238" y="774000"/>
            <a:ext cx="8136762" cy="360000"/>
          </a:xfrm>
        </p:spPr>
        <p:txBody>
          <a:bodyPr/>
          <a:lstStyle/>
          <a:p>
            <a:pPr>
              <a:defRPr sz="1200">
                <a:latin typeface="Nexa Bold (Headings)"/>
              </a:defRPr>
            </a:pPr>
            <a:r>
              <a:t>Promotional Frequency Analysis | Disposables | Schick | RETAILER | P12M</a:t>
            </a:r>
          </a:p>
        </p:txBody>
      </p:sp>
      <p:sp>
        <p:nvSpPr>
          <p:cNvPr id="20" name="Title 19">
            <a:extLst>
              <a:ext uri="{FF2B5EF4-FFF2-40B4-BE49-F238E27FC236}">
                <a16:creationId xmlns:a16="http://schemas.microsoft.com/office/drawing/2014/main" id="{1DA5462C-C7E5-8D84-AB19-B01FA32675C7}"/>
              </a:ext>
            </a:extLst>
          </p:cNvPr>
          <p:cNvSpPr>
            <a:spLocks noGrp="1"/>
          </p:cNvSpPr>
          <p:nvPr>
            <p:ph type="title"/>
          </p:nvPr>
        </p:nvSpPr>
        <p:spPr>
          <a:xfrm>
            <a:off x="504000" y="-1"/>
            <a:ext cx="8136000" cy="771525"/>
          </a:xfrm>
          <a:noFill/>
        </p:spPr>
        <p:txBody>
          <a:bodyPr/>
          <a:lstStyle/>
          <a:p>
            <a:pPr>
              <a:defRPr sz="1600">
                <a:latin typeface="Nexa Bold (Headings)"/>
              </a:defRPr>
            </a:pPr>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E5BB5A87-2F25-4479-E7A4-F56174768DB6}"/>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Dubai Light"/>
              </a:rPr>
              <a:t>Event Value Uplift (%) &gt;5%</a:t>
            </a:r>
          </a:p>
        </p:txBody>
      </p:sp>
      <p:sp>
        <p:nvSpPr>
          <p:cNvPr id="11" name="Oval 10">
            <a:extLst>
              <a:ext uri="{FF2B5EF4-FFF2-40B4-BE49-F238E27FC236}">
                <a16:creationId xmlns:a16="http://schemas.microsoft.com/office/drawing/2014/main" id="{D00CE631-517E-C6FF-E1A7-F125131A9D46}"/>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A4E4B0DB-B2C0-C69B-2EAC-38AE18FDD870}"/>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F09CFE6-69A7-C7F1-2DAA-5AB620677C36}"/>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Dubai Light"/>
              </a:rPr>
              <a:t>Weeks with VSOD &gt;20%</a:t>
            </a:r>
          </a:p>
        </p:txBody>
      </p:sp>
      <p:graphicFrame>
        <p:nvGraphicFramePr>
          <p:cNvPr id="3" name="Table 2">
            <a:extLst>
              <a:ext uri="{FF2B5EF4-FFF2-40B4-BE49-F238E27FC236}">
                <a16:creationId xmlns:a16="http://schemas.microsoft.com/office/drawing/2014/main" id="{EAF0EB5E-DB0F-2EBC-C1D5-5639F7C6A6CE}"/>
              </a:ext>
            </a:extLst>
          </p:cNvPr>
          <p:cNvGraphicFramePr>
            <a:graphicFrameLocks noGrp="1"/>
          </p:cNvGraphicFramePr>
          <p:nvPr/>
        </p:nvGraphicFramePr>
        <p:xfrm>
          <a:off x="546968" y="1364051"/>
          <a:ext cx="801009" cy="1915112"/>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pPr algn="ctr">
                        <a:defRPr sz="800">
                          <a:latin typeface="Nexa Bold"/>
                        </a:defRPr>
                      </a:pPr>
                      <a:r>
                        <a:t>Bj's And Sam's</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22659435"/>
                  </a:ext>
                </a:extLst>
              </a:tr>
              <a:tr h="957556">
                <a:tc>
                  <a:txBody>
                    <a:bodyPr/>
                    <a:lstStyle/>
                    <a:p>
                      <a:pPr algn="ctr">
                        <a:defRPr sz="800">
                          <a:latin typeface="Nexa Bold"/>
                        </a:defRPr>
                      </a:pPr>
                      <a:r>
                        <a:t>Walmart</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4957612"/>
                  </a:ext>
                </a:extLst>
              </a:tr>
            </a:tbl>
          </a:graphicData>
        </a:graphic>
      </p:graphicFrame>
      <p:graphicFrame>
        <p:nvGraphicFramePr>
          <p:cNvPr id="15" name="Chart 14">
            <a:extLst>
              <a:ext uri="{FF2B5EF4-FFF2-40B4-BE49-F238E27FC236}">
                <a16:creationId xmlns:a16="http://schemas.microsoft.com/office/drawing/2014/main" id="{2C71707F-2392-7965-7295-8624E7A0741E}"/>
              </a:ext>
            </a:extLst>
          </p:cNvPr>
          <p:cNvGraphicFramePr/>
          <p:nvPr/>
        </p:nvGraphicFramePr>
        <p:xfrm>
          <a:off x="1347977" y="1361938"/>
          <a:ext cx="7292024" cy="96206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7" name="Chart 16">
            <a:extLst>
              <a:ext uri="{FF2B5EF4-FFF2-40B4-BE49-F238E27FC236}">
                <a16:creationId xmlns:a16="http://schemas.microsoft.com/office/drawing/2014/main" id="{FAA7897A-7271-E11F-7BEB-579939ACD547}"/>
              </a:ext>
            </a:extLst>
          </p:cNvPr>
          <p:cNvGraphicFramePr/>
          <p:nvPr/>
        </p:nvGraphicFramePr>
        <p:xfrm>
          <a:off x="1347976" y="2324000"/>
          <a:ext cx="7300566" cy="1510384"/>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492339300"/>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D9F713-CB4C-7BD6-DC55-DEC948F8D8DF}"/>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2CAC19F0-BB46-358A-B6C6-69127B12EE7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485F1A87-D3CC-A322-7838-907D2FF0C08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B2D61BD4-0BF8-D200-23F1-FABD5C28762A}"/>
              </a:ext>
            </a:extLst>
          </p:cNvPr>
          <p:cNvSpPr>
            <a:spLocks noGrp="1"/>
          </p:cNvSpPr>
          <p:nvPr>
            <p:ph type="dt" sz="half" idx="14"/>
          </p:nvPr>
        </p:nvSpPr>
        <p:spPr>
          <a:xfrm>
            <a:off x="8082390" y="4972050"/>
            <a:ext cx="557609" cy="171450"/>
          </a:xfrm>
        </p:spPr>
        <p:txBody>
          <a:bodyPr/>
          <a:lstStyle/>
          <a:p>
            <a:pPr lvl="0"/>
            <a:fld id="{C3572431-5FDA-4C15-BC5A-5EE3413ECCC7}" type="datetime1">
              <a:rPr lang="en-US" noProof="0" smtClean="0"/>
              <a:pPr lvl="0"/>
              <a:t>8/18/2025</a:t>
            </a:fld>
            <a:endParaRPr lang="en-US" noProof="0"/>
          </a:p>
        </p:txBody>
      </p:sp>
      <p:sp>
        <p:nvSpPr>
          <p:cNvPr id="2" name="Footer Placeholder 1">
            <a:extLst>
              <a:ext uri="{FF2B5EF4-FFF2-40B4-BE49-F238E27FC236}">
                <a16:creationId xmlns:a16="http://schemas.microsoft.com/office/drawing/2014/main" id="{CEA02AA9-AEDE-6252-139F-DAF1465C978F}"/>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297EBF08-74B8-16C6-0E52-DBD051CE042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8</a:t>
            </a:fld>
            <a:endParaRPr lang="en-US" noProof="0"/>
          </a:p>
        </p:txBody>
      </p:sp>
      <p:sp>
        <p:nvSpPr>
          <p:cNvPr id="4" name="Text Placeholder 3">
            <a:extLst>
              <a:ext uri="{FF2B5EF4-FFF2-40B4-BE49-F238E27FC236}">
                <a16:creationId xmlns:a16="http://schemas.microsoft.com/office/drawing/2014/main" id="{FEB2B946-9464-30C9-B43F-F137B55A3C7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12A61832-B208-AA5B-E40E-DC5C53D72915}"/>
              </a:ext>
            </a:extLst>
          </p:cNvPr>
          <p:cNvSpPr>
            <a:spLocks noGrp="1"/>
          </p:cNvSpPr>
          <p:nvPr>
            <p:ph type="body" sz="quarter" idx="18"/>
          </p:nvPr>
        </p:nvSpPr>
        <p:spPr>
          <a:xfrm>
            <a:off x="503238" y="774000"/>
            <a:ext cx="8136762" cy="360000"/>
          </a:xfrm>
        </p:spPr>
        <p:txBody>
          <a:bodyPr/>
          <a:lstStyle/>
          <a:p>
            <a:pPr>
              <a:defRPr sz="1200">
                <a:latin typeface="Nexa Bold (Headings)"/>
              </a:defRPr>
            </a:pPr>
            <a:r>
              <a:t>Promotional Frequency Analysis | Razors | Schick | RETAILER | P12M</a:t>
            </a:r>
          </a:p>
        </p:txBody>
      </p:sp>
      <p:sp>
        <p:nvSpPr>
          <p:cNvPr id="20" name="Title 19">
            <a:extLst>
              <a:ext uri="{FF2B5EF4-FFF2-40B4-BE49-F238E27FC236}">
                <a16:creationId xmlns:a16="http://schemas.microsoft.com/office/drawing/2014/main" id="{55B37E12-511C-C8BB-B144-290B6993E0BC}"/>
              </a:ext>
            </a:extLst>
          </p:cNvPr>
          <p:cNvSpPr>
            <a:spLocks noGrp="1"/>
          </p:cNvSpPr>
          <p:nvPr>
            <p:ph type="title"/>
          </p:nvPr>
        </p:nvSpPr>
        <p:spPr>
          <a:xfrm>
            <a:off x="504000" y="-1"/>
            <a:ext cx="8136000" cy="771525"/>
          </a:xfrm>
          <a:noFill/>
        </p:spPr>
        <p:txBody>
          <a:bodyPr/>
          <a:lstStyle/>
          <a:p>
            <a:pPr>
              <a:defRPr sz="1600">
                <a:latin typeface="Nexa Bold (Headings)"/>
              </a:defRPr>
            </a:pPr>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D4DEAD75-1470-58B2-6F9F-189D37AE5FA9}"/>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mn-cs"/>
              </a:rPr>
              <a:t>Event Value Uplift (%) &gt;5%</a:t>
            </a:r>
          </a:p>
        </p:txBody>
      </p:sp>
      <p:sp>
        <p:nvSpPr>
          <p:cNvPr id="11" name="Oval 10">
            <a:extLst>
              <a:ext uri="{FF2B5EF4-FFF2-40B4-BE49-F238E27FC236}">
                <a16:creationId xmlns:a16="http://schemas.microsoft.com/office/drawing/2014/main" id="{D1AAD118-3982-3FE6-AB4A-7E682A04C6BF}"/>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0EFDBF96-F62B-3594-2822-E2757DE13622}"/>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35E12F0-14E9-0AF5-383D-C71312A22ACB}"/>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mn-cs"/>
              </a:rPr>
              <a:t>Weeks with VSOD &gt;20%</a:t>
            </a:r>
          </a:p>
        </p:txBody>
      </p:sp>
      <p:graphicFrame>
        <p:nvGraphicFramePr>
          <p:cNvPr id="3" name="Table 2">
            <a:extLst>
              <a:ext uri="{FF2B5EF4-FFF2-40B4-BE49-F238E27FC236}">
                <a16:creationId xmlns:a16="http://schemas.microsoft.com/office/drawing/2014/main" id="{C8272231-EDA3-2EB4-E976-3F0F0B6DED41}"/>
              </a:ext>
            </a:extLst>
          </p:cNvPr>
          <p:cNvGraphicFramePr>
            <a:graphicFrameLocks noGrp="1"/>
          </p:cNvGraphicFramePr>
          <p:nvPr/>
        </p:nvGraphicFramePr>
        <p:xfrm>
          <a:off x="546968" y="1364051"/>
          <a:ext cx="801009" cy="957556"/>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pPr algn="ctr">
                        <a:defRPr sz="800">
                          <a:latin typeface="Nexa Bold"/>
                        </a:defRPr>
                      </a:pPr>
                      <a:r>
                        <a:t>Walmart</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80994830"/>
                  </a:ext>
                </a:extLst>
              </a:tr>
            </a:tbl>
          </a:graphicData>
        </a:graphic>
      </p:graphicFrame>
      <p:graphicFrame>
        <p:nvGraphicFramePr>
          <p:cNvPr id="10" name="Chart 9">
            <a:extLst>
              <a:ext uri="{FF2B5EF4-FFF2-40B4-BE49-F238E27FC236}">
                <a16:creationId xmlns:a16="http://schemas.microsoft.com/office/drawing/2014/main" id="{AF688A9F-6A1E-E8D1-5206-5F35E0C223EA}"/>
              </a:ext>
            </a:extLst>
          </p:cNvPr>
          <p:cNvGraphicFramePr/>
          <p:nvPr>
            <p:extLst>
              <p:ext uri="{D42A27DB-BD31-4B8C-83A1-F6EECF244321}">
                <p14:modId xmlns:p14="http://schemas.microsoft.com/office/powerpoint/2010/main" val="1251783051"/>
              </p:ext>
            </p:extLst>
          </p:nvPr>
        </p:nvGraphicFramePr>
        <p:xfrm>
          <a:off x="1347976" y="1333400"/>
          <a:ext cx="7300566" cy="1510384"/>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35252938"/>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D9F713-CB4C-7BD6-DC55-DEC948F8D8DF}"/>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2CAC19F0-BB46-358A-B6C6-69127B12EE7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485F1A87-D3CC-A322-7838-907D2FF0C08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B2D61BD4-0BF8-D200-23F1-FABD5C28762A}"/>
              </a:ext>
            </a:extLst>
          </p:cNvPr>
          <p:cNvSpPr>
            <a:spLocks noGrp="1"/>
          </p:cNvSpPr>
          <p:nvPr>
            <p:ph type="dt" sz="half" idx="14"/>
          </p:nvPr>
        </p:nvSpPr>
        <p:spPr>
          <a:xfrm>
            <a:off x="8082390" y="4972050"/>
            <a:ext cx="557609" cy="171450"/>
          </a:xfrm>
        </p:spPr>
        <p:txBody>
          <a:bodyPr/>
          <a:lstStyle/>
          <a:p>
            <a:pPr lvl="0"/>
            <a:fld id="{C3572431-5FDA-4C15-BC5A-5EE3413ECCC7}" type="datetime1">
              <a:rPr lang="en-US" noProof="0" smtClean="0"/>
              <a:pPr lvl="0"/>
              <a:t>8/18/2025</a:t>
            </a:fld>
            <a:endParaRPr lang="en-US" noProof="0"/>
          </a:p>
        </p:txBody>
      </p:sp>
      <p:sp>
        <p:nvSpPr>
          <p:cNvPr id="2" name="Footer Placeholder 1">
            <a:extLst>
              <a:ext uri="{FF2B5EF4-FFF2-40B4-BE49-F238E27FC236}">
                <a16:creationId xmlns:a16="http://schemas.microsoft.com/office/drawing/2014/main" id="{CEA02AA9-AEDE-6252-139F-DAF1465C978F}"/>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297EBF08-74B8-16C6-0E52-DBD051CE042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9</a:t>
            </a:fld>
            <a:endParaRPr lang="en-US" noProof="0"/>
          </a:p>
        </p:txBody>
      </p:sp>
      <p:sp>
        <p:nvSpPr>
          <p:cNvPr id="4" name="Text Placeholder 3">
            <a:extLst>
              <a:ext uri="{FF2B5EF4-FFF2-40B4-BE49-F238E27FC236}">
                <a16:creationId xmlns:a16="http://schemas.microsoft.com/office/drawing/2014/main" id="{FEB2B946-9464-30C9-B43F-F137B55A3C7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12A61832-B208-AA5B-E40E-DC5C53D72915}"/>
              </a:ext>
            </a:extLst>
          </p:cNvPr>
          <p:cNvSpPr>
            <a:spLocks noGrp="1"/>
          </p:cNvSpPr>
          <p:nvPr>
            <p:ph type="body" sz="quarter" idx="18"/>
          </p:nvPr>
        </p:nvSpPr>
        <p:spPr>
          <a:xfrm>
            <a:off x="503238" y="774000"/>
            <a:ext cx="8136762" cy="360000"/>
          </a:xfrm>
        </p:spPr>
        <p:txBody>
          <a:bodyPr/>
          <a:lstStyle/>
          <a:p>
            <a:pPr>
              <a:defRPr sz="1200">
                <a:latin typeface="Nexa Bold (Headings)"/>
              </a:defRPr>
            </a:pPr>
            <a:r>
              <a:t>Promotional Frequency Analysis | Refills | Schick | RETAILER | P12M</a:t>
            </a:r>
          </a:p>
        </p:txBody>
      </p:sp>
      <p:sp>
        <p:nvSpPr>
          <p:cNvPr id="20" name="Title 19">
            <a:extLst>
              <a:ext uri="{FF2B5EF4-FFF2-40B4-BE49-F238E27FC236}">
                <a16:creationId xmlns:a16="http://schemas.microsoft.com/office/drawing/2014/main" id="{55B37E12-511C-C8BB-B144-290B6993E0BC}"/>
              </a:ext>
            </a:extLst>
          </p:cNvPr>
          <p:cNvSpPr>
            <a:spLocks noGrp="1"/>
          </p:cNvSpPr>
          <p:nvPr>
            <p:ph type="title"/>
          </p:nvPr>
        </p:nvSpPr>
        <p:spPr>
          <a:xfrm>
            <a:off x="504000" y="-1"/>
            <a:ext cx="8136000" cy="771525"/>
          </a:xfrm>
          <a:noFill/>
        </p:spPr>
        <p:txBody>
          <a:bodyPr/>
          <a:lstStyle/>
          <a:p>
            <a:pPr>
              <a:defRPr sz="1600">
                <a:latin typeface="Nexa Bold (Headings)"/>
              </a:defRPr>
            </a:pPr>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D4DEAD75-1470-58B2-6F9F-189D37AE5FA9}"/>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mn-cs"/>
              </a:rPr>
              <a:t>Event Value Uplift (%) &gt;5%</a:t>
            </a:r>
          </a:p>
        </p:txBody>
      </p:sp>
      <p:sp>
        <p:nvSpPr>
          <p:cNvPr id="11" name="Oval 10">
            <a:extLst>
              <a:ext uri="{FF2B5EF4-FFF2-40B4-BE49-F238E27FC236}">
                <a16:creationId xmlns:a16="http://schemas.microsoft.com/office/drawing/2014/main" id="{D1AAD118-3982-3FE6-AB4A-7E682A04C6BF}"/>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0EFDBF96-F62B-3594-2822-E2757DE13622}"/>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35E12F0-14E9-0AF5-383D-C71312A22ACB}"/>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mn-cs"/>
              </a:rPr>
              <a:t>Weeks with VSOD &gt;20%</a:t>
            </a:r>
          </a:p>
        </p:txBody>
      </p:sp>
      <p:graphicFrame>
        <p:nvGraphicFramePr>
          <p:cNvPr id="3" name="Table 2">
            <a:extLst>
              <a:ext uri="{FF2B5EF4-FFF2-40B4-BE49-F238E27FC236}">
                <a16:creationId xmlns:a16="http://schemas.microsoft.com/office/drawing/2014/main" id="{C8272231-EDA3-2EB4-E976-3F0F0B6DED41}"/>
              </a:ext>
            </a:extLst>
          </p:cNvPr>
          <p:cNvGraphicFramePr>
            <a:graphicFrameLocks noGrp="1"/>
          </p:cNvGraphicFramePr>
          <p:nvPr/>
        </p:nvGraphicFramePr>
        <p:xfrm>
          <a:off x="546968" y="1364051"/>
          <a:ext cx="801009" cy="957556"/>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pPr algn="ctr">
                        <a:defRPr sz="800">
                          <a:latin typeface="Nexa Bold"/>
                        </a:defRPr>
                      </a:pPr>
                      <a:r>
                        <a:t>Walmart</a:t>
                      </a: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80994830"/>
                  </a:ext>
                </a:extLst>
              </a:tr>
            </a:tbl>
          </a:graphicData>
        </a:graphic>
      </p:graphicFrame>
      <p:graphicFrame>
        <p:nvGraphicFramePr>
          <p:cNvPr id="10" name="Chart 9">
            <a:extLst>
              <a:ext uri="{FF2B5EF4-FFF2-40B4-BE49-F238E27FC236}">
                <a16:creationId xmlns:a16="http://schemas.microsoft.com/office/drawing/2014/main" id="{AF688A9F-6A1E-E8D1-5206-5F35E0C223EA}"/>
              </a:ext>
            </a:extLst>
          </p:cNvPr>
          <p:cNvGraphicFramePr/>
          <p:nvPr>
            <p:extLst>
              <p:ext uri="{D42A27DB-BD31-4B8C-83A1-F6EECF244321}">
                <p14:modId xmlns:p14="http://schemas.microsoft.com/office/powerpoint/2010/main" val="1251783051"/>
              </p:ext>
            </p:extLst>
          </p:nvPr>
        </p:nvGraphicFramePr>
        <p:xfrm>
          <a:off x="1347976" y="1333400"/>
          <a:ext cx="7300566" cy="1510384"/>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34913508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222808FD-ACDC-CC7C-8644-923BBD07B29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222808FD-ACDC-CC7C-8644-923BBD07B29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20" name="Chart 19">
            <a:extLst>
              <a:ext uri="{FF2B5EF4-FFF2-40B4-BE49-F238E27FC236}">
                <a16:creationId xmlns:a16="http://schemas.microsoft.com/office/drawing/2014/main" id="{B1FE0159-4E62-4A93-B376-F25F0DD097D3}"/>
              </a:ext>
            </a:extLst>
          </p:cNvPr>
          <p:cNvGraphicFramePr/>
          <p:nvPr>
            <p:extLst>
              <p:ext uri="{D42A27DB-BD31-4B8C-83A1-F6EECF244321}">
                <p14:modId xmlns:p14="http://schemas.microsoft.com/office/powerpoint/2010/main" val="3283160219"/>
              </p:ext>
            </p:extLst>
          </p:nvPr>
        </p:nvGraphicFramePr>
        <p:xfrm>
          <a:off x="540000" y="1133639"/>
          <a:ext cx="8100000" cy="3509669"/>
        </p:xfrm>
        <a:graphic>
          <a:graphicData uri="http://schemas.openxmlformats.org/drawingml/2006/chart">
            <c:chart xmlns:c="http://schemas.openxmlformats.org/drawingml/2006/chart" xmlns:r="http://schemas.openxmlformats.org/officeDocument/2006/relationships" r:id="rId6"/>
          </a:graphicData>
        </a:graphic>
      </p:graphicFrame>
      <p:sp>
        <p:nvSpPr>
          <p:cNvPr id="18" name="Date Placeholder 17">
            <a:extLst>
              <a:ext uri="{FF2B5EF4-FFF2-40B4-BE49-F238E27FC236}">
                <a16:creationId xmlns:a16="http://schemas.microsoft.com/office/drawing/2014/main" id="{C1C06F40-5A22-69B8-A694-546E63E1BA0C}"/>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2D21337-F382-4FF4-BA40-ECEC8B4CA4A3}"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1" name="Footer Placeholder 20">
            <a:extLst>
              <a:ext uri="{FF2B5EF4-FFF2-40B4-BE49-F238E27FC236}">
                <a16:creationId xmlns:a16="http://schemas.microsoft.com/office/drawing/2014/main" id="{FBEB295B-B94A-FD99-99F9-D5E99E11858A}"/>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9" name="Slide Number Placeholder 18">
            <a:extLst>
              <a:ext uri="{FF2B5EF4-FFF2-40B4-BE49-F238E27FC236}">
                <a16:creationId xmlns:a16="http://schemas.microsoft.com/office/drawing/2014/main" id="{7E74166E-6986-24E0-FE60-F1092A45D18E}"/>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10" name="Text Placeholder 9">
            <a:extLst>
              <a:ext uri="{FF2B5EF4-FFF2-40B4-BE49-F238E27FC236}">
                <a16:creationId xmlns:a16="http://schemas.microsoft.com/office/drawing/2014/main" id="{234ADF96-6FB1-4D58-8B54-873D4F64F33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Content Placeholder 1">
            <a:extLst>
              <a:ext uri="{FF2B5EF4-FFF2-40B4-BE49-F238E27FC236}">
                <a16:creationId xmlns:a16="http://schemas.microsoft.com/office/drawing/2014/main" id="{130C05D2-CF04-4DA4-82C4-9E265F94F028}"/>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by brand | Razors | P12M</a:t>
            </a:r>
          </a:p>
        </p:txBody>
      </p:sp>
      <p:sp>
        <p:nvSpPr>
          <p:cNvPr id="17" name="Title 16">
            <a:extLst>
              <a:ext uri="{FF2B5EF4-FFF2-40B4-BE49-F238E27FC236}">
                <a16:creationId xmlns:a16="http://schemas.microsoft.com/office/drawing/2014/main" id="{4F16EBB1-4C79-4A6F-8868-FA7F8505744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by retailer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4" name="TextBox 13">
            <a:extLst>
              <a:ext uri="{FF2B5EF4-FFF2-40B4-BE49-F238E27FC236}">
                <a16:creationId xmlns:a16="http://schemas.microsoft.com/office/drawing/2014/main" id="{B849EA39-EC71-4F3C-B69E-269019A3BE69}"/>
              </a:ext>
            </a:extLst>
          </p:cNvPr>
          <p:cNvSpPr txBox="1"/>
          <p:nvPr/>
        </p:nvSpPr>
        <p:spPr>
          <a:xfrm>
            <a:off x="546969" y="1143000"/>
            <a:ext cx="2019790" cy="24622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Bubble size by Promo sales</a:t>
            </a:r>
            <a:endParaRPr kumimoji="0" lang="en-CH"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endParaRPr>
          </a:p>
        </p:txBody>
      </p:sp>
      <p:graphicFrame>
        <p:nvGraphicFramePr>
          <p:cNvPr id="5" name="Table 5">
            <a:extLst>
              <a:ext uri="{FF2B5EF4-FFF2-40B4-BE49-F238E27FC236}">
                <a16:creationId xmlns:a16="http://schemas.microsoft.com/office/drawing/2014/main" id="{5519C780-DF17-D565-38D2-E69BBF4F5C8A}"/>
              </a:ext>
            </a:extLst>
          </p:cNvPr>
          <p:cNvGraphicFramePr>
            <a:graphicFrameLocks noGrp="1"/>
          </p:cNvGraphicFramePr>
          <p:nvPr/>
        </p:nvGraphicFramePr>
        <p:xfrm>
          <a:off x="1525055" y="4454629"/>
          <a:ext cx="6815298" cy="434340"/>
        </p:xfrm>
        <a:graphic>
          <a:graphicData uri="http://schemas.openxmlformats.org/drawingml/2006/table">
            <a:tbl>
              <a:tblPr firstRow="1" bandRow="1">
                <a:tableStyleId>{5C22544A-7EE6-4342-B048-85BDC9FD1C3A}</a:tableStyleId>
              </a:tblPr>
              <a:tblGrid>
                <a:gridCol w="3407649">
                  <a:extLst>
                    <a:ext uri="{9D8B030D-6E8A-4147-A177-3AD203B41FA5}">
                      <a16:colId xmlns:a16="http://schemas.microsoft.com/office/drawing/2014/main" val="826016986"/>
                    </a:ext>
                  </a:extLst>
                </a:gridCol>
                <a:gridCol w="3407649">
                  <a:extLst>
                    <a:ext uri="{9D8B030D-6E8A-4147-A177-3AD203B41FA5}">
                      <a16:colId xmlns:a16="http://schemas.microsoft.com/office/drawing/2014/main" val="2337481629"/>
                    </a:ext>
                  </a:extLst>
                </a:gridCol>
              </a:tblGrid>
              <a:tr h="278130">
                <a:tc>
                  <a:txBody>
                    <a:bodyPr/>
                    <a:lstStyle/>
                    <a:p>
                      <a:pPr algn="ctr">
                        <a:defRPr sz="800" b="0">
                          <a:solidFill>
                            <a:srgbClr val="575555"/>
                          </a:solidFill>
                          <a:latin typeface="Nexa Bold"/>
                        </a:defRPr>
                      </a:pPr>
                      <a:r>
                        <a:rPr sz="800">
                          <a:latin typeface="Nexa Bold"/>
                        </a:rPr>
                        <a:t>Bj's And Sam's</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Walmart</a:t>
                      </a:r>
                    </a:p>
                  </a:txBody>
                  <a:tcPr marL="68580" marR="68580" marT="34290" marB="34290" anchor="ctr">
                    <a:solidFill>
                      <a:schemeClr val="bg1">
                        <a:lumMod val="95000"/>
                      </a:schemeClr>
                    </a:solidFill>
                  </a:tcPr>
                </a:tc>
                <a:extLst>
                  <a:ext uri="{0D108BD9-81ED-4DB2-BD59-A6C34878D82A}">
                    <a16:rowId xmlns:a16="http://schemas.microsoft.com/office/drawing/2014/main" val="43767022"/>
                  </a:ext>
                </a:extLst>
              </a:tr>
            </a:tbl>
          </a:graphicData>
        </a:graphic>
      </p:graphicFrame>
    </p:spTree>
    <p:extLst>
      <p:ext uri="{BB962C8B-B14F-4D97-AF65-F5344CB8AC3E}">
        <p14:creationId xmlns:p14="http://schemas.microsoft.com/office/powerpoint/2010/main" val="1780827034"/>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8/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Manual Shave Men | Bj's And Sam's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6"/>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1079921">
                <a:tc>
                  <a:txBody>
                    <a:bodyPr/>
                    <a:lstStyle/>
                    <a:p>
                      <a:pPr algn="ctr">
                        <a:defRPr sz="800">
                          <a:latin typeface="Nexa Bold"/>
                        </a:defRPr>
                      </a:pPr>
                      <a:r>
                        <a:t>Gille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285,49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1079921">
                <a:tc>
                  <a:txBody>
                    <a:bodyPr/>
                    <a:lstStyle/>
                    <a:p>
                      <a:pPr algn="ctr">
                        <a:defRPr sz="800">
                          <a:latin typeface="Nexa Bold"/>
                        </a:defRPr>
                      </a:pPr>
                      <a:r>
                        <a:t>Schick</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52,87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1079921">
                <a:tc>
                  <a:txBody>
                    <a:bodyPr/>
                    <a:lstStyle/>
                    <a:p>
                      <a:pPr algn="ctr">
                        <a:defRPr sz="800">
                          <a:latin typeface="Nexa Bold"/>
                        </a:defRPr>
                      </a:pPr>
                      <a:r>
                        <a:t>Harry'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2,56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882402888"/>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8/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Manual Shave Men | Walmart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3"/>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404970">
                <a:tc>
                  <a:txBody>
                    <a:bodyPr/>
                    <a:lstStyle/>
                    <a:p>
                      <a:pPr algn="ctr">
                        <a:defRPr sz="800">
                          <a:latin typeface="Nexa Bold"/>
                        </a:defRPr>
                      </a:pPr>
                      <a:r>
                        <a:t>Gille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10,656,80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1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8602638"/>
                  </a:ext>
                </a:extLst>
              </a:tr>
              <a:tr h="404970">
                <a:tc>
                  <a:txBody>
                    <a:bodyPr/>
                    <a:lstStyle/>
                    <a:p>
                      <a:pPr algn="ctr">
                        <a:defRPr sz="800">
                          <a:latin typeface="Nexa Bold"/>
                        </a:defRPr>
                      </a:pPr>
                      <a:r>
                        <a:t>Schick</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6,271,03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5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98176398"/>
                  </a:ext>
                </a:extLst>
              </a:tr>
              <a:tr h="404970">
                <a:tc>
                  <a:txBody>
                    <a:bodyPr/>
                    <a:lstStyle/>
                    <a:p>
                      <a:pPr algn="ctr">
                        <a:defRPr sz="800">
                          <a:latin typeface="Nexa Bold"/>
                        </a:defRPr>
                      </a:pPr>
                      <a:r>
                        <a:t>Bic</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4,603,85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11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404970">
                <a:tc>
                  <a:txBody>
                    <a:bodyPr/>
                    <a:lstStyle/>
                    <a:p>
                      <a:pPr algn="ctr">
                        <a:defRPr sz="800">
                          <a:latin typeface="Nexa Bold"/>
                        </a:defRPr>
                      </a:pPr>
                      <a:r>
                        <a:t>Dollar Shave Club</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29,11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404970">
                <a:tc>
                  <a:txBody>
                    <a:bodyPr/>
                    <a:lstStyle/>
                    <a:p>
                      <a:pPr algn="ctr">
                        <a:defRPr sz="800">
                          <a:latin typeface="Nexa Bold"/>
                        </a:defRPr>
                      </a:pPr>
                      <a:r>
                        <a:t>Equa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71,58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404970">
                <a:tc>
                  <a:txBody>
                    <a:bodyPr/>
                    <a:lstStyle/>
                    <a:p>
                      <a:pPr algn="ctr">
                        <a:defRPr sz="800">
                          <a:latin typeface="Nexa Bold"/>
                        </a:defRPr>
                      </a:pPr>
                      <a:r>
                        <a:t>Comfort 3</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3,97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404970">
                <a:tc>
                  <a:txBody>
                    <a:bodyPr/>
                    <a:lstStyle/>
                    <a:p>
                      <a:pPr algn="ctr">
                        <a:defRPr sz="800">
                          <a:latin typeface="Nexa Bold"/>
                        </a:defRPr>
                      </a:pPr>
                      <a:r>
                        <a:t>Harry'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3,66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404970">
                <a:tc>
                  <a:txBody>
                    <a:bodyPr/>
                    <a:lstStyle/>
                    <a:p>
                      <a:pPr algn="ctr">
                        <a:defRPr sz="800">
                          <a:latin typeface="Nexa Bold"/>
                        </a:defRPr>
                      </a:pPr>
                      <a:r>
                        <a:t>Van Der Hagen</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4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932339140"/>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8/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Bj's And Sam's | System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7"/>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1619882">
                <a:tc>
                  <a:txBody>
                    <a:bodyPr/>
                    <a:lstStyle/>
                    <a:p>
                      <a:pPr algn="ctr">
                        <a:defRPr sz="800">
                          <a:latin typeface="Nexa Bold"/>
                        </a:defRPr>
                      </a:pPr>
                      <a:r>
                        <a:t>Gille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417,11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1619882">
                <a:tc>
                  <a:txBody>
                    <a:bodyPr/>
                    <a:lstStyle/>
                    <a:p>
                      <a:pPr algn="ctr">
                        <a:defRPr sz="800">
                          <a:latin typeface="Nexa Bold"/>
                        </a:defRPr>
                      </a:pPr>
                      <a:r>
                        <a:t>Harry'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2,56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326230636"/>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8/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Bj's And Sam's | Disposables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6"/>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1079921">
                <a:tc>
                  <a:txBody>
                    <a:bodyPr/>
                    <a:lstStyle/>
                    <a:p>
                      <a:pPr algn="ctr">
                        <a:defRPr sz="800">
                          <a:latin typeface="Nexa Bold"/>
                        </a:defRPr>
                      </a:pPr>
                      <a:r>
                        <a:t>Gille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68,37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1079921">
                <a:tc>
                  <a:txBody>
                    <a:bodyPr/>
                    <a:lstStyle/>
                    <a:p>
                      <a:pPr algn="ctr">
                        <a:defRPr sz="800">
                          <a:latin typeface="Nexa Bold"/>
                        </a:defRPr>
                      </a:pPr>
                      <a:r>
                        <a:t>Schick</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52,87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1079921">
                <a:tc>
                  <a:txBody>
                    <a:bodyPr/>
                    <a:lstStyle/>
                    <a:p>
                      <a:pPr algn="ctr">
                        <a:defRPr sz="800">
                          <a:latin typeface="Nexa Bold"/>
                        </a:defRPr>
                      </a:pPr>
                      <a:r>
                        <a:t>Bic</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2,45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130435718"/>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8/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Walmart | System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3"/>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404970">
                <a:tc>
                  <a:txBody>
                    <a:bodyPr/>
                    <a:lstStyle/>
                    <a:p>
                      <a:pPr algn="ctr">
                        <a:defRPr sz="800">
                          <a:latin typeface="Nexa Bold"/>
                        </a:defRPr>
                      </a:pPr>
                      <a:r>
                        <a:t>Gille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10,301,31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2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8602638"/>
                  </a:ext>
                </a:extLst>
              </a:tr>
              <a:tr h="404970">
                <a:tc>
                  <a:txBody>
                    <a:bodyPr/>
                    <a:lstStyle/>
                    <a:p>
                      <a:pPr algn="ctr">
                        <a:defRPr sz="800">
                          <a:latin typeface="Nexa Bold"/>
                        </a:defRPr>
                      </a:pPr>
                      <a:r>
                        <a:t>Schick</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4,032,71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14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98176398"/>
                  </a:ext>
                </a:extLst>
              </a:tr>
              <a:tr h="404970">
                <a:tc>
                  <a:txBody>
                    <a:bodyPr/>
                    <a:lstStyle/>
                    <a:p>
                      <a:pPr algn="ctr">
                        <a:defRPr sz="800">
                          <a:latin typeface="Nexa Bold"/>
                        </a:defRPr>
                      </a:pPr>
                      <a:r>
                        <a:t>Bic</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2,887,75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10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404970">
                <a:tc>
                  <a:txBody>
                    <a:bodyPr/>
                    <a:lstStyle/>
                    <a:p>
                      <a:pPr algn="ctr">
                        <a:defRPr sz="800">
                          <a:latin typeface="Nexa Bold"/>
                        </a:defRPr>
                      </a:pPr>
                      <a:r>
                        <a:t>Dollar Shave Club</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29,11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404970">
                <a:tc>
                  <a:txBody>
                    <a:bodyPr/>
                    <a:lstStyle/>
                    <a:p>
                      <a:pPr algn="ctr">
                        <a:defRPr sz="800">
                          <a:latin typeface="Nexa Bold"/>
                        </a:defRPr>
                      </a:pPr>
                      <a:r>
                        <a:t>Comfort 3</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3,97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404970">
                <a:tc>
                  <a:txBody>
                    <a:bodyPr/>
                    <a:lstStyle/>
                    <a:p>
                      <a:pPr algn="ctr">
                        <a:defRPr sz="800">
                          <a:latin typeface="Nexa Bold"/>
                        </a:defRPr>
                      </a:pPr>
                      <a:r>
                        <a:t>Harry'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3,08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404970">
                <a:tc>
                  <a:txBody>
                    <a:bodyPr/>
                    <a:lstStyle/>
                    <a:p>
                      <a:pPr algn="ctr">
                        <a:defRPr sz="800">
                          <a:latin typeface="Nexa Bold"/>
                        </a:defRPr>
                      </a:pPr>
                      <a:r>
                        <a:t>Equa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0,41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404970">
                <a:tc>
                  <a:txBody>
                    <a:bodyPr/>
                    <a:lstStyle/>
                    <a:p>
                      <a:pPr algn="ctr">
                        <a:defRPr sz="800">
                          <a:latin typeface="Nexa Bold"/>
                        </a:defRPr>
                      </a:pPr>
                      <a:r>
                        <a:t>Van Der Hagen</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4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324838575"/>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8/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Walmart | Disposables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7"/>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809941">
                <a:tc>
                  <a:txBody>
                    <a:bodyPr/>
                    <a:lstStyle/>
                    <a:p>
                      <a:pPr algn="ctr">
                        <a:defRPr sz="800">
                          <a:latin typeface="Nexa Bold"/>
                        </a:defRPr>
                      </a:pPr>
                      <a:r>
                        <a:t>Schick</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38,31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809941">
                <a:tc>
                  <a:txBody>
                    <a:bodyPr/>
                    <a:lstStyle/>
                    <a:p>
                      <a:pPr algn="ctr">
                        <a:defRPr sz="800">
                          <a:latin typeface="Nexa Bold"/>
                        </a:defRPr>
                      </a:pPr>
                      <a:r>
                        <a:t>Bic</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16,10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809941">
                <a:tc>
                  <a:txBody>
                    <a:bodyPr/>
                    <a:lstStyle/>
                    <a:p>
                      <a:pPr algn="ctr">
                        <a:defRPr sz="800">
                          <a:latin typeface="Nexa Bold"/>
                        </a:defRPr>
                      </a:pPr>
                      <a:r>
                        <a:t>Equa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1,17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809941">
                <a:tc>
                  <a:txBody>
                    <a:bodyPr/>
                    <a:lstStyle/>
                    <a:p>
                      <a:pPr algn="ctr">
                        <a:defRPr sz="800">
                          <a:latin typeface="Nexa Bold"/>
                        </a:defRPr>
                      </a:pPr>
                      <a:r>
                        <a:t>Gille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5,49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116413839"/>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8/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Bj's And Sam's | Disposables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6"/>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1079921">
                <a:tc>
                  <a:txBody>
                    <a:bodyPr/>
                    <a:lstStyle/>
                    <a:p>
                      <a:pPr algn="ctr">
                        <a:defRPr sz="800">
                          <a:latin typeface="Nexa Bold"/>
                        </a:defRPr>
                      </a:pPr>
                      <a:r>
                        <a:t>Gille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68,37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1079921">
                <a:tc>
                  <a:txBody>
                    <a:bodyPr/>
                    <a:lstStyle/>
                    <a:p>
                      <a:pPr algn="ctr">
                        <a:defRPr sz="800">
                          <a:latin typeface="Nexa Bold"/>
                        </a:defRPr>
                      </a:pPr>
                      <a:r>
                        <a:t>Schick</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52,87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1079921">
                <a:tc>
                  <a:txBody>
                    <a:bodyPr/>
                    <a:lstStyle/>
                    <a:p>
                      <a:pPr algn="ctr">
                        <a:defRPr sz="800">
                          <a:latin typeface="Nexa Bold"/>
                        </a:defRPr>
                      </a:pPr>
                      <a:r>
                        <a:t>Bic</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2,45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467058705"/>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8/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Walmart | Disposables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7"/>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809941">
                <a:tc>
                  <a:txBody>
                    <a:bodyPr/>
                    <a:lstStyle/>
                    <a:p>
                      <a:pPr algn="ctr">
                        <a:defRPr sz="800">
                          <a:latin typeface="Nexa Bold"/>
                        </a:defRPr>
                      </a:pPr>
                      <a:r>
                        <a:t>Schick</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38,31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809941">
                <a:tc>
                  <a:txBody>
                    <a:bodyPr/>
                    <a:lstStyle/>
                    <a:p>
                      <a:pPr algn="ctr">
                        <a:defRPr sz="800">
                          <a:latin typeface="Nexa Bold"/>
                        </a:defRPr>
                      </a:pPr>
                      <a:r>
                        <a:t>Bic</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16,10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809941">
                <a:tc>
                  <a:txBody>
                    <a:bodyPr/>
                    <a:lstStyle/>
                    <a:p>
                      <a:pPr algn="ctr">
                        <a:defRPr sz="800">
                          <a:latin typeface="Nexa Bold"/>
                        </a:defRPr>
                      </a:pPr>
                      <a:r>
                        <a:t>Equa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1,17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809941">
                <a:tc>
                  <a:txBody>
                    <a:bodyPr/>
                    <a:lstStyle/>
                    <a:p>
                      <a:pPr algn="ctr">
                        <a:defRPr sz="800">
                          <a:latin typeface="Nexa Bold"/>
                        </a:defRPr>
                      </a:pPr>
                      <a:r>
                        <a:t>Gille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5,49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32840690"/>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8/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Bj's And Sam's | Razors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7"/>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1619882">
                <a:tc>
                  <a:txBody>
                    <a:bodyPr/>
                    <a:lstStyle/>
                    <a:p>
                      <a:pPr algn="ctr">
                        <a:defRPr sz="800">
                          <a:latin typeface="Nexa Bold"/>
                        </a:defRPr>
                      </a:pPr>
                      <a:r>
                        <a:t>Gille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11,77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1619882">
                <a:tc>
                  <a:txBody>
                    <a:bodyPr/>
                    <a:lstStyle/>
                    <a:p>
                      <a:pPr algn="ctr">
                        <a:defRPr sz="800">
                          <a:latin typeface="Nexa Bold"/>
                        </a:defRPr>
                      </a:pPr>
                      <a:r>
                        <a:t>Harry'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2,56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405024716"/>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8/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Bj's And Sam's | Refills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7"/>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3239764">
                <a:tc>
                  <a:txBody>
                    <a:bodyPr/>
                    <a:lstStyle/>
                    <a:p>
                      <a:pPr algn="ctr">
                        <a:defRPr sz="800">
                          <a:latin typeface="Nexa Bold"/>
                        </a:defRPr>
                      </a:pPr>
                      <a:r>
                        <a:t>Gille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005,34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8011339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222808FD-ACDC-CC7C-8644-923BBD07B29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222808FD-ACDC-CC7C-8644-923BBD07B29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20" name="Chart 19">
            <a:extLst>
              <a:ext uri="{FF2B5EF4-FFF2-40B4-BE49-F238E27FC236}">
                <a16:creationId xmlns:a16="http://schemas.microsoft.com/office/drawing/2014/main" id="{B1FE0159-4E62-4A93-B376-F25F0DD097D3}"/>
              </a:ext>
            </a:extLst>
          </p:cNvPr>
          <p:cNvGraphicFramePr/>
          <p:nvPr>
            <p:extLst>
              <p:ext uri="{D42A27DB-BD31-4B8C-83A1-F6EECF244321}">
                <p14:modId xmlns:p14="http://schemas.microsoft.com/office/powerpoint/2010/main" val="1961468630"/>
              </p:ext>
            </p:extLst>
          </p:nvPr>
        </p:nvGraphicFramePr>
        <p:xfrm>
          <a:off x="540000" y="1133639"/>
          <a:ext cx="8100000" cy="3509669"/>
        </p:xfrm>
        <a:graphic>
          <a:graphicData uri="http://schemas.openxmlformats.org/drawingml/2006/chart">
            <c:chart xmlns:c="http://schemas.openxmlformats.org/drawingml/2006/chart" xmlns:r="http://schemas.openxmlformats.org/officeDocument/2006/relationships" r:id="rId6"/>
          </a:graphicData>
        </a:graphic>
      </p:graphicFrame>
      <p:sp>
        <p:nvSpPr>
          <p:cNvPr id="18" name="Date Placeholder 17">
            <a:extLst>
              <a:ext uri="{FF2B5EF4-FFF2-40B4-BE49-F238E27FC236}">
                <a16:creationId xmlns:a16="http://schemas.microsoft.com/office/drawing/2014/main" id="{C1C06F40-5A22-69B8-A694-546E63E1BA0C}"/>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2D21337-F382-4FF4-BA40-ECEC8B4CA4A3}"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1" name="Footer Placeholder 20">
            <a:extLst>
              <a:ext uri="{FF2B5EF4-FFF2-40B4-BE49-F238E27FC236}">
                <a16:creationId xmlns:a16="http://schemas.microsoft.com/office/drawing/2014/main" id="{FBEB295B-B94A-FD99-99F9-D5E99E11858A}"/>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9" name="Slide Number Placeholder 18">
            <a:extLst>
              <a:ext uri="{FF2B5EF4-FFF2-40B4-BE49-F238E27FC236}">
                <a16:creationId xmlns:a16="http://schemas.microsoft.com/office/drawing/2014/main" id="{7E74166E-6986-24E0-FE60-F1092A45D18E}"/>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10" name="Text Placeholder 9">
            <a:extLst>
              <a:ext uri="{FF2B5EF4-FFF2-40B4-BE49-F238E27FC236}">
                <a16:creationId xmlns:a16="http://schemas.microsoft.com/office/drawing/2014/main" id="{234ADF96-6FB1-4D58-8B54-873D4F64F33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Content Placeholder 1">
            <a:extLst>
              <a:ext uri="{FF2B5EF4-FFF2-40B4-BE49-F238E27FC236}">
                <a16:creationId xmlns:a16="http://schemas.microsoft.com/office/drawing/2014/main" id="{130C05D2-CF04-4DA4-82C4-9E265F94F028}"/>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by brand | Refills | P12M</a:t>
            </a:r>
          </a:p>
        </p:txBody>
      </p:sp>
      <p:sp>
        <p:nvSpPr>
          <p:cNvPr id="17" name="Title 16">
            <a:extLst>
              <a:ext uri="{FF2B5EF4-FFF2-40B4-BE49-F238E27FC236}">
                <a16:creationId xmlns:a16="http://schemas.microsoft.com/office/drawing/2014/main" id="{4F16EBB1-4C79-4A6F-8868-FA7F8505744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by retailer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4" name="TextBox 13">
            <a:extLst>
              <a:ext uri="{FF2B5EF4-FFF2-40B4-BE49-F238E27FC236}">
                <a16:creationId xmlns:a16="http://schemas.microsoft.com/office/drawing/2014/main" id="{B849EA39-EC71-4F3C-B69E-269019A3BE69}"/>
              </a:ext>
            </a:extLst>
          </p:cNvPr>
          <p:cNvSpPr txBox="1"/>
          <p:nvPr/>
        </p:nvSpPr>
        <p:spPr>
          <a:xfrm>
            <a:off x="546969" y="1143000"/>
            <a:ext cx="2019790" cy="24622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Bubble size by Promo sales</a:t>
            </a:r>
            <a:endParaRPr kumimoji="0" lang="en-CH"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endParaRPr>
          </a:p>
        </p:txBody>
      </p:sp>
      <p:graphicFrame>
        <p:nvGraphicFramePr>
          <p:cNvPr id="5" name="Table 5">
            <a:extLst>
              <a:ext uri="{FF2B5EF4-FFF2-40B4-BE49-F238E27FC236}">
                <a16:creationId xmlns:a16="http://schemas.microsoft.com/office/drawing/2014/main" id="{5519C780-DF17-D565-38D2-E69BBF4F5C8A}"/>
              </a:ext>
            </a:extLst>
          </p:cNvPr>
          <p:cNvGraphicFramePr>
            <a:graphicFrameLocks noGrp="1"/>
          </p:cNvGraphicFramePr>
          <p:nvPr/>
        </p:nvGraphicFramePr>
        <p:xfrm>
          <a:off x="1525055" y="4454629"/>
          <a:ext cx="6815298" cy="434340"/>
        </p:xfrm>
        <a:graphic>
          <a:graphicData uri="http://schemas.openxmlformats.org/drawingml/2006/table">
            <a:tbl>
              <a:tblPr firstRow="1" bandRow="1">
                <a:tableStyleId>{5C22544A-7EE6-4342-B048-85BDC9FD1C3A}</a:tableStyleId>
              </a:tblPr>
              <a:tblGrid>
                <a:gridCol w="3407649">
                  <a:extLst>
                    <a:ext uri="{9D8B030D-6E8A-4147-A177-3AD203B41FA5}">
                      <a16:colId xmlns:a16="http://schemas.microsoft.com/office/drawing/2014/main" val="826016986"/>
                    </a:ext>
                  </a:extLst>
                </a:gridCol>
                <a:gridCol w="3407649">
                  <a:extLst>
                    <a:ext uri="{9D8B030D-6E8A-4147-A177-3AD203B41FA5}">
                      <a16:colId xmlns:a16="http://schemas.microsoft.com/office/drawing/2014/main" val="2337481629"/>
                    </a:ext>
                  </a:extLst>
                </a:gridCol>
              </a:tblGrid>
              <a:tr h="278130">
                <a:tc>
                  <a:txBody>
                    <a:bodyPr/>
                    <a:lstStyle/>
                    <a:p>
                      <a:pPr algn="ctr">
                        <a:defRPr sz="800" b="0">
                          <a:solidFill>
                            <a:srgbClr val="575555"/>
                          </a:solidFill>
                          <a:latin typeface="Nexa Bold"/>
                        </a:defRPr>
                      </a:pPr>
                      <a:r>
                        <a:rPr sz="800">
                          <a:latin typeface="Nexa Bold"/>
                        </a:rPr>
                        <a:t>Bj's And Sam's</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Walmart</a:t>
                      </a:r>
                    </a:p>
                  </a:txBody>
                  <a:tcPr marL="68580" marR="68580" marT="34290" marB="34290" anchor="ctr">
                    <a:solidFill>
                      <a:schemeClr val="bg1">
                        <a:lumMod val="95000"/>
                      </a:schemeClr>
                    </a:solidFill>
                  </a:tcPr>
                </a:tc>
                <a:extLst>
                  <a:ext uri="{0D108BD9-81ED-4DB2-BD59-A6C34878D82A}">
                    <a16:rowId xmlns:a16="http://schemas.microsoft.com/office/drawing/2014/main" val="43767022"/>
                  </a:ext>
                </a:extLst>
              </a:tr>
            </a:tbl>
          </a:graphicData>
        </a:graphic>
      </p:graphicFrame>
    </p:spTree>
    <p:extLst>
      <p:ext uri="{BB962C8B-B14F-4D97-AF65-F5344CB8AC3E}">
        <p14:creationId xmlns:p14="http://schemas.microsoft.com/office/powerpoint/2010/main" val="519178615"/>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8/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Walmart | Razors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3"/>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539960">
                <a:tc>
                  <a:txBody>
                    <a:bodyPr/>
                    <a:lstStyle/>
                    <a:p>
                      <a:pPr algn="ctr">
                        <a:defRPr sz="800">
                          <a:latin typeface="Nexa Bold"/>
                        </a:defRPr>
                      </a:pPr>
                      <a:r>
                        <a:t>Gille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6,219,90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2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539960">
                <a:tc>
                  <a:txBody>
                    <a:bodyPr/>
                    <a:lstStyle/>
                    <a:p>
                      <a:pPr algn="ctr">
                        <a:defRPr sz="800">
                          <a:latin typeface="Nexa Bold"/>
                        </a:defRPr>
                      </a:pPr>
                      <a:r>
                        <a:t>Schick</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70,20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539960">
                <a:tc>
                  <a:txBody>
                    <a:bodyPr/>
                    <a:lstStyle/>
                    <a:p>
                      <a:pPr algn="ctr">
                        <a:defRPr sz="800">
                          <a:latin typeface="Nexa Bold"/>
                        </a:defRPr>
                      </a:pPr>
                      <a:r>
                        <a:t>Dollar Shave Club</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9,50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539960">
                <a:tc>
                  <a:txBody>
                    <a:bodyPr/>
                    <a:lstStyle/>
                    <a:p>
                      <a:pPr algn="ctr">
                        <a:defRPr sz="800">
                          <a:latin typeface="Nexa Bold"/>
                        </a:defRPr>
                      </a:pPr>
                      <a:r>
                        <a:t>Harry'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1,93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539960">
                <a:tc>
                  <a:txBody>
                    <a:bodyPr/>
                    <a:lstStyle/>
                    <a:p>
                      <a:pPr algn="ctr">
                        <a:defRPr sz="800">
                          <a:latin typeface="Nexa Bold"/>
                        </a:defRPr>
                      </a:pPr>
                      <a:r>
                        <a:t>Equa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03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539960">
                <a:tc>
                  <a:txBody>
                    <a:bodyPr/>
                    <a:lstStyle/>
                    <a:p>
                      <a:pPr algn="ctr">
                        <a:defRPr sz="800">
                          <a:latin typeface="Nexa Bold"/>
                        </a:defRPr>
                      </a:pPr>
                      <a:r>
                        <a:t>Van Der Hagen</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7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08678870"/>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8/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Walmart | Refills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3"/>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539960">
                <a:tc>
                  <a:txBody>
                    <a:bodyPr/>
                    <a:lstStyle/>
                    <a:p>
                      <a:pPr algn="ctr">
                        <a:defRPr sz="800">
                          <a:latin typeface="Nexa Bold"/>
                        </a:defRPr>
                      </a:pPr>
                      <a:r>
                        <a:t>Gille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4,081,39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2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539960">
                <a:tc>
                  <a:txBody>
                    <a:bodyPr/>
                    <a:lstStyle/>
                    <a:p>
                      <a:pPr algn="ctr">
                        <a:defRPr sz="800">
                          <a:latin typeface="Nexa Bold"/>
                        </a:defRPr>
                      </a:pPr>
                      <a:r>
                        <a:t>Schick</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62,41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539960">
                <a:tc>
                  <a:txBody>
                    <a:bodyPr/>
                    <a:lstStyle/>
                    <a:p>
                      <a:pPr algn="ctr">
                        <a:defRPr sz="800">
                          <a:latin typeface="Nexa Bold"/>
                        </a:defRPr>
                      </a:pPr>
                      <a:r>
                        <a:t>Dollar Shave Club</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29,60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539960">
                <a:tc>
                  <a:txBody>
                    <a:bodyPr/>
                    <a:lstStyle/>
                    <a:p>
                      <a:pPr algn="ctr">
                        <a:defRPr sz="800">
                          <a:latin typeface="Nexa Bold"/>
                        </a:defRPr>
                      </a:pPr>
                      <a:r>
                        <a:t>Equa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9,37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539960">
                <a:tc>
                  <a:txBody>
                    <a:bodyPr/>
                    <a:lstStyle/>
                    <a:p>
                      <a:pPr algn="ctr">
                        <a:defRPr sz="800">
                          <a:latin typeface="Nexa Bold"/>
                        </a:defRPr>
                      </a:pPr>
                      <a:r>
                        <a:t>Harry'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1,14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539960">
                <a:tc>
                  <a:txBody>
                    <a:bodyPr/>
                    <a:lstStyle/>
                    <a:p>
                      <a:pPr algn="ctr">
                        <a:defRPr sz="800">
                          <a:latin typeface="Nexa Bold"/>
                        </a:defRPr>
                      </a:pPr>
                      <a:r>
                        <a:t>Van Der Hagen</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7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10989701"/>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BEEAFD28-7A86-D661-445F-8A87117C4D5F}"/>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BEEAFD28-7A86-D661-445F-8A87117C4D5F}"/>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2AE6370A-FCC9-0DD3-BA63-97C29F486F85}"/>
              </a:ext>
            </a:extLst>
          </p:cNvPr>
          <p:cNvSpPr>
            <a:spLocks noGrp="1"/>
          </p:cNvSpPr>
          <p:nvPr>
            <p:ph type="dt" sz="half" idx="14"/>
          </p:nvPr>
        </p:nvSpPr>
        <p:spPr>
          <a:xfrm>
            <a:off x="8082390" y="4972050"/>
            <a:ext cx="557609" cy="171450"/>
          </a:xfrm>
        </p:spPr>
        <p:txBody>
          <a:bodyPr/>
          <a:lstStyle/>
          <a:p>
            <a:fld id="{137A5A6B-1D04-4253-BE52-9327F172A452}" type="datetime1">
              <a:rPr lang="en-US"/>
              <a:pPr/>
              <a:t>8/18/2025</a:t>
            </a:fld>
            <a:endParaRPr lang="en-US"/>
          </a:p>
        </p:txBody>
      </p:sp>
      <p:sp>
        <p:nvSpPr>
          <p:cNvPr id="4" name="Footer Placeholder 3">
            <a:extLst>
              <a:ext uri="{FF2B5EF4-FFF2-40B4-BE49-F238E27FC236}">
                <a16:creationId xmlns:a16="http://schemas.microsoft.com/office/drawing/2014/main" id="{A2832584-706C-4382-AF50-0823DF5C2D22}"/>
              </a:ext>
            </a:extLst>
          </p:cNvPr>
          <p:cNvSpPr>
            <a:spLocks noGrp="1"/>
          </p:cNvSpPr>
          <p:nvPr>
            <p:ph type="ftr" sz="quarter" idx="15"/>
          </p:nvPr>
        </p:nvSpPr>
        <p:spPr>
          <a:xfrm>
            <a:off x="546969" y="4970700"/>
            <a:ext cx="6451742" cy="174151"/>
          </a:xfrm>
        </p:spPr>
        <p:txBody>
          <a:bodyPr/>
          <a:lstStyle/>
          <a:p>
            <a:endParaRPr lang="en-US"/>
          </a:p>
        </p:txBody>
      </p:sp>
      <p:sp>
        <p:nvSpPr>
          <p:cNvPr id="3" name="Slide Number Placeholder 2">
            <a:extLst>
              <a:ext uri="{FF2B5EF4-FFF2-40B4-BE49-F238E27FC236}">
                <a16:creationId xmlns:a16="http://schemas.microsoft.com/office/drawing/2014/main" id="{C38F0F28-1A01-6874-5418-B8FD2F31AB62}"/>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2</a:t>
            </a:fld>
            <a:endParaRPr lang="en-US"/>
          </a:p>
        </p:txBody>
      </p:sp>
      <p:sp>
        <p:nvSpPr>
          <p:cNvPr id="5" name="Text Placeholder 4">
            <a:extLst>
              <a:ext uri="{FF2B5EF4-FFF2-40B4-BE49-F238E27FC236}">
                <a16:creationId xmlns:a16="http://schemas.microsoft.com/office/drawing/2014/main" id="{E7922D6F-A446-8634-C351-325C82E3E207}"/>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117FAC48-0BC8-9EEF-704E-B6A60F125B14}"/>
              </a:ext>
            </a:extLst>
          </p:cNvPr>
          <p:cNvSpPr>
            <a:spLocks noGrp="1"/>
          </p:cNvSpPr>
          <p:nvPr>
            <p:ph type="body" sz="quarter" idx="18"/>
          </p:nvPr>
        </p:nvSpPr>
        <p:spPr>
          <a:xfrm>
            <a:off x="503238" y="774000"/>
            <a:ext cx="8136762" cy="360000"/>
          </a:xfrm>
        </p:spPr>
        <p:txBody>
          <a:bodyPr lIns="91440" tIns="45720" rIns="91440" bIns="45720" anchor="t"/>
          <a:lstStyle/>
          <a:p>
            <a:pPr>
              <a:defRPr sz="1200">
                <a:latin typeface="Nexa Bold (Headings)"/>
              </a:defRPr>
            </a:pPr>
            <a:r>
              <a:t>Volume sold on deal Summary | By Brand | By Sector | Manual Shave Men | Bj's And Sam's | P12M</a:t>
            </a:r>
          </a:p>
        </p:txBody>
      </p:sp>
      <p:sp>
        <p:nvSpPr>
          <p:cNvPr id="7" name="Title 6">
            <a:extLst>
              <a:ext uri="{FF2B5EF4-FFF2-40B4-BE49-F238E27FC236}">
                <a16:creationId xmlns:a16="http://schemas.microsoft.com/office/drawing/2014/main" id="{2681A043-873B-7332-A980-7DB230DD3689}"/>
              </a:ext>
            </a:extLst>
          </p:cNvPr>
          <p:cNvSpPr>
            <a:spLocks noGrp="1"/>
          </p:cNvSpPr>
          <p:nvPr>
            <p:ph type="title"/>
          </p:nvPr>
        </p:nvSpPr>
        <p:spPr>
          <a:xfrm>
            <a:off x="504000" y="-1"/>
            <a:ext cx="8136000" cy="771525"/>
          </a:xfrm>
          <a:noFill/>
        </p:spPr>
        <p:txBody>
          <a:bodyPr vert="horz" lIns="91440" tIns="45720" rIns="91440" bIns="45720" anchor="b"/>
          <a:lstStyle/>
          <a:p>
            <a:pPr>
              <a:defRPr sz="1600">
                <a:latin typeface="Nexa Bold (Headings)"/>
              </a:defRPr>
            </a:pPr>
            <a:r>
              <a:rPr lang="en-US" dirty="0">
                <a:highlight>
                  <a:srgbClr val="FFFF00"/>
                </a:highlight>
              </a:rPr>
              <a:t>VSOD Summary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9" name="T1">
            <a:extLst>
              <a:ext uri="{FF2B5EF4-FFF2-40B4-BE49-F238E27FC236}">
                <a16:creationId xmlns:a16="http://schemas.microsoft.com/office/drawing/2014/main" id="{7108F197-7AB0-011A-C04E-4916F0733682}"/>
              </a:ext>
            </a:extLst>
          </p:cNvPr>
          <p:cNvGraphicFramePr>
            <a:graphicFrameLocks noGrp="1"/>
          </p:cNvGraphicFramePr>
          <p:nvPr>
            <p:extLst>
              <p:ext uri="{D42A27DB-BD31-4B8C-83A1-F6EECF244321}">
                <p14:modId xmlns:p14="http://schemas.microsoft.com/office/powerpoint/2010/main" val="2570051479"/>
              </p:ext>
            </p:extLst>
          </p:nvPr>
        </p:nvGraphicFramePr>
        <p:xfrm>
          <a:off x="541080" y="1133761"/>
          <a:ext cx="8094122" cy="3800999"/>
        </p:xfrm>
        <a:graphic>
          <a:graphicData uri="http://schemas.openxmlformats.org/drawingml/2006/table">
            <a:tbl>
              <a:tblPr firstRow="1" bandRow="1">
                <a:tableStyleId>{5C22544A-7EE6-4342-B048-85BDC9FD1C3A}</a:tableStyleId>
              </a:tblPr>
              <a:tblGrid>
                <a:gridCol w="1618824">
                  <a:extLst>
                    <a:ext uri="{9D8B030D-6E8A-4147-A177-3AD203B41FA5}">
                      <a16:colId xmlns:a16="http://schemas.microsoft.com/office/drawing/2014/main" val="2374043349"/>
                    </a:ext>
                  </a:extLst>
                </a:gridCol>
                <a:gridCol w="3237649">
                  <a:extLst>
                    <a:ext uri="{9D8B030D-6E8A-4147-A177-3AD203B41FA5}">
                      <a16:colId xmlns:a16="http://schemas.microsoft.com/office/drawing/2014/main" val="8673104"/>
                    </a:ext>
                  </a:extLst>
                </a:gridCol>
                <a:gridCol w="3237649">
                  <a:extLst>
                    <a:ext uri="{9D8B030D-6E8A-4147-A177-3AD203B41FA5}">
                      <a16:colId xmlns:a16="http://schemas.microsoft.com/office/drawing/2014/main" val="1028273140"/>
                    </a:ext>
                  </a:extLst>
                </a:gridCol>
              </a:tblGrid>
              <a:tr h="365007">
                <a:tc>
                  <a:txBody>
                    <a:bodyPr/>
                    <a:lstStyle/>
                    <a:p>
                      <a:pPr algn="ctr"/>
                      <a:endParaRPr lang="en-US" sz="1000" b="0" i="0" kern="1200">
                        <a:solidFill>
                          <a:srgbClr val="575555"/>
                        </a:solidFill>
                        <a:latin typeface="Nexa Bold" panose="00000800000000000000" pitchFamily="2" charset="0"/>
                        <a:ea typeface="+mn-ea"/>
                        <a:cs typeface="+mn-cs"/>
                      </a:endParaRPr>
                    </a:p>
                  </a:txBody>
                  <a:tcPr marL="68580" marR="68580" marT="68580" marB="3429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System</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Disposables</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58998">
                <a:tc>
                  <a:txBody>
                    <a:bodyPr/>
                    <a:lstStyle/>
                    <a:p>
                      <a:pPr algn="ctr">
                        <a:defRPr sz="800">
                          <a:latin typeface="Nexa Bold"/>
                        </a:defRPr>
                      </a:pPr>
                      <a:r>
                        <a:t>Total</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55%</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55%</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39445379"/>
                  </a:ext>
                </a:extLst>
              </a:tr>
              <a:tr h="858998">
                <a:tc>
                  <a:txBody>
                    <a:bodyPr/>
                    <a:lstStyle/>
                    <a:p>
                      <a:pPr algn="ctr">
                        <a:defRPr sz="800">
                          <a:latin typeface="Nexa Bold"/>
                        </a:defRPr>
                      </a:pPr>
                      <a:r>
                        <a:t>Gillette</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56%</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5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29831157"/>
                  </a:ext>
                </a:extLst>
              </a:tr>
              <a:tr h="858998">
                <a:tc>
                  <a:txBody>
                    <a:bodyPr/>
                    <a:lstStyle/>
                    <a:p>
                      <a:pPr algn="ctr">
                        <a:defRPr sz="800">
                          <a:latin typeface="Nexa Bold"/>
                        </a:defRPr>
                      </a:pPr>
                      <a:r>
                        <a:t>Harry's</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48%</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66783464"/>
                  </a:ext>
                </a:extLst>
              </a:tr>
              <a:tr h="858998">
                <a:tc>
                  <a:txBody>
                    <a:bodyPr/>
                    <a:lstStyle/>
                    <a:p>
                      <a:pPr algn="ctr">
                        <a:defRPr sz="800">
                          <a:latin typeface="Nexa Bold"/>
                        </a:defRPr>
                      </a:pPr>
                      <a:r>
                        <a:t>Bic</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53%</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21538582"/>
                  </a:ext>
                </a:extLst>
              </a:tr>
            </a:tbl>
          </a:graphicData>
        </a:graphic>
      </p:graphicFrame>
    </p:spTree>
    <p:extLst>
      <p:ext uri="{BB962C8B-B14F-4D97-AF65-F5344CB8AC3E}">
        <p14:creationId xmlns:p14="http://schemas.microsoft.com/office/powerpoint/2010/main" val="2261266165"/>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BEEAFD28-7A86-D661-445F-8A87117C4D5F}"/>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BEEAFD28-7A86-D661-445F-8A87117C4D5F}"/>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2AE6370A-FCC9-0DD3-BA63-97C29F486F85}"/>
              </a:ext>
            </a:extLst>
          </p:cNvPr>
          <p:cNvSpPr>
            <a:spLocks noGrp="1"/>
          </p:cNvSpPr>
          <p:nvPr>
            <p:ph type="dt" sz="half" idx="14"/>
          </p:nvPr>
        </p:nvSpPr>
        <p:spPr>
          <a:xfrm>
            <a:off x="8082390" y="4972050"/>
            <a:ext cx="557609" cy="171450"/>
          </a:xfrm>
        </p:spPr>
        <p:txBody>
          <a:bodyPr/>
          <a:lstStyle/>
          <a:p>
            <a:fld id="{137A5A6B-1D04-4253-BE52-9327F172A452}" type="datetime1">
              <a:rPr lang="en-US"/>
              <a:pPr/>
              <a:t>8/18/2025</a:t>
            </a:fld>
            <a:endParaRPr lang="en-US"/>
          </a:p>
        </p:txBody>
      </p:sp>
      <p:sp>
        <p:nvSpPr>
          <p:cNvPr id="4" name="Footer Placeholder 3">
            <a:extLst>
              <a:ext uri="{FF2B5EF4-FFF2-40B4-BE49-F238E27FC236}">
                <a16:creationId xmlns:a16="http://schemas.microsoft.com/office/drawing/2014/main" id="{A2832584-706C-4382-AF50-0823DF5C2D22}"/>
              </a:ext>
            </a:extLst>
          </p:cNvPr>
          <p:cNvSpPr>
            <a:spLocks noGrp="1"/>
          </p:cNvSpPr>
          <p:nvPr>
            <p:ph type="ftr" sz="quarter" idx="15"/>
          </p:nvPr>
        </p:nvSpPr>
        <p:spPr>
          <a:xfrm>
            <a:off x="546969" y="4970700"/>
            <a:ext cx="6451742" cy="174151"/>
          </a:xfrm>
        </p:spPr>
        <p:txBody>
          <a:bodyPr/>
          <a:lstStyle/>
          <a:p>
            <a:endParaRPr lang="en-US"/>
          </a:p>
        </p:txBody>
      </p:sp>
      <p:sp>
        <p:nvSpPr>
          <p:cNvPr id="3" name="Slide Number Placeholder 2">
            <a:extLst>
              <a:ext uri="{FF2B5EF4-FFF2-40B4-BE49-F238E27FC236}">
                <a16:creationId xmlns:a16="http://schemas.microsoft.com/office/drawing/2014/main" id="{C38F0F28-1A01-6874-5418-B8FD2F31AB62}"/>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3</a:t>
            </a:fld>
            <a:endParaRPr lang="en-US"/>
          </a:p>
        </p:txBody>
      </p:sp>
      <p:sp>
        <p:nvSpPr>
          <p:cNvPr id="5" name="Text Placeholder 4">
            <a:extLst>
              <a:ext uri="{FF2B5EF4-FFF2-40B4-BE49-F238E27FC236}">
                <a16:creationId xmlns:a16="http://schemas.microsoft.com/office/drawing/2014/main" id="{E7922D6F-A446-8634-C351-325C82E3E207}"/>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117FAC48-0BC8-9EEF-704E-B6A60F125B14}"/>
              </a:ext>
            </a:extLst>
          </p:cNvPr>
          <p:cNvSpPr>
            <a:spLocks noGrp="1"/>
          </p:cNvSpPr>
          <p:nvPr>
            <p:ph type="body" sz="quarter" idx="18"/>
          </p:nvPr>
        </p:nvSpPr>
        <p:spPr>
          <a:xfrm>
            <a:off x="503238" y="774000"/>
            <a:ext cx="8136762" cy="360000"/>
          </a:xfrm>
        </p:spPr>
        <p:txBody>
          <a:bodyPr lIns="91440" tIns="45720" rIns="91440" bIns="45720" anchor="t"/>
          <a:lstStyle/>
          <a:p>
            <a:pPr>
              <a:defRPr sz="1200">
                <a:latin typeface="Nexa Bold (Headings)"/>
              </a:defRPr>
            </a:pPr>
            <a:r>
              <a:t>Volume sold on deal Summary | By Brand | By Sector | Manual Shave Men | Walmart | P12M</a:t>
            </a:r>
          </a:p>
        </p:txBody>
      </p:sp>
      <p:sp>
        <p:nvSpPr>
          <p:cNvPr id="7" name="Title 6">
            <a:extLst>
              <a:ext uri="{FF2B5EF4-FFF2-40B4-BE49-F238E27FC236}">
                <a16:creationId xmlns:a16="http://schemas.microsoft.com/office/drawing/2014/main" id="{2681A043-873B-7332-A980-7DB230DD3689}"/>
              </a:ext>
            </a:extLst>
          </p:cNvPr>
          <p:cNvSpPr>
            <a:spLocks noGrp="1"/>
          </p:cNvSpPr>
          <p:nvPr>
            <p:ph type="title"/>
          </p:nvPr>
        </p:nvSpPr>
        <p:spPr>
          <a:xfrm>
            <a:off x="504000" y="-1"/>
            <a:ext cx="8136000" cy="771525"/>
          </a:xfrm>
          <a:noFill/>
        </p:spPr>
        <p:txBody>
          <a:bodyPr vert="horz" lIns="91440" tIns="45720" rIns="91440" bIns="45720" anchor="b"/>
          <a:lstStyle/>
          <a:p>
            <a:pPr>
              <a:defRPr sz="1600">
                <a:latin typeface="Nexa Bold (Headings)"/>
              </a:defRPr>
            </a:pPr>
            <a:r>
              <a:rPr lang="en-US" dirty="0">
                <a:highlight>
                  <a:srgbClr val="FFFF00"/>
                </a:highlight>
              </a:rPr>
              <a:t>VSOD Summary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9" name="T1">
            <a:extLst>
              <a:ext uri="{FF2B5EF4-FFF2-40B4-BE49-F238E27FC236}">
                <a16:creationId xmlns:a16="http://schemas.microsoft.com/office/drawing/2014/main" id="{7108F197-7AB0-011A-C04E-4916F0733682}"/>
              </a:ext>
            </a:extLst>
          </p:cNvPr>
          <p:cNvGraphicFramePr>
            <a:graphicFrameLocks noGrp="1"/>
          </p:cNvGraphicFramePr>
          <p:nvPr>
            <p:extLst>
              <p:ext uri="{D42A27DB-BD31-4B8C-83A1-F6EECF244321}">
                <p14:modId xmlns:p14="http://schemas.microsoft.com/office/powerpoint/2010/main" val="2570051479"/>
              </p:ext>
            </p:extLst>
          </p:nvPr>
        </p:nvGraphicFramePr>
        <p:xfrm>
          <a:off x="541080" y="1133761"/>
          <a:ext cx="8094122" cy="3800999"/>
        </p:xfrm>
        <a:graphic>
          <a:graphicData uri="http://schemas.openxmlformats.org/drawingml/2006/table">
            <a:tbl>
              <a:tblPr firstRow="1" bandRow="1">
                <a:tableStyleId>{5C22544A-7EE6-4342-B048-85BDC9FD1C3A}</a:tableStyleId>
              </a:tblPr>
              <a:tblGrid>
                <a:gridCol w="1618824">
                  <a:extLst>
                    <a:ext uri="{9D8B030D-6E8A-4147-A177-3AD203B41FA5}">
                      <a16:colId xmlns:a16="http://schemas.microsoft.com/office/drawing/2014/main" val="2374043349"/>
                    </a:ext>
                  </a:extLst>
                </a:gridCol>
                <a:gridCol w="3237649">
                  <a:extLst>
                    <a:ext uri="{9D8B030D-6E8A-4147-A177-3AD203B41FA5}">
                      <a16:colId xmlns:a16="http://schemas.microsoft.com/office/drawing/2014/main" val="8673104"/>
                    </a:ext>
                  </a:extLst>
                </a:gridCol>
                <a:gridCol w="3237649">
                  <a:extLst>
                    <a:ext uri="{9D8B030D-6E8A-4147-A177-3AD203B41FA5}">
                      <a16:colId xmlns:a16="http://schemas.microsoft.com/office/drawing/2014/main" val="1028273140"/>
                    </a:ext>
                  </a:extLst>
                </a:gridCol>
              </a:tblGrid>
              <a:tr h="365007">
                <a:tc>
                  <a:txBody>
                    <a:bodyPr/>
                    <a:lstStyle/>
                    <a:p>
                      <a:pPr algn="ctr"/>
                      <a:endParaRPr lang="en-US" sz="1000" b="0" i="0" kern="1200">
                        <a:solidFill>
                          <a:srgbClr val="575555"/>
                        </a:solidFill>
                        <a:latin typeface="Nexa Bold" panose="00000800000000000000" pitchFamily="2" charset="0"/>
                        <a:ea typeface="+mn-ea"/>
                        <a:cs typeface="+mn-cs"/>
                      </a:endParaRPr>
                    </a:p>
                  </a:txBody>
                  <a:tcPr marL="68580" marR="68580" marT="68580" marB="3429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System</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Disposables</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0856">
                <a:tc>
                  <a:txBody>
                    <a:bodyPr/>
                    <a:lstStyle/>
                    <a:p>
                      <a:pPr algn="ctr">
                        <a:defRPr sz="800">
                          <a:latin typeface="Nexa Bold"/>
                        </a:defRPr>
                      </a:pPr>
                      <a:r>
                        <a:t>Total</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8%</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96994351"/>
                  </a:ext>
                </a:extLst>
              </a:tr>
              <a:tr h="490856">
                <a:tc>
                  <a:txBody>
                    <a:bodyPr/>
                    <a:lstStyle/>
                    <a:p>
                      <a:pPr algn="ctr">
                        <a:defRPr sz="800">
                          <a:latin typeface="Nexa Bold"/>
                        </a:defRPr>
                      </a:pPr>
                      <a:r>
                        <a:t>Gillette</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6%</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490856">
                <a:tc>
                  <a:txBody>
                    <a:bodyPr/>
                    <a:lstStyle/>
                    <a:p>
                      <a:pPr algn="ctr">
                        <a:defRPr sz="800">
                          <a:latin typeface="Nexa Bold"/>
                        </a:defRPr>
                      </a:pPr>
                      <a:r>
                        <a:t>Harry's</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1%</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1102018"/>
                  </a:ext>
                </a:extLst>
              </a:tr>
              <a:tr h="490856">
                <a:tc>
                  <a:txBody>
                    <a:bodyPr/>
                    <a:lstStyle/>
                    <a:p>
                      <a:pPr algn="ctr">
                        <a:defRPr sz="800">
                          <a:latin typeface="Nexa Bold"/>
                        </a:defRPr>
                      </a:pPr>
                      <a:r>
                        <a:t>Bic</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25%</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3%</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39445379"/>
                  </a:ext>
                </a:extLst>
              </a:tr>
              <a:tr h="490856">
                <a:tc>
                  <a:txBody>
                    <a:bodyPr/>
                    <a:lstStyle/>
                    <a:p>
                      <a:pPr algn="ctr">
                        <a:defRPr sz="800">
                          <a:latin typeface="Nexa Bold"/>
                        </a:defRPr>
                      </a:pPr>
                      <a:r>
                        <a:t>Dollar Shave Club</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1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29831157"/>
                  </a:ext>
                </a:extLst>
              </a:tr>
              <a:tr h="490856">
                <a:tc>
                  <a:txBody>
                    <a:bodyPr/>
                    <a:lstStyle/>
                    <a:p>
                      <a:pPr algn="ctr">
                        <a:defRPr sz="800">
                          <a:latin typeface="Nexa Bold"/>
                        </a:defRPr>
                      </a:pPr>
                      <a:r>
                        <a:t>Van Der Hagen</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66783464"/>
                  </a:ext>
                </a:extLst>
              </a:tr>
              <a:tr h="490856">
                <a:tc>
                  <a:txBody>
                    <a:bodyPr/>
                    <a:lstStyle/>
                    <a:p>
                      <a:pPr algn="ctr">
                        <a:defRPr sz="800">
                          <a:latin typeface="Nexa Bold"/>
                        </a:defRPr>
                      </a:pPr>
                      <a:r>
                        <a:t>Comfort 3</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15%</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21538582"/>
                  </a:ext>
                </a:extLst>
              </a:tr>
            </a:tbl>
          </a:graphicData>
        </a:graphic>
      </p:graphicFrame>
    </p:spTree>
    <p:extLst>
      <p:ext uri="{BB962C8B-B14F-4D97-AF65-F5344CB8AC3E}">
        <p14:creationId xmlns:p14="http://schemas.microsoft.com/office/powerpoint/2010/main" val="923184908"/>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BEEAFD28-7A86-D661-445F-8A87117C4D5F}"/>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BEEAFD28-7A86-D661-445F-8A87117C4D5F}"/>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2AE6370A-FCC9-0DD3-BA63-97C29F486F85}"/>
              </a:ext>
            </a:extLst>
          </p:cNvPr>
          <p:cNvSpPr>
            <a:spLocks noGrp="1"/>
          </p:cNvSpPr>
          <p:nvPr>
            <p:ph type="dt" sz="half" idx="14"/>
          </p:nvPr>
        </p:nvSpPr>
        <p:spPr>
          <a:xfrm>
            <a:off x="8082390" y="4972050"/>
            <a:ext cx="557609" cy="171450"/>
          </a:xfrm>
        </p:spPr>
        <p:txBody>
          <a:bodyPr/>
          <a:lstStyle/>
          <a:p>
            <a:fld id="{137A5A6B-1D04-4253-BE52-9327F172A452}" type="datetime1">
              <a:rPr lang="en-US"/>
              <a:pPr/>
              <a:t>8/18/2025</a:t>
            </a:fld>
            <a:endParaRPr lang="en-US"/>
          </a:p>
        </p:txBody>
      </p:sp>
      <p:sp>
        <p:nvSpPr>
          <p:cNvPr id="4" name="Footer Placeholder 3">
            <a:extLst>
              <a:ext uri="{FF2B5EF4-FFF2-40B4-BE49-F238E27FC236}">
                <a16:creationId xmlns:a16="http://schemas.microsoft.com/office/drawing/2014/main" id="{A2832584-706C-4382-AF50-0823DF5C2D22}"/>
              </a:ext>
            </a:extLst>
          </p:cNvPr>
          <p:cNvSpPr>
            <a:spLocks noGrp="1"/>
          </p:cNvSpPr>
          <p:nvPr>
            <p:ph type="ftr" sz="quarter" idx="15"/>
          </p:nvPr>
        </p:nvSpPr>
        <p:spPr>
          <a:xfrm>
            <a:off x="546969" y="4970700"/>
            <a:ext cx="6451742" cy="174151"/>
          </a:xfrm>
        </p:spPr>
        <p:txBody>
          <a:bodyPr/>
          <a:lstStyle/>
          <a:p>
            <a:endParaRPr lang="en-US"/>
          </a:p>
        </p:txBody>
      </p:sp>
      <p:sp>
        <p:nvSpPr>
          <p:cNvPr id="3" name="Slide Number Placeholder 2">
            <a:extLst>
              <a:ext uri="{FF2B5EF4-FFF2-40B4-BE49-F238E27FC236}">
                <a16:creationId xmlns:a16="http://schemas.microsoft.com/office/drawing/2014/main" id="{C38F0F28-1A01-6874-5418-B8FD2F31AB62}"/>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4</a:t>
            </a:fld>
            <a:endParaRPr lang="en-US"/>
          </a:p>
        </p:txBody>
      </p:sp>
      <p:sp>
        <p:nvSpPr>
          <p:cNvPr id="5" name="Text Placeholder 4">
            <a:extLst>
              <a:ext uri="{FF2B5EF4-FFF2-40B4-BE49-F238E27FC236}">
                <a16:creationId xmlns:a16="http://schemas.microsoft.com/office/drawing/2014/main" id="{E7922D6F-A446-8634-C351-325C82E3E207}"/>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117FAC48-0BC8-9EEF-704E-B6A60F125B14}"/>
              </a:ext>
            </a:extLst>
          </p:cNvPr>
          <p:cNvSpPr>
            <a:spLocks noGrp="1"/>
          </p:cNvSpPr>
          <p:nvPr>
            <p:ph type="body" sz="quarter" idx="18"/>
          </p:nvPr>
        </p:nvSpPr>
        <p:spPr>
          <a:xfrm>
            <a:off x="503238" y="774000"/>
            <a:ext cx="8136762" cy="360000"/>
          </a:xfrm>
        </p:spPr>
        <p:txBody>
          <a:bodyPr lIns="91440" tIns="45720" rIns="91440" bIns="45720" anchor="t"/>
          <a:lstStyle/>
          <a:p>
            <a:pPr>
              <a:defRPr sz="1200">
                <a:latin typeface="Nexa Bold (Headings)"/>
              </a:defRPr>
            </a:pPr>
            <a:r>
              <a:t>Volume sold on deal Summary | By Brand | By Segment | Manual Shave Men | Bj's And Sam's | P12M</a:t>
            </a:r>
          </a:p>
        </p:txBody>
      </p:sp>
      <p:sp>
        <p:nvSpPr>
          <p:cNvPr id="7" name="Title 6">
            <a:extLst>
              <a:ext uri="{FF2B5EF4-FFF2-40B4-BE49-F238E27FC236}">
                <a16:creationId xmlns:a16="http://schemas.microsoft.com/office/drawing/2014/main" id="{2681A043-873B-7332-A980-7DB230DD3689}"/>
              </a:ext>
            </a:extLst>
          </p:cNvPr>
          <p:cNvSpPr>
            <a:spLocks noGrp="1"/>
          </p:cNvSpPr>
          <p:nvPr>
            <p:ph type="title"/>
          </p:nvPr>
        </p:nvSpPr>
        <p:spPr>
          <a:xfrm>
            <a:off x="504000" y="-1"/>
            <a:ext cx="8136000" cy="771525"/>
          </a:xfrm>
          <a:noFill/>
        </p:spPr>
        <p:txBody>
          <a:bodyPr vert="horz" lIns="91440" tIns="45720" rIns="91440" bIns="45720" anchor="b"/>
          <a:lstStyle/>
          <a:p>
            <a:pPr>
              <a:defRPr sz="1600">
                <a:latin typeface="Nexa Bold (Headings)"/>
              </a:defRPr>
            </a:pPr>
            <a:r>
              <a:rPr lang="en-US" dirty="0">
                <a:highlight>
                  <a:srgbClr val="FFFF00"/>
                </a:highlight>
              </a:rPr>
              <a:t>VSOD Summary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9" name="T1">
            <a:extLst>
              <a:ext uri="{FF2B5EF4-FFF2-40B4-BE49-F238E27FC236}">
                <a16:creationId xmlns:a16="http://schemas.microsoft.com/office/drawing/2014/main" id="{7108F197-7AB0-011A-C04E-4916F0733682}"/>
              </a:ext>
            </a:extLst>
          </p:cNvPr>
          <p:cNvGraphicFramePr>
            <a:graphicFrameLocks noGrp="1"/>
          </p:cNvGraphicFramePr>
          <p:nvPr>
            <p:extLst>
              <p:ext uri="{D42A27DB-BD31-4B8C-83A1-F6EECF244321}">
                <p14:modId xmlns:p14="http://schemas.microsoft.com/office/powerpoint/2010/main" val="2570051479"/>
              </p:ext>
            </p:extLst>
          </p:nvPr>
        </p:nvGraphicFramePr>
        <p:xfrm>
          <a:off x="541080" y="1133761"/>
          <a:ext cx="8094123" cy="3800999"/>
        </p:xfrm>
        <a:graphic>
          <a:graphicData uri="http://schemas.openxmlformats.org/drawingml/2006/table">
            <a:tbl>
              <a:tblPr firstRow="1" bandRow="1">
                <a:tableStyleId>{5C22544A-7EE6-4342-B048-85BDC9FD1C3A}</a:tableStyleId>
              </a:tblPr>
              <a:tblGrid>
                <a:gridCol w="1618824">
                  <a:extLst>
                    <a:ext uri="{9D8B030D-6E8A-4147-A177-3AD203B41FA5}">
                      <a16:colId xmlns:a16="http://schemas.microsoft.com/office/drawing/2014/main" val="2374043349"/>
                    </a:ext>
                  </a:extLst>
                </a:gridCol>
                <a:gridCol w="2158433">
                  <a:extLst>
                    <a:ext uri="{9D8B030D-6E8A-4147-A177-3AD203B41FA5}">
                      <a16:colId xmlns:a16="http://schemas.microsoft.com/office/drawing/2014/main" val="8673104"/>
                    </a:ext>
                  </a:extLst>
                </a:gridCol>
                <a:gridCol w="2158433">
                  <a:extLst>
                    <a:ext uri="{9D8B030D-6E8A-4147-A177-3AD203B41FA5}">
                      <a16:colId xmlns:a16="http://schemas.microsoft.com/office/drawing/2014/main" val="1028273140"/>
                    </a:ext>
                  </a:extLst>
                </a:gridCol>
                <a:gridCol w="2158433">
                  <a:extLst>
                    <a:ext uri="{9D8B030D-6E8A-4147-A177-3AD203B41FA5}">
                      <a16:colId xmlns:a16="http://schemas.microsoft.com/office/drawing/2014/main" val="2342841255"/>
                    </a:ext>
                  </a:extLst>
                </a:gridCol>
              </a:tblGrid>
              <a:tr h="365007">
                <a:tc>
                  <a:txBody>
                    <a:bodyPr/>
                    <a:lstStyle/>
                    <a:p>
                      <a:pPr algn="ctr"/>
                      <a:endParaRPr lang="en-US" sz="1000" b="0" i="0" kern="1200">
                        <a:solidFill>
                          <a:srgbClr val="575555"/>
                        </a:solidFill>
                        <a:latin typeface="Nexa Bold" panose="00000800000000000000" pitchFamily="2" charset="0"/>
                        <a:ea typeface="+mn-ea"/>
                        <a:cs typeface="+mn-cs"/>
                      </a:endParaRPr>
                    </a:p>
                  </a:txBody>
                  <a:tcPr marL="68580" marR="68580" marT="68580" marB="3429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Disposables</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Razors</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Refills</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58998">
                <a:tc>
                  <a:txBody>
                    <a:bodyPr/>
                    <a:lstStyle/>
                    <a:p>
                      <a:pPr algn="ctr">
                        <a:defRPr sz="800">
                          <a:latin typeface="Nexa Bold"/>
                        </a:defRPr>
                      </a:pPr>
                      <a:r>
                        <a:t>Total</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55%</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5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56%</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39445379"/>
                  </a:ext>
                </a:extLst>
              </a:tr>
              <a:tr h="858998">
                <a:tc>
                  <a:txBody>
                    <a:bodyPr/>
                    <a:lstStyle/>
                    <a:p>
                      <a:pPr algn="ctr">
                        <a:defRPr sz="800">
                          <a:latin typeface="Nexa Bold"/>
                        </a:defRPr>
                      </a:pPr>
                      <a:r>
                        <a:t>Gillette</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5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55%</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56%</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29831157"/>
                  </a:ext>
                </a:extLst>
              </a:tr>
              <a:tr h="858998">
                <a:tc>
                  <a:txBody>
                    <a:bodyPr/>
                    <a:lstStyle/>
                    <a:p>
                      <a:pPr algn="ctr">
                        <a:defRPr sz="800">
                          <a:latin typeface="Nexa Bold"/>
                        </a:defRPr>
                      </a:pPr>
                      <a:r>
                        <a:t>Bic</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53%</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66783464"/>
                  </a:ext>
                </a:extLst>
              </a:tr>
              <a:tr h="858998">
                <a:tc>
                  <a:txBody>
                    <a:bodyPr/>
                    <a:lstStyle/>
                    <a:p>
                      <a:pPr algn="ctr">
                        <a:defRPr sz="800">
                          <a:latin typeface="Nexa Bold"/>
                        </a:defRPr>
                      </a:pPr>
                      <a:r>
                        <a:t>Harry's</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48%</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21538582"/>
                  </a:ext>
                </a:extLst>
              </a:tr>
            </a:tbl>
          </a:graphicData>
        </a:graphic>
      </p:graphicFrame>
    </p:spTree>
    <p:extLst>
      <p:ext uri="{BB962C8B-B14F-4D97-AF65-F5344CB8AC3E}">
        <p14:creationId xmlns:p14="http://schemas.microsoft.com/office/powerpoint/2010/main" val="3129815641"/>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BEEAFD28-7A86-D661-445F-8A87117C4D5F}"/>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BEEAFD28-7A86-D661-445F-8A87117C4D5F}"/>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2AE6370A-FCC9-0DD3-BA63-97C29F486F85}"/>
              </a:ext>
            </a:extLst>
          </p:cNvPr>
          <p:cNvSpPr>
            <a:spLocks noGrp="1"/>
          </p:cNvSpPr>
          <p:nvPr>
            <p:ph type="dt" sz="half" idx="14"/>
          </p:nvPr>
        </p:nvSpPr>
        <p:spPr>
          <a:xfrm>
            <a:off x="8082390" y="4972050"/>
            <a:ext cx="557609" cy="171450"/>
          </a:xfrm>
        </p:spPr>
        <p:txBody>
          <a:bodyPr/>
          <a:lstStyle/>
          <a:p>
            <a:fld id="{137A5A6B-1D04-4253-BE52-9327F172A452}" type="datetime1">
              <a:rPr lang="en-US"/>
              <a:pPr/>
              <a:t>8/18/2025</a:t>
            </a:fld>
            <a:endParaRPr lang="en-US"/>
          </a:p>
        </p:txBody>
      </p:sp>
      <p:sp>
        <p:nvSpPr>
          <p:cNvPr id="4" name="Footer Placeholder 3">
            <a:extLst>
              <a:ext uri="{FF2B5EF4-FFF2-40B4-BE49-F238E27FC236}">
                <a16:creationId xmlns:a16="http://schemas.microsoft.com/office/drawing/2014/main" id="{A2832584-706C-4382-AF50-0823DF5C2D22}"/>
              </a:ext>
            </a:extLst>
          </p:cNvPr>
          <p:cNvSpPr>
            <a:spLocks noGrp="1"/>
          </p:cNvSpPr>
          <p:nvPr>
            <p:ph type="ftr" sz="quarter" idx="15"/>
          </p:nvPr>
        </p:nvSpPr>
        <p:spPr>
          <a:xfrm>
            <a:off x="546969" y="4970700"/>
            <a:ext cx="6451742" cy="174151"/>
          </a:xfrm>
        </p:spPr>
        <p:txBody>
          <a:bodyPr/>
          <a:lstStyle/>
          <a:p>
            <a:endParaRPr lang="en-US"/>
          </a:p>
        </p:txBody>
      </p:sp>
      <p:sp>
        <p:nvSpPr>
          <p:cNvPr id="3" name="Slide Number Placeholder 2">
            <a:extLst>
              <a:ext uri="{FF2B5EF4-FFF2-40B4-BE49-F238E27FC236}">
                <a16:creationId xmlns:a16="http://schemas.microsoft.com/office/drawing/2014/main" id="{C38F0F28-1A01-6874-5418-B8FD2F31AB62}"/>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5</a:t>
            </a:fld>
            <a:endParaRPr lang="en-US"/>
          </a:p>
        </p:txBody>
      </p:sp>
      <p:sp>
        <p:nvSpPr>
          <p:cNvPr id="5" name="Text Placeholder 4">
            <a:extLst>
              <a:ext uri="{FF2B5EF4-FFF2-40B4-BE49-F238E27FC236}">
                <a16:creationId xmlns:a16="http://schemas.microsoft.com/office/drawing/2014/main" id="{E7922D6F-A446-8634-C351-325C82E3E207}"/>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117FAC48-0BC8-9EEF-704E-B6A60F125B14}"/>
              </a:ext>
            </a:extLst>
          </p:cNvPr>
          <p:cNvSpPr>
            <a:spLocks noGrp="1"/>
          </p:cNvSpPr>
          <p:nvPr>
            <p:ph type="body" sz="quarter" idx="18"/>
          </p:nvPr>
        </p:nvSpPr>
        <p:spPr>
          <a:xfrm>
            <a:off x="503238" y="774000"/>
            <a:ext cx="8136762" cy="360000"/>
          </a:xfrm>
        </p:spPr>
        <p:txBody>
          <a:bodyPr lIns="91440" tIns="45720" rIns="91440" bIns="45720" anchor="t"/>
          <a:lstStyle/>
          <a:p>
            <a:pPr>
              <a:defRPr sz="1200">
                <a:latin typeface="Nexa Bold (Headings)"/>
              </a:defRPr>
            </a:pPr>
            <a:r>
              <a:t>Volume sold on deal Summary | By Brand | By Segment | Manual Shave Men | Walmart | P12M</a:t>
            </a:r>
          </a:p>
        </p:txBody>
      </p:sp>
      <p:sp>
        <p:nvSpPr>
          <p:cNvPr id="7" name="Title 6">
            <a:extLst>
              <a:ext uri="{FF2B5EF4-FFF2-40B4-BE49-F238E27FC236}">
                <a16:creationId xmlns:a16="http://schemas.microsoft.com/office/drawing/2014/main" id="{2681A043-873B-7332-A980-7DB230DD3689}"/>
              </a:ext>
            </a:extLst>
          </p:cNvPr>
          <p:cNvSpPr>
            <a:spLocks noGrp="1"/>
          </p:cNvSpPr>
          <p:nvPr>
            <p:ph type="title"/>
          </p:nvPr>
        </p:nvSpPr>
        <p:spPr>
          <a:xfrm>
            <a:off x="504000" y="-1"/>
            <a:ext cx="8136000" cy="771525"/>
          </a:xfrm>
          <a:noFill/>
        </p:spPr>
        <p:txBody>
          <a:bodyPr vert="horz" lIns="91440" tIns="45720" rIns="91440" bIns="45720" anchor="b"/>
          <a:lstStyle/>
          <a:p>
            <a:pPr>
              <a:defRPr sz="1600">
                <a:latin typeface="Nexa Bold (Headings)"/>
              </a:defRPr>
            </a:pPr>
            <a:r>
              <a:rPr lang="en-US" dirty="0">
                <a:highlight>
                  <a:srgbClr val="FFFF00"/>
                </a:highlight>
              </a:rPr>
              <a:t>VSOD Summary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9" name="T1">
            <a:extLst>
              <a:ext uri="{FF2B5EF4-FFF2-40B4-BE49-F238E27FC236}">
                <a16:creationId xmlns:a16="http://schemas.microsoft.com/office/drawing/2014/main" id="{7108F197-7AB0-011A-C04E-4916F0733682}"/>
              </a:ext>
            </a:extLst>
          </p:cNvPr>
          <p:cNvGraphicFramePr>
            <a:graphicFrameLocks noGrp="1"/>
          </p:cNvGraphicFramePr>
          <p:nvPr>
            <p:extLst>
              <p:ext uri="{D42A27DB-BD31-4B8C-83A1-F6EECF244321}">
                <p14:modId xmlns:p14="http://schemas.microsoft.com/office/powerpoint/2010/main" val="2570051479"/>
              </p:ext>
            </p:extLst>
          </p:nvPr>
        </p:nvGraphicFramePr>
        <p:xfrm>
          <a:off x="541080" y="1133761"/>
          <a:ext cx="8094123" cy="3800999"/>
        </p:xfrm>
        <a:graphic>
          <a:graphicData uri="http://schemas.openxmlformats.org/drawingml/2006/table">
            <a:tbl>
              <a:tblPr firstRow="1" bandRow="1">
                <a:tableStyleId>{5C22544A-7EE6-4342-B048-85BDC9FD1C3A}</a:tableStyleId>
              </a:tblPr>
              <a:tblGrid>
                <a:gridCol w="1618824">
                  <a:extLst>
                    <a:ext uri="{9D8B030D-6E8A-4147-A177-3AD203B41FA5}">
                      <a16:colId xmlns:a16="http://schemas.microsoft.com/office/drawing/2014/main" val="2374043349"/>
                    </a:ext>
                  </a:extLst>
                </a:gridCol>
                <a:gridCol w="2158433">
                  <a:extLst>
                    <a:ext uri="{9D8B030D-6E8A-4147-A177-3AD203B41FA5}">
                      <a16:colId xmlns:a16="http://schemas.microsoft.com/office/drawing/2014/main" val="8673104"/>
                    </a:ext>
                  </a:extLst>
                </a:gridCol>
                <a:gridCol w="2158433">
                  <a:extLst>
                    <a:ext uri="{9D8B030D-6E8A-4147-A177-3AD203B41FA5}">
                      <a16:colId xmlns:a16="http://schemas.microsoft.com/office/drawing/2014/main" val="1028273140"/>
                    </a:ext>
                  </a:extLst>
                </a:gridCol>
                <a:gridCol w="2158433">
                  <a:extLst>
                    <a:ext uri="{9D8B030D-6E8A-4147-A177-3AD203B41FA5}">
                      <a16:colId xmlns:a16="http://schemas.microsoft.com/office/drawing/2014/main" val="2342841255"/>
                    </a:ext>
                  </a:extLst>
                </a:gridCol>
              </a:tblGrid>
              <a:tr h="365007">
                <a:tc>
                  <a:txBody>
                    <a:bodyPr/>
                    <a:lstStyle/>
                    <a:p>
                      <a:pPr algn="ctr"/>
                      <a:endParaRPr lang="en-US" sz="1000" b="0" i="0" kern="1200">
                        <a:solidFill>
                          <a:srgbClr val="575555"/>
                        </a:solidFill>
                        <a:latin typeface="Nexa Bold" panose="00000800000000000000" pitchFamily="2" charset="0"/>
                        <a:ea typeface="+mn-ea"/>
                        <a:cs typeface="+mn-cs"/>
                      </a:endParaRPr>
                    </a:p>
                  </a:txBody>
                  <a:tcPr marL="68580" marR="68580" marT="68580" marB="3429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Disposables</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Razors</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1000">
                          <a:solidFill>
                            <a:srgbClr val="575555"/>
                          </a:solidFill>
                          <a:latin typeface="Nexa Bold"/>
                        </a:defRPr>
                      </a:pPr>
                      <a:r>
                        <a:t>Refills</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0856">
                <a:tc>
                  <a:txBody>
                    <a:bodyPr/>
                    <a:lstStyle/>
                    <a:p>
                      <a:pPr algn="ctr">
                        <a:defRPr sz="800">
                          <a:latin typeface="Nexa Bold"/>
                        </a:defRPr>
                      </a:pPr>
                      <a:r>
                        <a:t>Total</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9%</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96994351"/>
                  </a:ext>
                </a:extLst>
              </a:tr>
              <a:tr h="490856">
                <a:tc>
                  <a:txBody>
                    <a:bodyPr/>
                    <a:lstStyle/>
                    <a:p>
                      <a:pPr algn="ctr">
                        <a:defRPr sz="800">
                          <a:latin typeface="Nexa Bold"/>
                        </a:defRPr>
                      </a:pPr>
                      <a:r>
                        <a:t>Gillette</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1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490856">
                <a:tc>
                  <a:txBody>
                    <a:bodyPr/>
                    <a:lstStyle/>
                    <a:p>
                      <a:pPr algn="ctr">
                        <a:defRPr sz="800">
                          <a:latin typeface="Nexa Bold"/>
                        </a:defRPr>
                      </a:pPr>
                      <a:r>
                        <a:t>Bic</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3%</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1102018"/>
                  </a:ext>
                </a:extLst>
              </a:tr>
              <a:tr h="490856">
                <a:tc>
                  <a:txBody>
                    <a:bodyPr/>
                    <a:lstStyle/>
                    <a:p>
                      <a:pPr algn="ctr">
                        <a:defRPr sz="800">
                          <a:latin typeface="Nexa Bold"/>
                        </a:defRPr>
                      </a:pPr>
                      <a:r>
                        <a:t>Harry's</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1%</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1%</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39445379"/>
                  </a:ext>
                </a:extLst>
              </a:tr>
              <a:tr h="490856">
                <a:tc>
                  <a:txBody>
                    <a:bodyPr/>
                    <a:lstStyle/>
                    <a:p>
                      <a:pPr algn="ctr">
                        <a:defRPr sz="800">
                          <a:latin typeface="Nexa Bold"/>
                        </a:defRPr>
                      </a:pPr>
                      <a:r>
                        <a:t>Dollar Shave Club</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18%</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r>
                        <a:t>13%</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29831157"/>
                  </a:ext>
                </a:extLst>
              </a:tr>
              <a:tr h="490856">
                <a:tc>
                  <a:txBody>
                    <a:bodyPr/>
                    <a:lstStyle/>
                    <a:p>
                      <a:pPr algn="ctr">
                        <a:defRPr sz="800">
                          <a:latin typeface="Nexa Bold"/>
                        </a:defRPr>
                      </a:pPr>
                      <a:r>
                        <a:t>Van Der Hagen</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66783464"/>
                  </a:ext>
                </a:extLst>
              </a:tr>
              <a:tr h="490856">
                <a:tc>
                  <a:txBody>
                    <a:bodyPr/>
                    <a:lstStyle/>
                    <a:p>
                      <a:pPr algn="ctr">
                        <a:defRPr sz="800">
                          <a:latin typeface="Nexa Bold"/>
                        </a:defRPr>
                      </a:pPr>
                      <a:r>
                        <a:t>Comfort 3</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ld"/>
                        </a:defRPr>
                      </a:pPr>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21538582"/>
                  </a:ext>
                </a:extLst>
              </a:tr>
            </a:tbl>
          </a:graphicData>
        </a:graphic>
      </p:graphicFrame>
    </p:spTree>
    <p:extLst>
      <p:ext uri="{BB962C8B-B14F-4D97-AF65-F5344CB8AC3E}">
        <p14:creationId xmlns:p14="http://schemas.microsoft.com/office/powerpoint/2010/main" val="39841112"/>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222808FD-ACDC-CC7C-8644-923BBD07B29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222808FD-ACDC-CC7C-8644-923BBD07B29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20" name="Chart 19">
            <a:extLst>
              <a:ext uri="{FF2B5EF4-FFF2-40B4-BE49-F238E27FC236}">
                <a16:creationId xmlns:a16="http://schemas.microsoft.com/office/drawing/2014/main" id="{B1FE0159-4E62-4A93-B376-F25F0DD097D3}"/>
              </a:ext>
            </a:extLst>
          </p:cNvPr>
          <p:cNvGraphicFramePr/>
          <p:nvPr>
            <p:extLst>
              <p:ext uri="{D42A27DB-BD31-4B8C-83A1-F6EECF244321}">
                <p14:modId xmlns:p14="http://schemas.microsoft.com/office/powerpoint/2010/main" val="1372760477"/>
              </p:ext>
            </p:extLst>
          </p:nvPr>
        </p:nvGraphicFramePr>
        <p:xfrm>
          <a:off x="540000" y="1133639"/>
          <a:ext cx="8100000" cy="3509669"/>
        </p:xfrm>
        <a:graphic>
          <a:graphicData uri="http://schemas.openxmlformats.org/drawingml/2006/chart">
            <c:chart xmlns:c="http://schemas.openxmlformats.org/drawingml/2006/chart" xmlns:r="http://schemas.openxmlformats.org/officeDocument/2006/relationships" r:id="rId6"/>
          </a:graphicData>
        </a:graphic>
      </p:graphicFrame>
      <p:sp>
        <p:nvSpPr>
          <p:cNvPr id="18" name="Date Placeholder 17">
            <a:extLst>
              <a:ext uri="{FF2B5EF4-FFF2-40B4-BE49-F238E27FC236}">
                <a16:creationId xmlns:a16="http://schemas.microsoft.com/office/drawing/2014/main" id="{C1C06F40-5A22-69B8-A694-546E63E1BA0C}"/>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2D21337-F382-4FF4-BA40-ECEC8B4CA4A3}"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1" name="Footer Placeholder 20">
            <a:extLst>
              <a:ext uri="{FF2B5EF4-FFF2-40B4-BE49-F238E27FC236}">
                <a16:creationId xmlns:a16="http://schemas.microsoft.com/office/drawing/2014/main" id="{FBEB295B-B94A-FD99-99F9-D5E99E11858A}"/>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9" name="Slide Number Placeholder 18">
            <a:extLst>
              <a:ext uri="{FF2B5EF4-FFF2-40B4-BE49-F238E27FC236}">
                <a16:creationId xmlns:a16="http://schemas.microsoft.com/office/drawing/2014/main" id="{7E74166E-6986-24E0-FE60-F1092A45D18E}"/>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2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10" name="Text Placeholder 9">
            <a:extLst>
              <a:ext uri="{FF2B5EF4-FFF2-40B4-BE49-F238E27FC236}">
                <a16:creationId xmlns:a16="http://schemas.microsoft.com/office/drawing/2014/main" id="{234ADF96-6FB1-4D58-8B54-873D4F64F33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Content Placeholder 1">
            <a:extLst>
              <a:ext uri="{FF2B5EF4-FFF2-40B4-BE49-F238E27FC236}">
                <a16:creationId xmlns:a16="http://schemas.microsoft.com/office/drawing/2014/main" id="{130C05D2-CF04-4DA4-82C4-9E265F94F028}"/>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by brand | Manual Shave Men | P12M</a:t>
            </a:r>
          </a:p>
        </p:txBody>
      </p:sp>
      <p:sp>
        <p:nvSpPr>
          <p:cNvPr id="17" name="Title 16">
            <a:extLst>
              <a:ext uri="{FF2B5EF4-FFF2-40B4-BE49-F238E27FC236}">
                <a16:creationId xmlns:a16="http://schemas.microsoft.com/office/drawing/2014/main" id="{4F16EBB1-4C79-4A6F-8868-FA7F8505744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by retailer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4" name="TextBox 13">
            <a:extLst>
              <a:ext uri="{FF2B5EF4-FFF2-40B4-BE49-F238E27FC236}">
                <a16:creationId xmlns:a16="http://schemas.microsoft.com/office/drawing/2014/main" id="{B849EA39-EC71-4F3C-B69E-269019A3BE69}"/>
              </a:ext>
            </a:extLst>
          </p:cNvPr>
          <p:cNvSpPr txBox="1"/>
          <p:nvPr/>
        </p:nvSpPr>
        <p:spPr>
          <a:xfrm>
            <a:off x="546969" y="1143000"/>
            <a:ext cx="2019790" cy="24622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Bubble size by Promo sales</a:t>
            </a:r>
            <a:endParaRPr kumimoji="0" lang="en-CH"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endParaRPr>
          </a:p>
        </p:txBody>
      </p:sp>
      <p:graphicFrame>
        <p:nvGraphicFramePr>
          <p:cNvPr id="5" name="Table 5">
            <a:extLst>
              <a:ext uri="{FF2B5EF4-FFF2-40B4-BE49-F238E27FC236}">
                <a16:creationId xmlns:a16="http://schemas.microsoft.com/office/drawing/2014/main" id="{5519C780-DF17-D565-38D2-E69BBF4F5C8A}"/>
              </a:ext>
            </a:extLst>
          </p:cNvPr>
          <p:cNvGraphicFramePr>
            <a:graphicFrameLocks noGrp="1"/>
          </p:cNvGraphicFramePr>
          <p:nvPr/>
        </p:nvGraphicFramePr>
        <p:xfrm>
          <a:off x="1525055" y="4454629"/>
          <a:ext cx="6815298" cy="434340"/>
        </p:xfrm>
        <a:graphic>
          <a:graphicData uri="http://schemas.openxmlformats.org/drawingml/2006/table">
            <a:tbl>
              <a:tblPr firstRow="1" bandRow="1">
                <a:tableStyleId>{5C22544A-7EE6-4342-B048-85BDC9FD1C3A}</a:tableStyleId>
              </a:tblPr>
              <a:tblGrid>
                <a:gridCol w="3407649">
                  <a:extLst>
                    <a:ext uri="{9D8B030D-6E8A-4147-A177-3AD203B41FA5}">
                      <a16:colId xmlns:a16="http://schemas.microsoft.com/office/drawing/2014/main" val="826016986"/>
                    </a:ext>
                  </a:extLst>
                </a:gridCol>
                <a:gridCol w="3407649">
                  <a:extLst>
                    <a:ext uri="{9D8B030D-6E8A-4147-A177-3AD203B41FA5}">
                      <a16:colId xmlns:a16="http://schemas.microsoft.com/office/drawing/2014/main" val="2337481629"/>
                    </a:ext>
                  </a:extLst>
                </a:gridCol>
              </a:tblGrid>
              <a:tr h="278130">
                <a:tc>
                  <a:txBody>
                    <a:bodyPr/>
                    <a:lstStyle/>
                    <a:p>
                      <a:pPr algn="ctr">
                        <a:defRPr sz="800" b="0">
                          <a:solidFill>
                            <a:srgbClr val="575555"/>
                          </a:solidFill>
                          <a:latin typeface="Nexa Bold"/>
                        </a:defRPr>
                      </a:pPr>
                      <a:r>
                        <a:rPr sz="800">
                          <a:latin typeface="Nexa Bold"/>
                        </a:rPr>
                        <a:t>Bj's And Sam's</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Walmart</a:t>
                      </a:r>
                    </a:p>
                  </a:txBody>
                  <a:tcPr marL="68580" marR="68580" marT="34290" marB="34290" anchor="ctr">
                    <a:solidFill>
                      <a:schemeClr val="bg1">
                        <a:lumMod val="95000"/>
                      </a:schemeClr>
                    </a:solidFill>
                  </a:tcPr>
                </a:tc>
                <a:extLst>
                  <a:ext uri="{0D108BD9-81ED-4DB2-BD59-A6C34878D82A}">
                    <a16:rowId xmlns:a16="http://schemas.microsoft.com/office/drawing/2014/main" val="43767022"/>
                  </a:ext>
                </a:extLst>
              </a:tr>
            </a:tbl>
          </a:graphicData>
        </a:graphic>
      </p:graphicFrame>
    </p:spTree>
    <p:extLst>
      <p:ext uri="{BB962C8B-B14F-4D97-AF65-F5344CB8AC3E}">
        <p14:creationId xmlns:p14="http://schemas.microsoft.com/office/powerpoint/2010/main" val="1721066272"/>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222808FD-ACDC-CC7C-8644-923BBD07B29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222808FD-ACDC-CC7C-8644-923BBD07B29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20" name="Chart 19">
            <a:extLst>
              <a:ext uri="{FF2B5EF4-FFF2-40B4-BE49-F238E27FC236}">
                <a16:creationId xmlns:a16="http://schemas.microsoft.com/office/drawing/2014/main" id="{B1FE0159-4E62-4A93-B376-F25F0DD097D3}"/>
              </a:ext>
            </a:extLst>
          </p:cNvPr>
          <p:cNvGraphicFramePr/>
          <p:nvPr>
            <p:extLst>
              <p:ext uri="{D42A27DB-BD31-4B8C-83A1-F6EECF244321}">
                <p14:modId xmlns:p14="http://schemas.microsoft.com/office/powerpoint/2010/main" val="4252166925"/>
              </p:ext>
            </p:extLst>
          </p:nvPr>
        </p:nvGraphicFramePr>
        <p:xfrm>
          <a:off x="540000" y="1133639"/>
          <a:ext cx="8100000" cy="3509669"/>
        </p:xfrm>
        <a:graphic>
          <a:graphicData uri="http://schemas.openxmlformats.org/drawingml/2006/chart">
            <c:chart xmlns:c="http://schemas.openxmlformats.org/drawingml/2006/chart" xmlns:r="http://schemas.openxmlformats.org/officeDocument/2006/relationships" r:id="rId6"/>
          </a:graphicData>
        </a:graphic>
      </p:graphicFrame>
      <p:sp>
        <p:nvSpPr>
          <p:cNvPr id="18" name="Date Placeholder 17">
            <a:extLst>
              <a:ext uri="{FF2B5EF4-FFF2-40B4-BE49-F238E27FC236}">
                <a16:creationId xmlns:a16="http://schemas.microsoft.com/office/drawing/2014/main" id="{C1C06F40-5A22-69B8-A694-546E63E1BA0C}"/>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2D21337-F382-4FF4-BA40-ECEC8B4CA4A3}"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1" name="Footer Placeholder 20">
            <a:extLst>
              <a:ext uri="{FF2B5EF4-FFF2-40B4-BE49-F238E27FC236}">
                <a16:creationId xmlns:a16="http://schemas.microsoft.com/office/drawing/2014/main" id="{FBEB295B-B94A-FD99-99F9-D5E99E11858A}"/>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9" name="Slide Number Placeholder 18">
            <a:extLst>
              <a:ext uri="{FF2B5EF4-FFF2-40B4-BE49-F238E27FC236}">
                <a16:creationId xmlns:a16="http://schemas.microsoft.com/office/drawing/2014/main" id="{7E74166E-6986-24E0-FE60-F1092A45D18E}"/>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2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10" name="Text Placeholder 9">
            <a:extLst>
              <a:ext uri="{FF2B5EF4-FFF2-40B4-BE49-F238E27FC236}">
                <a16:creationId xmlns:a16="http://schemas.microsoft.com/office/drawing/2014/main" id="{234ADF96-6FB1-4D58-8B54-873D4F64F33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Content Placeholder 1">
            <a:extLst>
              <a:ext uri="{FF2B5EF4-FFF2-40B4-BE49-F238E27FC236}">
                <a16:creationId xmlns:a16="http://schemas.microsoft.com/office/drawing/2014/main" id="{130C05D2-CF04-4DA4-82C4-9E265F94F028}"/>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by brand | System | P12M</a:t>
            </a:r>
          </a:p>
        </p:txBody>
      </p:sp>
      <p:sp>
        <p:nvSpPr>
          <p:cNvPr id="17" name="Title 16">
            <a:extLst>
              <a:ext uri="{FF2B5EF4-FFF2-40B4-BE49-F238E27FC236}">
                <a16:creationId xmlns:a16="http://schemas.microsoft.com/office/drawing/2014/main" id="{4F16EBB1-4C79-4A6F-8868-FA7F8505744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by retailer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4" name="TextBox 13">
            <a:extLst>
              <a:ext uri="{FF2B5EF4-FFF2-40B4-BE49-F238E27FC236}">
                <a16:creationId xmlns:a16="http://schemas.microsoft.com/office/drawing/2014/main" id="{B849EA39-EC71-4F3C-B69E-269019A3BE69}"/>
              </a:ext>
            </a:extLst>
          </p:cNvPr>
          <p:cNvSpPr txBox="1"/>
          <p:nvPr/>
        </p:nvSpPr>
        <p:spPr>
          <a:xfrm>
            <a:off x="546969" y="1143000"/>
            <a:ext cx="2019790" cy="24622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Bubble size by Promo sales</a:t>
            </a:r>
            <a:endParaRPr kumimoji="0" lang="en-CH"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endParaRPr>
          </a:p>
        </p:txBody>
      </p:sp>
      <p:graphicFrame>
        <p:nvGraphicFramePr>
          <p:cNvPr id="5" name="Table 5">
            <a:extLst>
              <a:ext uri="{FF2B5EF4-FFF2-40B4-BE49-F238E27FC236}">
                <a16:creationId xmlns:a16="http://schemas.microsoft.com/office/drawing/2014/main" id="{5519C780-DF17-D565-38D2-E69BBF4F5C8A}"/>
              </a:ext>
            </a:extLst>
          </p:cNvPr>
          <p:cNvGraphicFramePr>
            <a:graphicFrameLocks noGrp="1"/>
          </p:cNvGraphicFramePr>
          <p:nvPr/>
        </p:nvGraphicFramePr>
        <p:xfrm>
          <a:off x="1525055" y="4454629"/>
          <a:ext cx="6815298" cy="434340"/>
        </p:xfrm>
        <a:graphic>
          <a:graphicData uri="http://schemas.openxmlformats.org/drawingml/2006/table">
            <a:tbl>
              <a:tblPr firstRow="1" bandRow="1">
                <a:tableStyleId>{5C22544A-7EE6-4342-B048-85BDC9FD1C3A}</a:tableStyleId>
              </a:tblPr>
              <a:tblGrid>
                <a:gridCol w="3407649">
                  <a:extLst>
                    <a:ext uri="{9D8B030D-6E8A-4147-A177-3AD203B41FA5}">
                      <a16:colId xmlns:a16="http://schemas.microsoft.com/office/drawing/2014/main" val="826016986"/>
                    </a:ext>
                  </a:extLst>
                </a:gridCol>
                <a:gridCol w="3407649">
                  <a:extLst>
                    <a:ext uri="{9D8B030D-6E8A-4147-A177-3AD203B41FA5}">
                      <a16:colId xmlns:a16="http://schemas.microsoft.com/office/drawing/2014/main" val="2337481629"/>
                    </a:ext>
                  </a:extLst>
                </a:gridCol>
              </a:tblGrid>
              <a:tr h="278130">
                <a:tc>
                  <a:txBody>
                    <a:bodyPr/>
                    <a:lstStyle/>
                    <a:p>
                      <a:pPr algn="ctr">
                        <a:defRPr sz="800" b="0">
                          <a:solidFill>
                            <a:srgbClr val="575555"/>
                          </a:solidFill>
                          <a:latin typeface="Nexa Bold"/>
                        </a:defRPr>
                      </a:pPr>
                      <a:r>
                        <a:rPr sz="800">
                          <a:latin typeface="Nexa Bold"/>
                        </a:rPr>
                        <a:t>Bj's And Sam's</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Walmart</a:t>
                      </a:r>
                    </a:p>
                  </a:txBody>
                  <a:tcPr marL="68580" marR="68580" marT="34290" marB="34290" anchor="ctr">
                    <a:solidFill>
                      <a:schemeClr val="bg1">
                        <a:lumMod val="95000"/>
                      </a:schemeClr>
                    </a:solidFill>
                  </a:tcPr>
                </a:tc>
                <a:extLst>
                  <a:ext uri="{0D108BD9-81ED-4DB2-BD59-A6C34878D82A}">
                    <a16:rowId xmlns:a16="http://schemas.microsoft.com/office/drawing/2014/main" val="43767022"/>
                  </a:ext>
                </a:extLst>
              </a:tr>
            </a:tbl>
          </a:graphicData>
        </a:graphic>
      </p:graphicFrame>
    </p:spTree>
    <p:extLst>
      <p:ext uri="{BB962C8B-B14F-4D97-AF65-F5344CB8AC3E}">
        <p14:creationId xmlns:p14="http://schemas.microsoft.com/office/powerpoint/2010/main" val="3784885486"/>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222808FD-ACDC-CC7C-8644-923BBD07B29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222808FD-ACDC-CC7C-8644-923BBD07B29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20" name="Chart 19">
            <a:extLst>
              <a:ext uri="{FF2B5EF4-FFF2-40B4-BE49-F238E27FC236}">
                <a16:creationId xmlns:a16="http://schemas.microsoft.com/office/drawing/2014/main" id="{B1FE0159-4E62-4A93-B376-F25F0DD097D3}"/>
              </a:ext>
            </a:extLst>
          </p:cNvPr>
          <p:cNvGraphicFramePr/>
          <p:nvPr>
            <p:extLst>
              <p:ext uri="{D42A27DB-BD31-4B8C-83A1-F6EECF244321}">
                <p14:modId xmlns:p14="http://schemas.microsoft.com/office/powerpoint/2010/main" val="2280743449"/>
              </p:ext>
            </p:extLst>
          </p:nvPr>
        </p:nvGraphicFramePr>
        <p:xfrm>
          <a:off x="540000" y="1133639"/>
          <a:ext cx="8100000" cy="3509669"/>
        </p:xfrm>
        <a:graphic>
          <a:graphicData uri="http://schemas.openxmlformats.org/drawingml/2006/chart">
            <c:chart xmlns:c="http://schemas.openxmlformats.org/drawingml/2006/chart" xmlns:r="http://schemas.openxmlformats.org/officeDocument/2006/relationships" r:id="rId6"/>
          </a:graphicData>
        </a:graphic>
      </p:graphicFrame>
      <p:sp>
        <p:nvSpPr>
          <p:cNvPr id="18" name="Date Placeholder 17">
            <a:extLst>
              <a:ext uri="{FF2B5EF4-FFF2-40B4-BE49-F238E27FC236}">
                <a16:creationId xmlns:a16="http://schemas.microsoft.com/office/drawing/2014/main" id="{C1C06F40-5A22-69B8-A694-546E63E1BA0C}"/>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2D21337-F382-4FF4-BA40-ECEC8B4CA4A3}"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1" name="Footer Placeholder 20">
            <a:extLst>
              <a:ext uri="{FF2B5EF4-FFF2-40B4-BE49-F238E27FC236}">
                <a16:creationId xmlns:a16="http://schemas.microsoft.com/office/drawing/2014/main" id="{FBEB295B-B94A-FD99-99F9-D5E99E11858A}"/>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9" name="Slide Number Placeholder 18">
            <a:extLst>
              <a:ext uri="{FF2B5EF4-FFF2-40B4-BE49-F238E27FC236}">
                <a16:creationId xmlns:a16="http://schemas.microsoft.com/office/drawing/2014/main" id="{7E74166E-6986-24E0-FE60-F1092A45D18E}"/>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2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10" name="Text Placeholder 9">
            <a:extLst>
              <a:ext uri="{FF2B5EF4-FFF2-40B4-BE49-F238E27FC236}">
                <a16:creationId xmlns:a16="http://schemas.microsoft.com/office/drawing/2014/main" id="{234ADF96-6FB1-4D58-8B54-873D4F64F33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Content Placeholder 1">
            <a:extLst>
              <a:ext uri="{FF2B5EF4-FFF2-40B4-BE49-F238E27FC236}">
                <a16:creationId xmlns:a16="http://schemas.microsoft.com/office/drawing/2014/main" id="{130C05D2-CF04-4DA4-82C4-9E265F94F028}"/>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by brand | Disposables | P12M</a:t>
            </a:r>
          </a:p>
        </p:txBody>
      </p:sp>
      <p:sp>
        <p:nvSpPr>
          <p:cNvPr id="17" name="Title 16">
            <a:extLst>
              <a:ext uri="{FF2B5EF4-FFF2-40B4-BE49-F238E27FC236}">
                <a16:creationId xmlns:a16="http://schemas.microsoft.com/office/drawing/2014/main" id="{4F16EBB1-4C79-4A6F-8868-FA7F8505744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by retailer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4" name="TextBox 13">
            <a:extLst>
              <a:ext uri="{FF2B5EF4-FFF2-40B4-BE49-F238E27FC236}">
                <a16:creationId xmlns:a16="http://schemas.microsoft.com/office/drawing/2014/main" id="{B849EA39-EC71-4F3C-B69E-269019A3BE69}"/>
              </a:ext>
            </a:extLst>
          </p:cNvPr>
          <p:cNvSpPr txBox="1"/>
          <p:nvPr/>
        </p:nvSpPr>
        <p:spPr>
          <a:xfrm>
            <a:off x="546969" y="1143000"/>
            <a:ext cx="2019790" cy="24622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Bubble size by Promo sales</a:t>
            </a:r>
            <a:endParaRPr kumimoji="0" lang="en-CH"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endParaRPr>
          </a:p>
        </p:txBody>
      </p:sp>
      <p:graphicFrame>
        <p:nvGraphicFramePr>
          <p:cNvPr id="5" name="Table 5">
            <a:extLst>
              <a:ext uri="{FF2B5EF4-FFF2-40B4-BE49-F238E27FC236}">
                <a16:creationId xmlns:a16="http://schemas.microsoft.com/office/drawing/2014/main" id="{5519C780-DF17-D565-38D2-E69BBF4F5C8A}"/>
              </a:ext>
            </a:extLst>
          </p:cNvPr>
          <p:cNvGraphicFramePr>
            <a:graphicFrameLocks noGrp="1"/>
          </p:cNvGraphicFramePr>
          <p:nvPr/>
        </p:nvGraphicFramePr>
        <p:xfrm>
          <a:off x="1525055" y="4454629"/>
          <a:ext cx="6815298" cy="434340"/>
        </p:xfrm>
        <a:graphic>
          <a:graphicData uri="http://schemas.openxmlformats.org/drawingml/2006/table">
            <a:tbl>
              <a:tblPr firstRow="1" bandRow="1">
                <a:tableStyleId>{5C22544A-7EE6-4342-B048-85BDC9FD1C3A}</a:tableStyleId>
              </a:tblPr>
              <a:tblGrid>
                <a:gridCol w="3407649">
                  <a:extLst>
                    <a:ext uri="{9D8B030D-6E8A-4147-A177-3AD203B41FA5}">
                      <a16:colId xmlns:a16="http://schemas.microsoft.com/office/drawing/2014/main" val="826016986"/>
                    </a:ext>
                  </a:extLst>
                </a:gridCol>
                <a:gridCol w="3407649">
                  <a:extLst>
                    <a:ext uri="{9D8B030D-6E8A-4147-A177-3AD203B41FA5}">
                      <a16:colId xmlns:a16="http://schemas.microsoft.com/office/drawing/2014/main" val="2337481629"/>
                    </a:ext>
                  </a:extLst>
                </a:gridCol>
              </a:tblGrid>
              <a:tr h="278130">
                <a:tc>
                  <a:txBody>
                    <a:bodyPr/>
                    <a:lstStyle/>
                    <a:p>
                      <a:pPr algn="ctr">
                        <a:defRPr sz="800" b="0">
                          <a:solidFill>
                            <a:srgbClr val="575555"/>
                          </a:solidFill>
                          <a:latin typeface="Nexa Bold"/>
                        </a:defRPr>
                      </a:pPr>
                      <a:r>
                        <a:rPr sz="800">
                          <a:latin typeface="Nexa Bold"/>
                        </a:rPr>
                        <a:t>Bj's And Sam's</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Walmart</a:t>
                      </a:r>
                    </a:p>
                  </a:txBody>
                  <a:tcPr marL="68580" marR="68580" marT="34290" marB="34290" anchor="ctr">
                    <a:solidFill>
                      <a:schemeClr val="bg1">
                        <a:lumMod val="95000"/>
                      </a:schemeClr>
                    </a:solidFill>
                  </a:tcPr>
                </a:tc>
                <a:extLst>
                  <a:ext uri="{0D108BD9-81ED-4DB2-BD59-A6C34878D82A}">
                    <a16:rowId xmlns:a16="http://schemas.microsoft.com/office/drawing/2014/main" val="43767022"/>
                  </a:ext>
                </a:extLst>
              </a:tr>
            </a:tbl>
          </a:graphicData>
        </a:graphic>
      </p:graphicFrame>
    </p:spTree>
    <p:extLst>
      <p:ext uri="{BB962C8B-B14F-4D97-AF65-F5344CB8AC3E}">
        <p14:creationId xmlns:p14="http://schemas.microsoft.com/office/powerpoint/2010/main" val="492124888"/>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222808FD-ACDC-CC7C-8644-923BBD07B29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222808FD-ACDC-CC7C-8644-923BBD07B29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20" name="Chart 19">
            <a:extLst>
              <a:ext uri="{FF2B5EF4-FFF2-40B4-BE49-F238E27FC236}">
                <a16:creationId xmlns:a16="http://schemas.microsoft.com/office/drawing/2014/main" id="{B1FE0159-4E62-4A93-B376-F25F0DD097D3}"/>
              </a:ext>
            </a:extLst>
          </p:cNvPr>
          <p:cNvGraphicFramePr/>
          <p:nvPr>
            <p:extLst>
              <p:ext uri="{D42A27DB-BD31-4B8C-83A1-F6EECF244321}">
                <p14:modId xmlns:p14="http://schemas.microsoft.com/office/powerpoint/2010/main" val="3656416303"/>
              </p:ext>
            </p:extLst>
          </p:nvPr>
        </p:nvGraphicFramePr>
        <p:xfrm>
          <a:off x="540000" y="1133639"/>
          <a:ext cx="8100000" cy="3509669"/>
        </p:xfrm>
        <a:graphic>
          <a:graphicData uri="http://schemas.openxmlformats.org/drawingml/2006/chart">
            <c:chart xmlns:c="http://schemas.openxmlformats.org/drawingml/2006/chart" xmlns:r="http://schemas.openxmlformats.org/officeDocument/2006/relationships" r:id="rId6"/>
          </a:graphicData>
        </a:graphic>
      </p:graphicFrame>
      <p:sp>
        <p:nvSpPr>
          <p:cNvPr id="18" name="Date Placeholder 17">
            <a:extLst>
              <a:ext uri="{FF2B5EF4-FFF2-40B4-BE49-F238E27FC236}">
                <a16:creationId xmlns:a16="http://schemas.microsoft.com/office/drawing/2014/main" id="{C1C06F40-5A22-69B8-A694-546E63E1BA0C}"/>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2D21337-F382-4FF4-BA40-ECEC8B4CA4A3}"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1" name="Footer Placeholder 20">
            <a:extLst>
              <a:ext uri="{FF2B5EF4-FFF2-40B4-BE49-F238E27FC236}">
                <a16:creationId xmlns:a16="http://schemas.microsoft.com/office/drawing/2014/main" id="{FBEB295B-B94A-FD99-99F9-D5E99E11858A}"/>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9" name="Slide Number Placeholder 18">
            <a:extLst>
              <a:ext uri="{FF2B5EF4-FFF2-40B4-BE49-F238E27FC236}">
                <a16:creationId xmlns:a16="http://schemas.microsoft.com/office/drawing/2014/main" id="{7E74166E-6986-24E0-FE60-F1092A45D18E}"/>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2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10" name="Text Placeholder 9">
            <a:extLst>
              <a:ext uri="{FF2B5EF4-FFF2-40B4-BE49-F238E27FC236}">
                <a16:creationId xmlns:a16="http://schemas.microsoft.com/office/drawing/2014/main" id="{234ADF96-6FB1-4D58-8B54-873D4F64F33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Content Placeholder 1">
            <a:extLst>
              <a:ext uri="{FF2B5EF4-FFF2-40B4-BE49-F238E27FC236}">
                <a16:creationId xmlns:a16="http://schemas.microsoft.com/office/drawing/2014/main" id="{130C05D2-CF04-4DA4-82C4-9E265F94F028}"/>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by brand | Disposables | P12M</a:t>
            </a:r>
          </a:p>
        </p:txBody>
      </p:sp>
      <p:sp>
        <p:nvSpPr>
          <p:cNvPr id="17" name="Title 16">
            <a:extLst>
              <a:ext uri="{FF2B5EF4-FFF2-40B4-BE49-F238E27FC236}">
                <a16:creationId xmlns:a16="http://schemas.microsoft.com/office/drawing/2014/main" id="{4F16EBB1-4C79-4A6F-8868-FA7F8505744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by retailer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4" name="TextBox 13">
            <a:extLst>
              <a:ext uri="{FF2B5EF4-FFF2-40B4-BE49-F238E27FC236}">
                <a16:creationId xmlns:a16="http://schemas.microsoft.com/office/drawing/2014/main" id="{B849EA39-EC71-4F3C-B69E-269019A3BE69}"/>
              </a:ext>
            </a:extLst>
          </p:cNvPr>
          <p:cNvSpPr txBox="1"/>
          <p:nvPr/>
        </p:nvSpPr>
        <p:spPr>
          <a:xfrm>
            <a:off x="546969" y="1143000"/>
            <a:ext cx="2019790" cy="24622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Bubble size by Promo sales</a:t>
            </a:r>
            <a:endParaRPr kumimoji="0" lang="en-CH"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endParaRPr>
          </a:p>
        </p:txBody>
      </p:sp>
      <p:graphicFrame>
        <p:nvGraphicFramePr>
          <p:cNvPr id="5" name="Table 5">
            <a:extLst>
              <a:ext uri="{FF2B5EF4-FFF2-40B4-BE49-F238E27FC236}">
                <a16:creationId xmlns:a16="http://schemas.microsoft.com/office/drawing/2014/main" id="{5519C780-DF17-D565-38D2-E69BBF4F5C8A}"/>
              </a:ext>
            </a:extLst>
          </p:cNvPr>
          <p:cNvGraphicFramePr>
            <a:graphicFrameLocks noGrp="1"/>
          </p:cNvGraphicFramePr>
          <p:nvPr/>
        </p:nvGraphicFramePr>
        <p:xfrm>
          <a:off x="1525055" y="4454629"/>
          <a:ext cx="6815298" cy="434340"/>
        </p:xfrm>
        <a:graphic>
          <a:graphicData uri="http://schemas.openxmlformats.org/drawingml/2006/table">
            <a:tbl>
              <a:tblPr firstRow="1" bandRow="1">
                <a:tableStyleId>{5C22544A-7EE6-4342-B048-85BDC9FD1C3A}</a:tableStyleId>
              </a:tblPr>
              <a:tblGrid>
                <a:gridCol w="3407649">
                  <a:extLst>
                    <a:ext uri="{9D8B030D-6E8A-4147-A177-3AD203B41FA5}">
                      <a16:colId xmlns:a16="http://schemas.microsoft.com/office/drawing/2014/main" val="826016986"/>
                    </a:ext>
                  </a:extLst>
                </a:gridCol>
                <a:gridCol w="3407649">
                  <a:extLst>
                    <a:ext uri="{9D8B030D-6E8A-4147-A177-3AD203B41FA5}">
                      <a16:colId xmlns:a16="http://schemas.microsoft.com/office/drawing/2014/main" val="2337481629"/>
                    </a:ext>
                  </a:extLst>
                </a:gridCol>
              </a:tblGrid>
              <a:tr h="278130">
                <a:tc>
                  <a:txBody>
                    <a:bodyPr/>
                    <a:lstStyle/>
                    <a:p>
                      <a:pPr algn="ctr">
                        <a:defRPr sz="800" b="0">
                          <a:solidFill>
                            <a:srgbClr val="575555"/>
                          </a:solidFill>
                          <a:latin typeface="Nexa Bold"/>
                        </a:defRPr>
                      </a:pPr>
                      <a:r>
                        <a:rPr sz="800">
                          <a:latin typeface="Nexa Bold"/>
                        </a:rPr>
                        <a:t>Bj's And Sam's</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Walmart</a:t>
                      </a:r>
                    </a:p>
                  </a:txBody>
                  <a:tcPr marL="68580" marR="68580" marT="34290" marB="34290" anchor="ctr">
                    <a:solidFill>
                      <a:schemeClr val="bg1">
                        <a:lumMod val="95000"/>
                      </a:schemeClr>
                    </a:solidFill>
                  </a:tcPr>
                </a:tc>
                <a:extLst>
                  <a:ext uri="{0D108BD9-81ED-4DB2-BD59-A6C34878D82A}">
                    <a16:rowId xmlns:a16="http://schemas.microsoft.com/office/drawing/2014/main" val="43767022"/>
                  </a:ext>
                </a:extLst>
              </a:tr>
            </a:tbl>
          </a:graphicData>
        </a:graphic>
      </p:graphicFrame>
    </p:spTree>
    <p:extLst>
      <p:ext uri="{BB962C8B-B14F-4D97-AF65-F5344CB8AC3E}">
        <p14:creationId xmlns:p14="http://schemas.microsoft.com/office/powerpoint/2010/main" val="137750286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8/18/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Uplift vs discount depth | By Product | Bj's And Sam's | Manual Shave Men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3107222654"/>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176866912"/>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222808FD-ACDC-CC7C-8644-923BBD07B29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222808FD-ACDC-CC7C-8644-923BBD07B29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20" name="Chart 19">
            <a:extLst>
              <a:ext uri="{FF2B5EF4-FFF2-40B4-BE49-F238E27FC236}">
                <a16:creationId xmlns:a16="http://schemas.microsoft.com/office/drawing/2014/main" id="{B1FE0159-4E62-4A93-B376-F25F0DD097D3}"/>
              </a:ext>
            </a:extLst>
          </p:cNvPr>
          <p:cNvGraphicFramePr/>
          <p:nvPr>
            <p:extLst>
              <p:ext uri="{D42A27DB-BD31-4B8C-83A1-F6EECF244321}">
                <p14:modId xmlns:p14="http://schemas.microsoft.com/office/powerpoint/2010/main" val="2436148082"/>
              </p:ext>
            </p:extLst>
          </p:nvPr>
        </p:nvGraphicFramePr>
        <p:xfrm>
          <a:off x="540000" y="1133639"/>
          <a:ext cx="8100000" cy="3509669"/>
        </p:xfrm>
        <a:graphic>
          <a:graphicData uri="http://schemas.openxmlformats.org/drawingml/2006/chart">
            <c:chart xmlns:c="http://schemas.openxmlformats.org/drawingml/2006/chart" xmlns:r="http://schemas.openxmlformats.org/officeDocument/2006/relationships" r:id="rId6"/>
          </a:graphicData>
        </a:graphic>
      </p:graphicFrame>
      <p:sp>
        <p:nvSpPr>
          <p:cNvPr id="18" name="Date Placeholder 17">
            <a:extLst>
              <a:ext uri="{FF2B5EF4-FFF2-40B4-BE49-F238E27FC236}">
                <a16:creationId xmlns:a16="http://schemas.microsoft.com/office/drawing/2014/main" id="{C1C06F40-5A22-69B8-A694-546E63E1BA0C}"/>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2D21337-F382-4FF4-BA40-ECEC8B4CA4A3}"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1" name="Footer Placeholder 20">
            <a:extLst>
              <a:ext uri="{FF2B5EF4-FFF2-40B4-BE49-F238E27FC236}">
                <a16:creationId xmlns:a16="http://schemas.microsoft.com/office/drawing/2014/main" id="{FBEB295B-B94A-FD99-99F9-D5E99E11858A}"/>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9" name="Slide Number Placeholder 18">
            <a:extLst>
              <a:ext uri="{FF2B5EF4-FFF2-40B4-BE49-F238E27FC236}">
                <a16:creationId xmlns:a16="http://schemas.microsoft.com/office/drawing/2014/main" id="{7E74166E-6986-24E0-FE60-F1092A45D18E}"/>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3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10" name="Text Placeholder 9">
            <a:extLst>
              <a:ext uri="{FF2B5EF4-FFF2-40B4-BE49-F238E27FC236}">
                <a16:creationId xmlns:a16="http://schemas.microsoft.com/office/drawing/2014/main" id="{234ADF96-6FB1-4D58-8B54-873D4F64F33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Content Placeholder 1">
            <a:extLst>
              <a:ext uri="{FF2B5EF4-FFF2-40B4-BE49-F238E27FC236}">
                <a16:creationId xmlns:a16="http://schemas.microsoft.com/office/drawing/2014/main" id="{130C05D2-CF04-4DA4-82C4-9E265F94F028}"/>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by brand | Razors | P12M</a:t>
            </a:r>
          </a:p>
        </p:txBody>
      </p:sp>
      <p:sp>
        <p:nvSpPr>
          <p:cNvPr id="17" name="Title 16">
            <a:extLst>
              <a:ext uri="{FF2B5EF4-FFF2-40B4-BE49-F238E27FC236}">
                <a16:creationId xmlns:a16="http://schemas.microsoft.com/office/drawing/2014/main" id="{4F16EBB1-4C79-4A6F-8868-FA7F8505744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by retailer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4" name="TextBox 13">
            <a:extLst>
              <a:ext uri="{FF2B5EF4-FFF2-40B4-BE49-F238E27FC236}">
                <a16:creationId xmlns:a16="http://schemas.microsoft.com/office/drawing/2014/main" id="{B849EA39-EC71-4F3C-B69E-269019A3BE69}"/>
              </a:ext>
            </a:extLst>
          </p:cNvPr>
          <p:cNvSpPr txBox="1"/>
          <p:nvPr/>
        </p:nvSpPr>
        <p:spPr>
          <a:xfrm>
            <a:off x="546969" y="1143000"/>
            <a:ext cx="2019790" cy="24622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Bubble size by Promo sales</a:t>
            </a:r>
            <a:endParaRPr kumimoji="0" lang="en-CH"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endParaRPr>
          </a:p>
        </p:txBody>
      </p:sp>
      <p:graphicFrame>
        <p:nvGraphicFramePr>
          <p:cNvPr id="5" name="Table 5">
            <a:extLst>
              <a:ext uri="{FF2B5EF4-FFF2-40B4-BE49-F238E27FC236}">
                <a16:creationId xmlns:a16="http://schemas.microsoft.com/office/drawing/2014/main" id="{5519C780-DF17-D565-38D2-E69BBF4F5C8A}"/>
              </a:ext>
            </a:extLst>
          </p:cNvPr>
          <p:cNvGraphicFramePr>
            <a:graphicFrameLocks noGrp="1"/>
          </p:cNvGraphicFramePr>
          <p:nvPr/>
        </p:nvGraphicFramePr>
        <p:xfrm>
          <a:off x="1525055" y="4454629"/>
          <a:ext cx="6815298" cy="434340"/>
        </p:xfrm>
        <a:graphic>
          <a:graphicData uri="http://schemas.openxmlformats.org/drawingml/2006/table">
            <a:tbl>
              <a:tblPr firstRow="1" bandRow="1">
                <a:tableStyleId>{5C22544A-7EE6-4342-B048-85BDC9FD1C3A}</a:tableStyleId>
              </a:tblPr>
              <a:tblGrid>
                <a:gridCol w="3407649">
                  <a:extLst>
                    <a:ext uri="{9D8B030D-6E8A-4147-A177-3AD203B41FA5}">
                      <a16:colId xmlns:a16="http://schemas.microsoft.com/office/drawing/2014/main" val="826016986"/>
                    </a:ext>
                  </a:extLst>
                </a:gridCol>
                <a:gridCol w="3407649">
                  <a:extLst>
                    <a:ext uri="{9D8B030D-6E8A-4147-A177-3AD203B41FA5}">
                      <a16:colId xmlns:a16="http://schemas.microsoft.com/office/drawing/2014/main" val="2337481629"/>
                    </a:ext>
                  </a:extLst>
                </a:gridCol>
              </a:tblGrid>
              <a:tr h="278130">
                <a:tc>
                  <a:txBody>
                    <a:bodyPr/>
                    <a:lstStyle/>
                    <a:p>
                      <a:pPr algn="ctr">
                        <a:defRPr sz="800" b="0">
                          <a:solidFill>
                            <a:srgbClr val="575555"/>
                          </a:solidFill>
                          <a:latin typeface="Nexa Bold"/>
                        </a:defRPr>
                      </a:pPr>
                      <a:r>
                        <a:rPr sz="800">
                          <a:latin typeface="Nexa Bold"/>
                        </a:rPr>
                        <a:t>Bj's And Sam's</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Walmart</a:t>
                      </a:r>
                    </a:p>
                  </a:txBody>
                  <a:tcPr marL="68580" marR="68580" marT="34290" marB="34290" anchor="ctr">
                    <a:solidFill>
                      <a:schemeClr val="bg1">
                        <a:lumMod val="95000"/>
                      </a:schemeClr>
                    </a:solidFill>
                  </a:tcPr>
                </a:tc>
                <a:extLst>
                  <a:ext uri="{0D108BD9-81ED-4DB2-BD59-A6C34878D82A}">
                    <a16:rowId xmlns:a16="http://schemas.microsoft.com/office/drawing/2014/main" val="43767022"/>
                  </a:ext>
                </a:extLst>
              </a:tr>
            </a:tbl>
          </a:graphicData>
        </a:graphic>
      </p:graphicFrame>
    </p:spTree>
    <p:extLst>
      <p:ext uri="{BB962C8B-B14F-4D97-AF65-F5344CB8AC3E}">
        <p14:creationId xmlns:p14="http://schemas.microsoft.com/office/powerpoint/2010/main" val="4120063786"/>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222808FD-ACDC-CC7C-8644-923BBD07B29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222808FD-ACDC-CC7C-8644-923BBD07B29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20" name="Chart 19">
            <a:extLst>
              <a:ext uri="{FF2B5EF4-FFF2-40B4-BE49-F238E27FC236}">
                <a16:creationId xmlns:a16="http://schemas.microsoft.com/office/drawing/2014/main" id="{B1FE0159-4E62-4A93-B376-F25F0DD097D3}"/>
              </a:ext>
            </a:extLst>
          </p:cNvPr>
          <p:cNvGraphicFramePr/>
          <p:nvPr>
            <p:extLst>
              <p:ext uri="{D42A27DB-BD31-4B8C-83A1-F6EECF244321}">
                <p14:modId xmlns:p14="http://schemas.microsoft.com/office/powerpoint/2010/main" val="2204377411"/>
              </p:ext>
            </p:extLst>
          </p:nvPr>
        </p:nvGraphicFramePr>
        <p:xfrm>
          <a:off x="540000" y="1133639"/>
          <a:ext cx="8100000" cy="3509669"/>
        </p:xfrm>
        <a:graphic>
          <a:graphicData uri="http://schemas.openxmlformats.org/drawingml/2006/chart">
            <c:chart xmlns:c="http://schemas.openxmlformats.org/drawingml/2006/chart" xmlns:r="http://schemas.openxmlformats.org/officeDocument/2006/relationships" r:id="rId6"/>
          </a:graphicData>
        </a:graphic>
      </p:graphicFrame>
      <p:sp>
        <p:nvSpPr>
          <p:cNvPr id="18" name="Date Placeholder 17">
            <a:extLst>
              <a:ext uri="{FF2B5EF4-FFF2-40B4-BE49-F238E27FC236}">
                <a16:creationId xmlns:a16="http://schemas.microsoft.com/office/drawing/2014/main" id="{C1C06F40-5A22-69B8-A694-546E63E1BA0C}"/>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2D21337-F382-4FF4-BA40-ECEC8B4CA4A3}"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1" name="Footer Placeholder 20">
            <a:extLst>
              <a:ext uri="{FF2B5EF4-FFF2-40B4-BE49-F238E27FC236}">
                <a16:creationId xmlns:a16="http://schemas.microsoft.com/office/drawing/2014/main" id="{FBEB295B-B94A-FD99-99F9-D5E99E11858A}"/>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9" name="Slide Number Placeholder 18">
            <a:extLst>
              <a:ext uri="{FF2B5EF4-FFF2-40B4-BE49-F238E27FC236}">
                <a16:creationId xmlns:a16="http://schemas.microsoft.com/office/drawing/2014/main" id="{7E74166E-6986-24E0-FE60-F1092A45D18E}"/>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3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10" name="Text Placeholder 9">
            <a:extLst>
              <a:ext uri="{FF2B5EF4-FFF2-40B4-BE49-F238E27FC236}">
                <a16:creationId xmlns:a16="http://schemas.microsoft.com/office/drawing/2014/main" id="{234ADF96-6FB1-4D58-8B54-873D4F64F338}"/>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 name="Content Placeholder 1">
            <a:extLst>
              <a:ext uri="{FF2B5EF4-FFF2-40B4-BE49-F238E27FC236}">
                <a16:creationId xmlns:a16="http://schemas.microsoft.com/office/drawing/2014/main" id="{130C05D2-CF04-4DA4-82C4-9E265F94F028}"/>
              </a:ext>
            </a:extLst>
          </p:cNvPr>
          <p:cNvSpPr>
            <a:spLocks noGrp="1"/>
          </p:cNvSpPr>
          <p:nvPr>
            <p:ph type="body" sz="quarter" idx="18"/>
          </p:nvPr>
        </p:nvSpPr>
        <p:spPr>
          <a:xfrm>
            <a:off x="503238" y="774000"/>
            <a:ext cx="8136762" cy="360000"/>
          </a:xfrm>
        </p:spPr>
        <p:txBody>
          <a:bodyPr/>
          <a:lstStyle/>
          <a:p>
            <a:pPr>
              <a:defRPr sz="1200">
                <a:latin typeface="Nexa Bold (Headings)"/>
              </a:defRPr>
            </a:pPr>
            <a:r>
              <a:t>Value Uplift by brand | Refills | P12M</a:t>
            </a:r>
          </a:p>
        </p:txBody>
      </p:sp>
      <p:sp>
        <p:nvSpPr>
          <p:cNvPr id="17" name="Title 16">
            <a:extLst>
              <a:ext uri="{FF2B5EF4-FFF2-40B4-BE49-F238E27FC236}">
                <a16:creationId xmlns:a16="http://schemas.microsoft.com/office/drawing/2014/main" id="{4F16EBB1-4C79-4A6F-8868-FA7F8505744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alue uplift by retailer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4" name="TextBox 13">
            <a:extLst>
              <a:ext uri="{FF2B5EF4-FFF2-40B4-BE49-F238E27FC236}">
                <a16:creationId xmlns:a16="http://schemas.microsoft.com/office/drawing/2014/main" id="{B849EA39-EC71-4F3C-B69E-269019A3BE69}"/>
              </a:ext>
            </a:extLst>
          </p:cNvPr>
          <p:cNvSpPr txBox="1"/>
          <p:nvPr/>
        </p:nvSpPr>
        <p:spPr>
          <a:xfrm>
            <a:off x="546969" y="1143000"/>
            <a:ext cx="2019790" cy="24622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Bubble size by Promo sales</a:t>
            </a:r>
            <a:endParaRPr kumimoji="0" lang="en-CH"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endParaRPr>
          </a:p>
        </p:txBody>
      </p:sp>
      <p:graphicFrame>
        <p:nvGraphicFramePr>
          <p:cNvPr id="5" name="Table 5">
            <a:extLst>
              <a:ext uri="{FF2B5EF4-FFF2-40B4-BE49-F238E27FC236}">
                <a16:creationId xmlns:a16="http://schemas.microsoft.com/office/drawing/2014/main" id="{5519C780-DF17-D565-38D2-E69BBF4F5C8A}"/>
              </a:ext>
            </a:extLst>
          </p:cNvPr>
          <p:cNvGraphicFramePr>
            <a:graphicFrameLocks noGrp="1"/>
          </p:cNvGraphicFramePr>
          <p:nvPr/>
        </p:nvGraphicFramePr>
        <p:xfrm>
          <a:off x="1525055" y="4454629"/>
          <a:ext cx="6815298" cy="434340"/>
        </p:xfrm>
        <a:graphic>
          <a:graphicData uri="http://schemas.openxmlformats.org/drawingml/2006/table">
            <a:tbl>
              <a:tblPr firstRow="1" bandRow="1">
                <a:tableStyleId>{5C22544A-7EE6-4342-B048-85BDC9FD1C3A}</a:tableStyleId>
              </a:tblPr>
              <a:tblGrid>
                <a:gridCol w="3407649">
                  <a:extLst>
                    <a:ext uri="{9D8B030D-6E8A-4147-A177-3AD203B41FA5}">
                      <a16:colId xmlns:a16="http://schemas.microsoft.com/office/drawing/2014/main" val="826016986"/>
                    </a:ext>
                  </a:extLst>
                </a:gridCol>
                <a:gridCol w="3407649">
                  <a:extLst>
                    <a:ext uri="{9D8B030D-6E8A-4147-A177-3AD203B41FA5}">
                      <a16:colId xmlns:a16="http://schemas.microsoft.com/office/drawing/2014/main" val="2337481629"/>
                    </a:ext>
                  </a:extLst>
                </a:gridCol>
              </a:tblGrid>
              <a:tr h="278130">
                <a:tc>
                  <a:txBody>
                    <a:bodyPr/>
                    <a:lstStyle/>
                    <a:p>
                      <a:pPr algn="ctr">
                        <a:defRPr sz="800" b="0">
                          <a:solidFill>
                            <a:srgbClr val="575555"/>
                          </a:solidFill>
                          <a:latin typeface="Nexa Bold"/>
                        </a:defRPr>
                      </a:pPr>
                      <a:r>
                        <a:rPr sz="800">
                          <a:latin typeface="Nexa Bold"/>
                        </a:rPr>
                        <a:t>Bj's And Sam's</a:t>
                      </a:r>
                    </a:p>
                  </a:txBody>
                  <a:tcPr marL="68580" marR="68580" marT="34290" marB="34290" anchor="ctr">
                    <a:solidFill>
                      <a:schemeClr val="bg1">
                        <a:lumMod val="95000"/>
                      </a:schemeClr>
                    </a:solidFill>
                  </a:tcPr>
                </a:tc>
                <a:tc>
                  <a:txBody>
                    <a:bodyPr/>
                    <a:lstStyle/>
                    <a:p>
                      <a:pPr algn="ctr">
                        <a:defRPr sz="800" b="0">
                          <a:solidFill>
                            <a:srgbClr val="575555"/>
                          </a:solidFill>
                          <a:latin typeface="Nexa Bold"/>
                        </a:defRPr>
                      </a:pPr>
                      <a:r>
                        <a:rPr sz="800">
                          <a:latin typeface="Nexa Bold"/>
                        </a:rPr>
                        <a:t>Walmart</a:t>
                      </a:r>
                    </a:p>
                  </a:txBody>
                  <a:tcPr marL="68580" marR="68580" marT="34290" marB="34290" anchor="ctr">
                    <a:solidFill>
                      <a:schemeClr val="bg1">
                        <a:lumMod val="95000"/>
                      </a:schemeClr>
                    </a:solidFill>
                  </a:tcPr>
                </a:tc>
                <a:extLst>
                  <a:ext uri="{0D108BD9-81ED-4DB2-BD59-A6C34878D82A}">
                    <a16:rowId xmlns:a16="http://schemas.microsoft.com/office/drawing/2014/main" val="43767022"/>
                  </a:ext>
                </a:extLst>
              </a:tr>
            </a:tbl>
          </a:graphicData>
        </a:graphic>
      </p:graphicFrame>
    </p:spTree>
    <p:extLst>
      <p:ext uri="{BB962C8B-B14F-4D97-AF65-F5344CB8AC3E}">
        <p14:creationId xmlns:p14="http://schemas.microsoft.com/office/powerpoint/2010/main" val="1590491940"/>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8/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2</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Bj's And Sam's | Manual Shave Men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2343600">
                  <a:extLst>
                    <a:ext uri="{9D8B030D-6E8A-4147-A177-3AD203B41FA5}">
                      <a16:colId xmlns:a16="http://schemas.microsoft.com/office/drawing/2014/main" val="2451050549"/>
                    </a:ext>
                  </a:extLst>
                </a:gridCol>
                <a:gridCol w="2343600">
                  <a:extLst>
                    <a:ext uri="{9D8B030D-6E8A-4147-A177-3AD203B41FA5}">
                      <a16:colId xmlns:a16="http://schemas.microsoft.com/office/drawing/2014/main" val="3743842659"/>
                    </a:ext>
                  </a:extLst>
                </a:gridCol>
                <a:gridCol w="2343600">
                  <a:extLst>
                    <a:ext uri="{9D8B030D-6E8A-4147-A177-3AD203B41FA5}">
                      <a16:colId xmlns:a16="http://schemas.microsoft.com/office/drawing/2014/main" val="1716960848"/>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84</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845582204"/>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8/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3</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Walmart | Manual Shave Men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878850">
                  <a:extLst>
                    <a:ext uri="{9D8B030D-6E8A-4147-A177-3AD203B41FA5}">
                      <a16:colId xmlns:a16="http://schemas.microsoft.com/office/drawing/2014/main" val="2451050549"/>
                    </a:ext>
                  </a:extLst>
                </a:gridCol>
                <a:gridCol w="878850">
                  <a:extLst>
                    <a:ext uri="{9D8B030D-6E8A-4147-A177-3AD203B41FA5}">
                      <a16:colId xmlns:a16="http://schemas.microsoft.com/office/drawing/2014/main" val="3743842659"/>
                    </a:ext>
                  </a:extLst>
                </a:gridCol>
                <a:gridCol w="878850">
                  <a:extLst>
                    <a:ext uri="{9D8B030D-6E8A-4147-A177-3AD203B41FA5}">
                      <a16:colId xmlns:a16="http://schemas.microsoft.com/office/drawing/2014/main" val="1716960848"/>
                    </a:ext>
                  </a:extLst>
                </a:gridCol>
                <a:gridCol w="878850">
                  <a:extLst>
                    <a:ext uri="{9D8B030D-6E8A-4147-A177-3AD203B41FA5}">
                      <a16:colId xmlns:a16="http://schemas.microsoft.com/office/drawing/2014/main" val="4242029335"/>
                    </a:ext>
                  </a:extLst>
                </a:gridCol>
                <a:gridCol w="878850">
                  <a:extLst>
                    <a:ext uri="{9D8B030D-6E8A-4147-A177-3AD203B41FA5}">
                      <a16:colId xmlns:a16="http://schemas.microsoft.com/office/drawing/2014/main" val="634327948"/>
                    </a:ext>
                  </a:extLst>
                </a:gridCol>
                <a:gridCol w="878850">
                  <a:extLst>
                    <a:ext uri="{9D8B030D-6E8A-4147-A177-3AD203B41FA5}">
                      <a16:colId xmlns:a16="http://schemas.microsoft.com/office/drawing/2014/main" val="2808580565"/>
                    </a:ext>
                  </a:extLst>
                </a:gridCol>
                <a:gridCol w="878850">
                  <a:extLst>
                    <a:ext uri="{9D8B030D-6E8A-4147-A177-3AD203B41FA5}">
                      <a16:colId xmlns:a16="http://schemas.microsoft.com/office/drawing/2014/main" val="3520163122"/>
                    </a:ext>
                  </a:extLst>
                </a:gridCol>
                <a:gridCol w="878850">
                  <a:extLst>
                    <a:ext uri="{9D8B030D-6E8A-4147-A177-3AD203B41FA5}">
                      <a16:colId xmlns:a16="http://schemas.microsoft.com/office/drawing/2014/main" val="3232700978"/>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72</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67</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8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35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84</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3</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79</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541665675"/>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8/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4</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System | Bj's And Sam'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3515400">
                  <a:extLst>
                    <a:ext uri="{9D8B030D-6E8A-4147-A177-3AD203B41FA5}">
                      <a16:colId xmlns:a16="http://schemas.microsoft.com/office/drawing/2014/main" val="2451050549"/>
                    </a:ext>
                  </a:extLst>
                </a:gridCol>
                <a:gridCol w="3515400">
                  <a:extLst>
                    <a:ext uri="{9D8B030D-6E8A-4147-A177-3AD203B41FA5}">
                      <a16:colId xmlns:a16="http://schemas.microsoft.com/office/drawing/2014/main" val="3743842659"/>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83</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133345794"/>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8/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5</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Disposables | Bj's And Sam'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2343600">
                  <a:extLst>
                    <a:ext uri="{9D8B030D-6E8A-4147-A177-3AD203B41FA5}">
                      <a16:colId xmlns:a16="http://schemas.microsoft.com/office/drawing/2014/main" val="2451050549"/>
                    </a:ext>
                  </a:extLst>
                </a:gridCol>
                <a:gridCol w="2343600">
                  <a:extLst>
                    <a:ext uri="{9D8B030D-6E8A-4147-A177-3AD203B41FA5}">
                      <a16:colId xmlns:a16="http://schemas.microsoft.com/office/drawing/2014/main" val="3743842659"/>
                    </a:ext>
                  </a:extLst>
                </a:gridCol>
                <a:gridCol w="2343600">
                  <a:extLst>
                    <a:ext uri="{9D8B030D-6E8A-4147-A177-3AD203B41FA5}">
                      <a16:colId xmlns:a16="http://schemas.microsoft.com/office/drawing/2014/main" val="1716960848"/>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90</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740513524"/>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8/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6</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System | Walmart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878850">
                  <a:extLst>
                    <a:ext uri="{9D8B030D-6E8A-4147-A177-3AD203B41FA5}">
                      <a16:colId xmlns:a16="http://schemas.microsoft.com/office/drawing/2014/main" val="2451050549"/>
                    </a:ext>
                  </a:extLst>
                </a:gridCol>
                <a:gridCol w="878850">
                  <a:extLst>
                    <a:ext uri="{9D8B030D-6E8A-4147-A177-3AD203B41FA5}">
                      <a16:colId xmlns:a16="http://schemas.microsoft.com/office/drawing/2014/main" val="3743842659"/>
                    </a:ext>
                  </a:extLst>
                </a:gridCol>
                <a:gridCol w="878850">
                  <a:extLst>
                    <a:ext uri="{9D8B030D-6E8A-4147-A177-3AD203B41FA5}">
                      <a16:colId xmlns:a16="http://schemas.microsoft.com/office/drawing/2014/main" val="1716960848"/>
                    </a:ext>
                  </a:extLst>
                </a:gridCol>
                <a:gridCol w="878850">
                  <a:extLst>
                    <a:ext uri="{9D8B030D-6E8A-4147-A177-3AD203B41FA5}">
                      <a16:colId xmlns:a16="http://schemas.microsoft.com/office/drawing/2014/main" val="4242029335"/>
                    </a:ext>
                  </a:extLst>
                </a:gridCol>
                <a:gridCol w="878850">
                  <a:extLst>
                    <a:ext uri="{9D8B030D-6E8A-4147-A177-3AD203B41FA5}">
                      <a16:colId xmlns:a16="http://schemas.microsoft.com/office/drawing/2014/main" val="634327948"/>
                    </a:ext>
                  </a:extLst>
                </a:gridCol>
                <a:gridCol w="878850">
                  <a:extLst>
                    <a:ext uri="{9D8B030D-6E8A-4147-A177-3AD203B41FA5}">
                      <a16:colId xmlns:a16="http://schemas.microsoft.com/office/drawing/2014/main" val="2808580565"/>
                    </a:ext>
                  </a:extLst>
                </a:gridCol>
                <a:gridCol w="878850">
                  <a:extLst>
                    <a:ext uri="{9D8B030D-6E8A-4147-A177-3AD203B41FA5}">
                      <a16:colId xmlns:a16="http://schemas.microsoft.com/office/drawing/2014/main" val="3520163122"/>
                    </a:ext>
                  </a:extLst>
                </a:gridCol>
                <a:gridCol w="878850">
                  <a:extLst>
                    <a:ext uri="{9D8B030D-6E8A-4147-A177-3AD203B41FA5}">
                      <a16:colId xmlns:a16="http://schemas.microsoft.com/office/drawing/2014/main" val="3232700978"/>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86</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09</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44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4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53</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3</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37</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950783148"/>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8/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7</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Disposables | Walmart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1757700">
                  <a:extLst>
                    <a:ext uri="{9D8B030D-6E8A-4147-A177-3AD203B41FA5}">
                      <a16:colId xmlns:a16="http://schemas.microsoft.com/office/drawing/2014/main" val="2451050549"/>
                    </a:ext>
                  </a:extLst>
                </a:gridCol>
                <a:gridCol w="1757700">
                  <a:extLst>
                    <a:ext uri="{9D8B030D-6E8A-4147-A177-3AD203B41FA5}">
                      <a16:colId xmlns:a16="http://schemas.microsoft.com/office/drawing/2014/main" val="3743842659"/>
                    </a:ext>
                  </a:extLst>
                </a:gridCol>
                <a:gridCol w="1757700">
                  <a:extLst>
                    <a:ext uri="{9D8B030D-6E8A-4147-A177-3AD203B41FA5}">
                      <a16:colId xmlns:a16="http://schemas.microsoft.com/office/drawing/2014/main" val="1716960848"/>
                    </a:ext>
                  </a:extLst>
                </a:gridCol>
                <a:gridCol w="1757700">
                  <a:extLst>
                    <a:ext uri="{9D8B030D-6E8A-4147-A177-3AD203B41FA5}">
                      <a16:colId xmlns:a16="http://schemas.microsoft.com/office/drawing/2014/main" val="4242029335"/>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2</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7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37</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348</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84087970"/>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8/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8</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Disposables | Bj's And Sam'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2343600">
                  <a:extLst>
                    <a:ext uri="{9D8B030D-6E8A-4147-A177-3AD203B41FA5}">
                      <a16:colId xmlns:a16="http://schemas.microsoft.com/office/drawing/2014/main" val="2451050549"/>
                    </a:ext>
                  </a:extLst>
                </a:gridCol>
                <a:gridCol w="2343600">
                  <a:extLst>
                    <a:ext uri="{9D8B030D-6E8A-4147-A177-3AD203B41FA5}">
                      <a16:colId xmlns:a16="http://schemas.microsoft.com/office/drawing/2014/main" val="3743842659"/>
                    </a:ext>
                  </a:extLst>
                </a:gridCol>
                <a:gridCol w="2343600">
                  <a:extLst>
                    <a:ext uri="{9D8B030D-6E8A-4147-A177-3AD203B41FA5}">
                      <a16:colId xmlns:a16="http://schemas.microsoft.com/office/drawing/2014/main" val="1716960848"/>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0</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90</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812303432"/>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8/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9</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Disposables | Walmart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1757700">
                  <a:extLst>
                    <a:ext uri="{9D8B030D-6E8A-4147-A177-3AD203B41FA5}">
                      <a16:colId xmlns:a16="http://schemas.microsoft.com/office/drawing/2014/main" val="2451050549"/>
                    </a:ext>
                  </a:extLst>
                </a:gridCol>
                <a:gridCol w="1757700">
                  <a:extLst>
                    <a:ext uri="{9D8B030D-6E8A-4147-A177-3AD203B41FA5}">
                      <a16:colId xmlns:a16="http://schemas.microsoft.com/office/drawing/2014/main" val="3743842659"/>
                    </a:ext>
                  </a:extLst>
                </a:gridCol>
                <a:gridCol w="1757700">
                  <a:extLst>
                    <a:ext uri="{9D8B030D-6E8A-4147-A177-3AD203B41FA5}">
                      <a16:colId xmlns:a16="http://schemas.microsoft.com/office/drawing/2014/main" val="1716960848"/>
                    </a:ext>
                  </a:extLst>
                </a:gridCol>
                <a:gridCol w="1757700">
                  <a:extLst>
                    <a:ext uri="{9D8B030D-6E8A-4147-A177-3AD203B41FA5}">
                      <a16:colId xmlns:a16="http://schemas.microsoft.com/office/drawing/2014/main" val="4242029335"/>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2</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7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37</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348</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93983686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8/18/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Uplift vs discount depth | By Product | Walmart | Manual Shave Men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1899988647"/>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846807612"/>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8/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0</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Razors | Bj's And Sam'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3515400">
                  <a:extLst>
                    <a:ext uri="{9D8B030D-6E8A-4147-A177-3AD203B41FA5}">
                      <a16:colId xmlns:a16="http://schemas.microsoft.com/office/drawing/2014/main" val="2451050549"/>
                    </a:ext>
                  </a:extLst>
                </a:gridCol>
                <a:gridCol w="3515400">
                  <a:extLst>
                    <a:ext uri="{9D8B030D-6E8A-4147-A177-3AD203B41FA5}">
                      <a16:colId xmlns:a16="http://schemas.microsoft.com/office/drawing/2014/main" val="3743842659"/>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2</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86</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505896511"/>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8/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1</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Refills | Bj's And Sam's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030800">
                  <a:extLst>
                    <a:ext uri="{9D8B030D-6E8A-4147-A177-3AD203B41FA5}">
                      <a16:colId xmlns:a16="http://schemas.microsoft.com/office/drawing/2014/main" val="2451050549"/>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0</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498929612"/>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8/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2</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Razors | Walmart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1171800">
                  <a:extLst>
                    <a:ext uri="{9D8B030D-6E8A-4147-A177-3AD203B41FA5}">
                      <a16:colId xmlns:a16="http://schemas.microsoft.com/office/drawing/2014/main" val="2451050549"/>
                    </a:ext>
                  </a:extLst>
                </a:gridCol>
                <a:gridCol w="1171800">
                  <a:extLst>
                    <a:ext uri="{9D8B030D-6E8A-4147-A177-3AD203B41FA5}">
                      <a16:colId xmlns:a16="http://schemas.microsoft.com/office/drawing/2014/main" val="3743842659"/>
                    </a:ext>
                  </a:extLst>
                </a:gridCol>
                <a:gridCol w="1171800">
                  <a:extLst>
                    <a:ext uri="{9D8B030D-6E8A-4147-A177-3AD203B41FA5}">
                      <a16:colId xmlns:a16="http://schemas.microsoft.com/office/drawing/2014/main" val="1716960848"/>
                    </a:ext>
                  </a:extLst>
                </a:gridCol>
                <a:gridCol w="1171800">
                  <a:extLst>
                    <a:ext uri="{9D8B030D-6E8A-4147-A177-3AD203B41FA5}">
                      <a16:colId xmlns:a16="http://schemas.microsoft.com/office/drawing/2014/main" val="4242029335"/>
                    </a:ext>
                  </a:extLst>
                </a:gridCol>
                <a:gridCol w="1171800">
                  <a:extLst>
                    <a:ext uri="{9D8B030D-6E8A-4147-A177-3AD203B41FA5}">
                      <a16:colId xmlns:a16="http://schemas.microsoft.com/office/drawing/2014/main" val="634327948"/>
                    </a:ext>
                  </a:extLst>
                </a:gridCol>
                <a:gridCol w="1171800">
                  <a:extLst>
                    <a:ext uri="{9D8B030D-6E8A-4147-A177-3AD203B41FA5}">
                      <a16:colId xmlns:a16="http://schemas.microsoft.com/office/drawing/2014/main" val="2808580565"/>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07</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8</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361</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19</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3</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26</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645424671"/>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8/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3</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Promo Share vs. Fair Share | Refills | Walmart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1171800">
                  <a:extLst>
                    <a:ext uri="{9D8B030D-6E8A-4147-A177-3AD203B41FA5}">
                      <a16:colId xmlns:a16="http://schemas.microsoft.com/office/drawing/2014/main" val="2451050549"/>
                    </a:ext>
                  </a:extLst>
                </a:gridCol>
                <a:gridCol w="1171800">
                  <a:extLst>
                    <a:ext uri="{9D8B030D-6E8A-4147-A177-3AD203B41FA5}">
                      <a16:colId xmlns:a16="http://schemas.microsoft.com/office/drawing/2014/main" val="3743842659"/>
                    </a:ext>
                  </a:extLst>
                </a:gridCol>
                <a:gridCol w="1171800">
                  <a:extLst>
                    <a:ext uri="{9D8B030D-6E8A-4147-A177-3AD203B41FA5}">
                      <a16:colId xmlns:a16="http://schemas.microsoft.com/office/drawing/2014/main" val="1716960848"/>
                    </a:ext>
                  </a:extLst>
                </a:gridCol>
                <a:gridCol w="1171800">
                  <a:extLst>
                    <a:ext uri="{9D8B030D-6E8A-4147-A177-3AD203B41FA5}">
                      <a16:colId xmlns:a16="http://schemas.microsoft.com/office/drawing/2014/main" val="4242029335"/>
                    </a:ext>
                  </a:extLst>
                </a:gridCol>
                <a:gridCol w="1171800">
                  <a:extLst>
                    <a:ext uri="{9D8B030D-6E8A-4147-A177-3AD203B41FA5}">
                      <a16:colId xmlns:a16="http://schemas.microsoft.com/office/drawing/2014/main" val="634327948"/>
                    </a:ext>
                  </a:extLst>
                </a:gridCol>
                <a:gridCol w="1171800">
                  <a:extLst>
                    <a:ext uri="{9D8B030D-6E8A-4147-A177-3AD203B41FA5}">
                      <a16:colId xmlns:a16="http://schemas.microsoft.com/office/drawing/2014/main" val="2808580565"/>
                    </a:ext>
                  </a:extLst>
                </a:gridCol>
              </a:tblGrid>
              <a:tr h="219726">
                <a:tc>
                  <a:txBody>
                    <a:bodyPr/>
                    <a:lstStyle/>
                    <a:p>
                      <a:pPr algn="ctr" fontAlgn="b">
                        <a:defRPr sz="800" b="0"/>
                      </a:pPr>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82</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4</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637</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318</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89</a:t>
                      </a:r>
                    </a:p>
                  </a:txBody>
                  <a:tcPr marL="7144" marR="7144" marT="7144" marB="0" anchor="ctr">
                    <a:solidFill>
                      <a:schemeClr val="bg1">
                        <a:lumMod val="95000"/>
                      </a:schemeClr>
                    </a:solidFill>
                  </a:tcPr>
                </a:tc>
                <a:tc>
                  <a:txBody>
                    <a:bodyPr/>
                    <a:lstStyle/>
                    <a:p>
                      <a:pPr algn="ctr">
                        <a:defRPr sz="800" b="0">
                          <a:solidFill>
                            <a:srgbClr val="575555"/>
                          </a:solidFill>
                          <a:latin typeface="Nexa Book"/>
                        </a:defRPr>
                      </a:pPr>
                      <a:r>
                        <a:t>1</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108673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8/18/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Uplift vs discount depth | By Product | System | Bj's And Sam's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3745390187"/>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75027204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8/18/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Uplift vs discount depth | By Product | Disposables | Bj's And Sam's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3980939161"/>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08445846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8/18/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Uplift vs discount depth | By Product | System | Walmart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1083663807"/>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23828180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8/18/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Uplift vs discount depth | By Product | Disposables | Walmart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1228721726"/>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56598757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8/18/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Uplift vs discount depth | By Product | Disposables | Bj's And Sam's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3363642464"/>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860773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8/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Bj's And Sam's | System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7"/>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1619882">
                <a:tc>
                  <a:txBody>
                    <a:bodyPr/>
                    <a:lstStyle/>
                    <a:p>
                      <a:pPr algn="ctr">
                        <a:defRPr sz="800">
                          <a:latin typeface="Nexa Bold"/>
                        </a:defRPr>
                      </a:pPr>
                      <a:r>
                        <a:t>Gille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417,11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1619882">
                <a:tc>
                  <a:txBody>
                    <a:bodyPr/>
                    <a:lstStyle/>
                    <a:p>
                      <a:pPr algn="ctr">
                        <a:defRPr sz="800">
                          <a:latin typeface="Nexa Bold"/>
                        </a:defRPr>
                      </a:pPr>
                      <a:r>
                        <a:t>Harry'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2,56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91264659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8/18/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Uplift vs discount depth | By Product | Disposables | Walmart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3635354277"/>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80714083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8/18/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Uplift vs discount depth | By Product | Razors | Bj's And Sam's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1812891649"/>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03923701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8/18/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Uplift vs discount depth | By Product | Refills | Bj's And Sam's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1900512574"/>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21966968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8/18/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Uplift vs discount depth | By Product | Razors | Walmart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1952975434"/>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51392912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8/18/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Uplift vs discount depth | By Product | Refills | Walmart | P12M</a:t>
            </a:r>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2704406468"/>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33438903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8/18/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endParaRPr lang="en-US"/>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rPr lang="en-US" dirty="0"/>
              <a:t>Value Uplift vs Promo Efficiency | By Product | Bj's And Sam's | Manual Shave Men | P12M</a:t>
            </a:r>
          </a:p>
          <a:p>
            <a:pPr>
              <a:defRPr sz="1200">
                <a:latin typeface="Nexa Bold (Headings)"/>
              </a:defRPr>
            </a:pPr>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pPr>
              <a:defRPr sz="1600">
                <a:latin typeface="Nexa Bold (Headings)"/>
              </a:defRPr>
            </a:pPr>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48"/>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901762">
                <a:tc>
                  <a:txBody>
                    <a:bodyPr/>
                    <a:lstStyle/>
                    <a:p>
                      <a:pPr algn="ctr">
                        <a:defRPr sz="400">
                          <a:latin typeface="Nexa Book (Body)"/>
                        </a:defRPr>
                      </a:pPr>
                      <a:r>
                        <a:rPr sz="400">
                          <a:latin typeface="Nexa Book (Body)"/>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FUSION 5 5 BLADE REFILL NORMAL 16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31500203"/>
                  </a:ext>
                </a:extLst>
              </a:tr>
              <a:tr h="901762">
                <a:tc>
                  <a:txBody>
                    <a:bodyPr/>
                    <a:lstStyle/>
                    <a:p>
                      <a:pPr algn="ctr">
                        <a:defRPr sz="400">
                          <a:latin typeface="Nexa Book (Body)"/>
                        </a:defRPr>
                      </a:pPr>
                      <a:r>
                        <a:rPr sz="400">
                          <a:latin typeface="Nexa Book (Body)"/>
                        </a:rPr>
                        <a:t>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SENSOR 2 PLUS PIVOT 2 BLADE DISPOSABLE NORMAL 52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76802235"/>
                  </a:ext>
                </a:extLst>
              </a:tr>
              <a:tr h="901762">
                <a:tc>
                  <a:txBody>
                    <a:bodyPr/>
                    <a:lstStyle/>
                    <a:p>
                      <a:pPr algn="ctr">
                        <a:defRPr sz="400">
                          <a:latin typeface="Nexa Book (Body)"/>
                        </a:defRPr>
                      </a:pPr>
                      <a:r>
                        <a:rPr sz="400">
                          <a:latin typeface="Nexa Book (Body)"/>
                        </a:rPr>
                        <a:t>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MACH 3 3 BLADE REFILL NORMAL 20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37404249"/>
                  </a:ext>
                </a:extLst>
              </a:tr>
              <a:tr h="901762">
                <a:tc>
                  <a:txBody>
                    <a:bodyPr/>
                    <a:lstStyle/>
                    <a:p>
                      <a:pPr algn="ctr">
                        <a:defRPr sz="400">
                          <a:latin typeface="Nexa Book (Body)"/>
                        </a:defRPr>
                      </a:pPr>
                      <a:r>
                        <a:rPr sz="400">
                          <a:latin typeface="Nexa Book (Body)"/>
                        </a:rPr>
                        <a:t>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SCHICK XTREME 3 SENSITIVE BLACK GREEN 3 BLADE DISPOSABLE SENSITIVE 20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2987351085"/>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68377588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8/18/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endParaRPr lang="en-US"/>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rPr lang="en-US" dirty="0"/>
              <a:t>Value Uplift vs Promo Efficiency | By Product | Walmart | Manual Shave Men | P12M</a:t>
            </a:r>
          </a:p>
          <a:p>
            <a:pPr>
              <a:defRPr sz="1200">
                <a:latin typeface="Nexa Bold (Headings)"/>
              </a:defRPr>
            </a:pPr>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pPr>
              <a:defRPr sz="1600">
                <a:latin typeface="Nexa Bold (Headings)"/>
              </a:defRPr>
            </a:pPr>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40"/>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225440">
                <a:tc>
                  <a:txBody>
                    <a:bodyPr/>
                    <a:lstStyle/>
                    <a:p>
                      <a:pPr algn="ctr">
                        <a:defRPr sz="400">
                          <a:latin typeface="Nexa Book (Body)"/>
                        </a:defRPr>
                      </a:pPr>
                      <a:r>
                        <a:rPr sz="400">
                          <a:latin typeface="Nexa Book (Body)"/>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FUSION 5 BLACK HOLIDAY GIFT PACK 5 BLADE RAZOR NORMAL 3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56447234"/>
                  </a:ext>
                </a:extLst>
              </a:tr>
              <a:tr h="225440">
                <a:tc>
                  <a:txBody>
                    <a:bodyPr/>
                    <a:lstStyle/>
                    <a:p>
                      <a:pPr algn="ctr">
                        <a:defRPr sz="400">
                          <a:latin typeface="Nexa Book (Body)"/>
                        </a:defRPr>
                      </a:pPr>
                      <a:r>
                        <a:rPr sz="400">
                          <a:latin typeface="Nexa Book (Body)"/>
                        </a:rPr>
                        <a:t>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HYDRO 5 SENSITIVE GRAY HOLIDAY GIFT PACK 5 BLADE RAZOR SENSITIVE 3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27023"/>
                  </a:ext>
                </a:extLst>
              </a:tr>
              <a:tr h="225440">
                <a:tc>
                  <a:txBody>
                    <a:bodyPr/>
                    <a:lstStyle/>
                    <a:p>
                      <a:pPr algn="ctr">
                        <a:defRPr sz="400">
                          <a:latin typeface="Nexa Book (Body)"/>
                        </a:defRPr>
                      </a:pPr>
                      <a:r>
                        <a:rPr sz="400">
                          <a:latin typeface="Nexa Book (Body)"/>
                        </a:rPr>
                        <a:t>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LABS ARCTIC CAMO HOLIDAY GIFT PACK 5 BLADE RAZOR NORMAL 2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68801837"/>
                  </a:ext>
                </a:extLst>
              </a:tr>
              <a:tr h="225440">
                <a:tc>
                  <a:txBody>
                    <a:bodyPr/>
                    <a:lstStyle/>
                    <a:p>
                      <a:pPr algn="ctr">
                        <a:defRPr sz="400">
                          <a:latin typeface="Nexa Book (Body)"/>
                        </a:defRPr>
                      </a:pPr>
                      <a:r>
                        <a:rPr sz="400">
                          <a:latin typeface="Nexa Book (Body)"/>
                        </a:rPr>
                        <a:t>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BIC COMFORT 3 BLACK HOLIDAY GIFT PACK 3 BLADE HYBRID NORMAL 15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30466797"/>
                  </a:ext>
                </a:extLst>
              </a:tr>
              <a:tr h="225440">
                <a:tc>
                  <a:txBody>
                    <a:bodyPr/>
                    <a:lstStyle/>
                    <a:p>
                      <a:pPr algn="ctr">
                        <a:defRPr sz="400">
                          <a:latin typeface="Nexa Book (Body)"/>
                        </a:defRPr>
                      </a:pPr>
                      <a:r>
                        <a:rPr sz="400">
                          <a:latin typeface="Nexa Book (Body)"/>
                        </a:rPr>
                        <a:t>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SCHICK XTREME 3 SENSITIVE GREEN HOLIDAY GIFT PACK 3 BLADE DISPOSABLE SENSITIVE 8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73938335"/>
                  </a:ext>
                </a:extLst>
              </a:tr>
              <a:tr h="225440">
                <a:tc>
                  <a:txBody>
                    <a:bodyPr/>
                    <a:lstStyle/>
                    <a:p>
                      <a:pPr algn="ctr">
                        <a:defRPr sz="400">
                          <a:latin typeface="Nexa Book (Body)"/>
                        </a:defRPr>
                      </a:pPr>
                      <a:r>
                        <a:rPr sz="400">
                          <a:latin typeface="Nexa Book (Body)"/>
                        </a:rPr>
                        <a:t>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BIC FLEX 5 HYBRID BLACK WHITE HOLIDAY GIFT PACK 5 BLADE HYBRID NORMAL 7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43170031"/>
                  </a:ext>
                </a:extLst>
              </a:tr>
              <a:tr h="225440">
                <a:tc>
                  <a:txBody>
                    <a:bodyPr/>
                    <a:lstStyle/>
                    <a:p>
                      <a:pPr algn="ctr">
                        <a:defRPr sz="400">
                          <a:latin typeface="Nexa Book (Body)"/>
                        </a:defRPr>
                      </a:pPr>
                      <a:r>
                        <a:rPr sz="400">
                          <a:latin typeface="Nexa Book (Body)"/>
                        </a:rPr>
                        <a:t>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LABS 5 BLADE RAZOR NORMAL 1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48716760"/>
                  </a:ext>
                </a:extLst>
              </a:tr>
              <a:tr h="225440">
                <a:tc>
                  <a:txBody>
                    <a:bodyPr/>
                    <a:lstStyle/>
                    <a:p>
                      <a:pPr algn="ctr">
                        <a:defRPr sz="400">
                          <a:latin typeface="Nexa Book (Body)"/>
                        </a:defRPr>
                      </a:pPr>
                      <a:r>
                        <a:rPr sz="400">
                          <a:latin typeface="Nexa Book (Body)"/>
                        </a:rPr>
                        <a:t>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BIC COMFORT 3 HYBRID 3 BLADE HYBRID SENSITIVE 6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25759696"/>
                  </a:ext>
                </a:extLst>
              </a:tr>
              <a:tr h="225440">
                <a:tc>
                  <a:txBody>
                    <a:bodyPr/>
                    <a:lstStyle/>
                    <a:p>
                      <a:pPr algn="ctr">
                        <a:defRPr sz="400">
                          <a:latin typeface="Nexa Book (Body)"/>
                        </a:defRPr>
                      </a:pPr>
                      <a:r>
                        <a:rPr sz="400">
                          <a:latin typeface="Nexa Book (Body)"/>
                        </a:rPr>
                        <a:t>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BIC FLEX 5 WHITE BLACK HOLIDAY GIFT PACK 5 BLADE DISPOSABLE NORMAL 6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88487155"/>
                  </a:ext>
                </a:extLst>
              </a:tr>
              <a:tr h="225440">
                <a:tc>
                  <a:txBody>
                    <a:bodyPr/>
                    <a:lstStyle/>
                    <a:p>
                      <a:pPr algn="ctr">
                        <a:defRPr sz="400">
                          <a:latin typeface="Nexa Book (Body)"/>
                        </a:defRPr>
                      </a:pPr>
                      <a:r>
                        <a:rPr sz="400">
                          <a:latin typeface="Nexa Book (Body)"/>
                        </a:rPr>
                        <a:t>1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FUSION 5 PROGLIDE 5 BLADE RAZOR NORMAL 4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51853753"/>
                  </a:ext>
                </a:extLst>
              </a:tr>
              <a:tr h="225440">
                <a:tc>
                  <a:txBody>
                    <a:bodyPr/>
                    <a:lstStyle/>
                    <a:p>
                      <a:pPr algn="ctr">
                        <a:defRPr sz="400">
                          <a:latin typeface="Nexa Book (Body)"/>
                        </a:defRPr>
                      </a:pPr>
                      <a:r>
                        <a:rPr sz="400">
                          <a:latin typeface="Nexa Book (Body)"/>
                        </a:rPr>
                        <a:t>1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BIC FLEX 3 3 BLADE DISPOSABLE NORMAL 2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94004136"/>
                  </a:ext>
                </a:extLst>
              </a:tr>
              <a:tr h="225440">
                <a:tc>
                  <a:txBody>
                    <a:bodyPr/>
                    <a:lstStyle/>
                    <a:p>
                      <a:pPr algn="ctr">
                        <a:defRPr sz="400">
                          <a:latin typeface="Nexa Book (Body)"/>
                        </a:defRPr>
                      </a:pPr>
                      <a:r>
                        <a:rPr sz="400">
                          <a:latin typeface="Nexa Book (Body)"/>
                        </a:rPr>
                        <a:t>1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SCHICK XTREME 3 SENSITIVE GREEN 3 BLADE DISPOSABLE SENSITIVE 8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695749"/>
                  </a:ext>
                </a:extLst>
              </a:tr>
              <a:tr h="225440">
                <a:tc>
                  <a:txBody>
                    <a:bodyPr/>
                    <a:lstStyle/>
                    <a:p>
                      <a:pPr algn="ctr">
                        <a:defRPr sz="400">
                          <a:latin typeface="Nexa Book (Body)"/>
                        </a:defRPr>
                      </a:pPr>
                      <a:r>
                        <a:rPr sz="400">
                          <a:latin typeface="Nexa Book (Body)"/>
                        </a:rPr>
                        <a:t>1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HYDRO 5 SENSITIVE 5 BLADE REFILL SENSITIVE 12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31500203"/>
                  </a:ext>
                </a:extLst>
              </a:tr>
              <a:tr h="225440">
                <a:tc>
                  <a:txBody>
                    <a:bodyPr/>
                    <a:lstStyle/>
                    <a:p>
                      <a:pPr algn="ctr">
                        <a:defRPr sz="400">
                          <a:latin typeface="Nexa Book (Body)"/>
                        </a:defRPr>
                      </a:pPr>
                      <a:r>
                        <a:rPr sz="400">
                          <a:latin typeface="Nexa Book (Body)"/>
                        </a:rPr>
                        <a:t>1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HYDRO 5 SENSITIVE 5 BLADE REFILL SENSITIVE 6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76802235"/>
                  </a:ext>
                </a:extLst>
              </a:tr>
              <a:tr h="225440">
                <a:tc>
                  <a:txBody>
                    <a:bodyPr/>
                    <a:lstStyle/>
                    <a:p>
                      <a:pPr algn="ctr">
                        <a:defRPr sz="400">
                          <a:latin typeface="Nexa Book (Body)"/>
                        </a:defRPr>
                      </a:pPr>
                      <a:r>
                        <a:rPr sz="400">
                          <a:latin typeface="Nexa Book (Body)"/>
                        </a:rPr>
                        <a:t>1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FUSION 5 PROGLIDE 5 BLADE REFILL NORMAL 12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37404249"/>
                  </a:ext>
                </a:extLst>
              </a:tr>
              <a:tr h="225440">
                <a:tc>
                  <a:txBody>
                    <a:bodyPr/>
                    <a:lstStyle/>
                    <a:p>
                      <a:pPr algn="ctr">
                        <a:defRPr sz="400">
                          <a:latin typeface="Nexa Book (Body)"/>
                        </a:defRPr>
                      </a:pPr>
                      <a:r>
                        <a:rPr sz="400">
                          <a:latin typeface="Nexa Book (Body)"/>
                        </a:rPr>
                        <a:t>1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FUSION 5 PROGLIDE 5 BLADE REFILL NORMAL 8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725623524"/>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05884465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8/18/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endParaRPr lang="en-US"/>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rPr lang="en-US" dirty="0"/>
              <a:t>Value Uplift vs Promo Efficiency | By Product | System | Bj's And Sam's | P12M</a:t>
            </a:r>
          </a:p>
          <a:p>
            <a:pPr>
              <a:defRPr sz="1200">
                <a:latin typeface="Nexa Bold (Headings)"/>
              </a:defRPr>
            </a:pPr>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pPr>
              <a:defRPr sz="1600">
                <a:latin typeface="Nexa Bold (Headings)"/>
              </a:defRPr>
            </a:pPr>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50"/>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1803525">
                <a:tc>
                  <a:txBody>
                    <a:bodyPr/>
                    <a:lstStyle/>
                    <a:p>
                      <a:pPr algn="ctr">
                        <a:defRPr sz="400">
                          <a:latin typeface="Nexa Book (Body)"/>
                        </a:defRPr>
                      </a:pPr>
                      <a:r>
                        <a:rPr sz="400">
                          <a:latin typeface="Nexa Book (Body)"/>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FUSION 5 5 BLADE REFILL NORMAL 16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37404249"/>
                  </a:ext>
                </a:extLst>
              </a:tr>
              <a:tr h="1803525">
                <a:tc>
                  <a:txBody>
                    <a:bodyPr/>
                    <a:lstStyle/>
                    <a:p>
                      <a:pPr algn="ctr">
                        <a:defRPr sz="400">
                          <a:latin typeface="Nexa Book (Body)"/>
                        </a:defRPr>
                      </a:pPr>
                      <a:r>
                        <a:rPr sz="400">
                          <a:latin typeface="Nexa Book (Body)"/>
                        </a:rPr>
                        <a:t>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MACH 3 3 BLADE REFILL NORMAL 20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2869199160"/>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418403244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8/18/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endParaRPr lang="en-US"/>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rPr lang="en-US" dirty="0"/>
              <a:t>Value Uplift vs Promo Efficiency | By Product | Disposables | Bj's And Sam's | P12M</a:t>
            </a:r>
          </a:p>
          <a:p>
            <a:pPr>
              <a:defRPr sz="1200">
                <a:latin typeface="Nexa Bold (Headings)"/>
              </a:defRPr>
            </a:pPr>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pPr>
              <a:defRPr sz="1600">
                <a:latin typeface="Nexa Bold (Headings)"/>
              </a:defRPr>
            </a:pPr>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50"/>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3607050">
                <a:tc>
                  <a:txBody>
                    <a:bodyPr/>
                    <a:lstStyle/>
                    <a:p>
                      <a:pPr algn="ctr">
                        <a:defRPr sz="400">
                          <a:latin typeface="Nexa Book (Body)"/>
                        </a:defRPr>
                      </a:pPr>
                      <a:r>
                        <a:rPr sz="400">
                          <a:latin typeface="Nexa Book (Body)"/>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SENSOR 2 PLUS PIVOT 2 BLADE DISPOSABLE NORMAL 52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2479326492"/>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05975722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8/18/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endParaRPr lang="en-US"/>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rPr lang="en-US" dirty="0"/>
              <a:t>Value Uplift vs Promo Efficiency | By Product | System | Walmart | P12M</a:t>
            </a:r>
          </a:p>
          <a:p>
            <a:pPr>
              <a:defRPr sz="1200">
                <a:latin typeface="Nexa Bold (Headings)"/>
              </a:defRPr>
            </a:pPr>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pPr>
              <a:defRPr sz="1600">
                <a:latin typeface="Nexa Bold (Headings)"/>
              </a:defRPr>
            </a:pPr>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44"/>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300587">
                <a:tc>
                  <a:txBody>
                    <a:bodyPr/>
                    <a:lstStyle/>
                    <a:p>
                      <a:pPr algn="ctr">
                        <a:defRPr sz="400">
                          <a:latin typeface="Nexa Book (Body)"/>
                        </a:defRPr>
                      </a:pPr>
                      <a:r>
                        <a:rPr sz="400">
                          <a:latin typeface="Nexa Book (Body)"/>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FUSION 5 BLACK HOLIDAY GIFT PACK 5 BLADE RAZOR NORMAL 3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73938335"/>
                  </a:ext>
                </a:extLst>
              </a:tr>
              <a:tr h="300587">
                <a:tc>
                  <a:txBody>
                    <a:bodyPr/>
                    <a:lstStyle/>
                    <a:p>
                      <a:pPr algn="ctr">
                        <a:defRPr sz="400">
                          <a:latin typeface="Nexa Book (Body)"/>
                        </a:defRPr>
                      </a:pPr>
                      <a:r>
                        <a:rPr sz="400">
                          <a:latin typeface="Nexa Book (Body)"/>
                        </a:rPr>
                        <a:t>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HYDRO 5 SENSITIVE GRAY HOLIDAY GIFT PACK 5 BLADE RAZOR SENSITIVE 3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43170031"/>
                  </a:ext>
                </a:extLst>
              </a:tr>
              <a:tr h="300587">
                <a:tc>
                  <a:txBody>
                    <a:bodyPr/>
                    <a:lstStyle/>
                    <a:p>
                      <a:pPr algn="ctr">
                        <a:defRPr sz="400">
                          <a:latin typeface="Nexa Book (Body)"/>
                        </a:defRPr>
                      </a:pPr>
                      <a:r>
                        <a:rPr sz="400">
                          <a:latin typeface="Nexa Book (Body)"/>
                        </a:rPr>
                        <a:t>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LABS ARCTIC CAMO HOLIDAY GIFT PACK 5 BLADE RAZOR NORMAL 2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48716760"/>
                  </a:ext>
                </a:extLst>
              </a:tr>
              <a:tr h="300587">
                <a:tc>
                  <a:txBody>
                    <a:bodyPr/>
                    <a:lstStyle/>
                    <a:p>
                      <a:pPr algn="ctr">
                        <a:defRPr sz="400">
                          <a:latin typeface="Nexa Book (Body)"/>
                        </a:defRPr>
                      </a:pPr>
                      <a:r>
                        <a:rPr sz="400">
                          <a:latin typeface="Nexa Book (Body)"/>
                        </a:rPr>
                        <a:t>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BIC COMFORT 3 BLACK HOLIDAY GIFT PACK 3 BLADE HYBRID NORMAL 15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25759696"/>
                  </a:ext>
                </a:extLst>
              </a:tr>
              <a:tr h="300587">
                <a:tc>
                  <a:txBody>
                    <a:bodyPr/>
                    <a:lstStyle/>
                    <a:p>
                      <a:pPr algn="ctr">
                        <a:defRPr sz="400">
                          <a:latin typeface="Nexa Book (Body)"/>
                        </a:defRPr>
                      </a:pPr>
                      <a:r>
                        <a:rPr sz="400">
                          <a:latin typeface="Nexa Book (Body)"/>
                        </a:rPr>
                        <a:t>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BIC FLEX 5 HYBRID BLACK WHITE HOLIDAY GIFT PACK 5 BLADE HYBRID NORMAL 7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88487155"/>
                  </a:ext>
                </a:extLst>
              </a:tr>
              <a:tr h="300587">
                <a:tc>
                  <a:txBody>
                    <a:bodyPr/>
                    <a:lstStyle/>
                    <a:p>
                      <a:pPr algn="ctr">
                        <a:defRPr sz="400">
                          <a:latin typeface="Nexa Book (Body)"/>
                        </a:defRPr>
                      </a:pPr>
                      <a:r>
                        <a:rPr sz="400">
                          <a:latin typeface="Nexa Book (Body)"/>
                        </a:rPr>
                        <a:t>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LABS 5 BLADE RAZOR NORMAL 1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51853753"/>
                  </a:ext>
                </a:extLst>
              </a:tr>
              <a:tr h="300587">
                <a:tc>
                  <a:txBody>
                    <a:bodyPr/>
                    <a:lstStyle/>
                    <a:p>
                      <a:pPr algn="ctr">
                        <a:defRPr sz="400">
                          <a:latin typeface="Nexa Book (Body)"/>
                        </a:defRPr>
                      </a:pPr>
                      <a:r>
                        <a:rPr sz="400">
                          <a:latin typeface="Nexa Book (Body)"/>
                        </a:rPr>
                        <a:t>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BIC COMFORT 3 HYBRID 3 BLADE HYBRID SENSITIVE 6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94004136"/>
                  </a:ext>
                </a:extLst>
              </a:tr>
              <a:tr h="300587">
                <a:tc>
                  <a:txBody>
                    <a:bodyPr/>
                    <a:lstStyle/>
                    <a:p>
                      <a:pPr algn="ctr">
                        <a:defRPr sz="400">
                          <a:latin typeface="Nexa Book (Body)"/>
                        </a:defRPr>
                      </a:pPr>
                      <a:r>
                        <a:rPr sz="400">
                          <a:latin typeface="Nexa Book (Body)"/>
                        </a:rPr>
                        <a:t>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FUSION 5 PROGLIDE 5 BLADE RAZOR NORMAL 4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695749"/>
                  </a:ext>
                </a:extLst>
              </a:tr>
              <a:tr h="300587">
                <a:tc>
                  <a:txBody>
                    <a:bodyPr/>
                    <a:lstStyle/>
                    <a:p>
                      <a:pPr algn="ctr">
                        <a:defRPr sz="400">
                          <a:latin typeface="Nexa Book (Body)"/>
                        </a:defRPr>
                      </a:pPr>
                      <a:r>
                        <a:rPr sz="400">
                          <a:latin typeface="Nexa Book (Body)"/>
                        </a:rPr>
                        <a:t>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HYDRO 5 SENSITIVE 5 BLADE REFILL SENSITIVE 12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31500203"/>
                  </a:ext>
                </a:extLst>
              </a:tr>
              <a:tr h="300587">
                <a:tc>
                  <a:txBody>
                    <a:bodyPr/>
                    <a:lstStyle/>
                    <a:p>
                      <a:pPr algn="ctr">
                        <a:defRPr sz="400">
                          <a:latin typeface="Nexa Book (Body)"/>
                        </a:defRPr>
                      </a:pPr>
                      <a:r>
                        <a:rPr sz="400">
                          <a:latin typeface="Nexa Book (Body)"/>
                        </a:rPr>
                        <a:t>1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HYDRO 5 SENSITIVE 5 BLADE REFILL SENSITIVE 6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76802235"/>
                  </a:ext>
                </a:extLst>
              </a:tr>
              <a:tr h="300587">
                <a:tc>
                  <a:txBody>
                    <a:bodyPr/>
                    <a:lstStyle/>
                    <a:p>
                      <a:pPr algn="ctr">
                        <a:defRPr sz="400">
                          <a:latin typeface="Nexa Book (Body)"/>
                        </a:defRPr>
                      </a:pPr>
                      <a:r>
                        <a:rPr sz="400">
                          <a:latin typeface="Nexa Book (Body)"/>
                        </a:rPr>
                        <a:t>1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FUSION 5 PROGLIDE 5 BLADE REFILL NORMAL 12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37404249"/>
                  </a:ext>
                </a:extLst>
              </a:tr>
              <a:tr h="300587">
                <a:tc>
                  <a:txBody>
                    <a:bodyPr/>
                    <a:lstStyle/>
                    <a:p>
                      <a:pPr algn="ctr">
                        <a:defRPr sz="400">
                          <a:latin typeface="Nexa Book (Body)"/>
                        </a:defRPr>
                      </a:pPr>
                      <a:r>
                        <a:rPr sz="400">
                          <a:latin typeface="Nexa Book (Body)"/>
                        </a:rPr>
                        <a:t>1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FUSION 5 PROGLIDE 5 BLADE REFILL NORMAL 8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2170559463"/>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64611703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8/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Bj's And Sam's | Disposables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6"/>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1079921">
                <a:tc>
                  <a:txBody>
                    <a:bodyPr/>
                    <a:lstStyle/>
                    <a:p>
                      <a:pPr algn="ctr">
                        <a:defRPr sz="800">
                          <a:latin typeface="Nexa Bold"/>
                        </a:defRPr>
                      </a:pPr>
                      <a:r>
                        <a:t>Gille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68,37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1079921">
                <a:tc>
                  <a:txBody>
                    <a:bodyPr/>
                    <a:lstStyle/>
                    <a:p>
                      <a:pPr algn="ctr">
                        <a:defRPr sz="800">
                          <a:latin typeface="Nexa Bold"/>
                        </a:defRPr>
                      </a:pPr>
                      <a:r>
                        <a:t>Schick</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52,87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1079921">
                <a:tc>
                  <a:txBody>
                    <a:bodyPr/>
                    <a:lstStyle/>
                    <a:p>
                      <a:pPr algn="ctr">
                        <a:defRPr sz="800">
                          <a:latin typeface="Nexa Bold"/>
                        </a:defRPr>
                      </a:pPr>
                      <a:r>
                        <a:t>Bic</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2,45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9351461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8/18/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endParaRPr lang="en-US"/>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rPr lang="en-US" dirty="0"/>
              <a:t>Value Uplift vs Promo Efficiency | By Product | Disposables | Walmart | P12M</a:t>
            </a:r>
          </a:p>
          <a:p>
            <a:pPr>
              <a:defRPr sz="1200">
                <a:latin typeface="Nexa Bold (Headings)"/>
              </a:defRPr>
            </a:pPr>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pPr>
              <a:defRPr sz="1600">
                <a:latin typeface="Nexa Bold (Headings)"/>
              </a:defRPr>
            </a:pPr>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50"/>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721410">
                <a:tc>
                  <a:txBody>
                    <a:bodyPr/>
                    <a:lstStyle/>
                    <a:p>
                      <a:pPr algn="ctr">
                        <a:defRPr sz="400">
                          <a:latin typeface="Nexa Book (Body)"/>
                        </a:defRPr>
                      </a:pPr>
                      <a:r>
                        <a:rPr sz="400">
                          <a:latin typeface="Nexa Book (Body)"/>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SCHICK XTREME 3 SENSITIVE GREEN HOLIDAY GIFT PACK 3 BLADE DISPOSABLE SENSITIVE 8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695749"/>
                  </a:ext>
                </a:extLst>
              </a:tr>
              <a:tr h="721410">
                <a:tc>
                  <a:txBody>
                    <a:bodyPr/>
                    <a:lstStyle/>
                    <a:p>
                      <a:pPr algn="ctr">
                        <a:defRPr sz="400">
                          <a:latin typeface="Nexa Book (Body)"/>
                        </a:defRPr>
                      </a:pPr>
                      <a:r>
                        <a:rPr sz="400">
                          <a:latin typeface="Nexa Book (Body)"/>
                        </a:rPr>
                        <a:t>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BIC FLEX 5 WHITE BLACK HOLIDAY GIFT PACK 5 BLADE DISPOSABLE NORMAL 6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31500203"/>
                  </a:ext>
                </a:extLst>
              </a:tr>
              <a:tr h="721410">
                <a:tc>
                  <a:txBody>
                    <a:bodyPr/>
                    <a:lstStyle/>
                    <a:p>
                      <a:pPr algn="ctr">
                        <a:defRPr sz="400">
                          <a:latin typeface="Nexa Book (Body)"/>
                        </a:defRPr>
                      </a:pPr>
                      <a:r>
                        <a:rPr sz="400">
                          <a:latin typeface="Nexa Book (Body)"/>
                        </a:rPr>
                        <a:t>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BIC FLEX 3 3 BLADE DISPOSABLE NORMAL 2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76802235"/>
                  </a:ext>
                </a:extLst>
              </a:tr>
              <a:tr h="721410">
                <a:tc>
                  <a:txBody>
                    <a:bodyPr/>
                    <a:lstStyle/>
                    <a:p>
                      <a:pPr algn="ctr">
                        <a:defRPr sz="400">
                          <a:latin typeface="Nexa Book (Body)"/>
                        </a:defRPr>
                      </a:pPr>
                      <a:r>
                        <a:rPr sz="400">
                          <a:latin typeface="Nexa Book (Body)"/>
                        </a:rPr>
                        <a:t>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SCHICK XTREME 3 SENSITIVE GREEN 3 BLADE DISPOSABLE SENSITIVE 8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37404249"/>
                  </a:ext>
                </a:extLst>
              </a:tr>
              <a:tr h="721410">
                <a:tc>
                  <a:txBody>
                    <a:bodyPr/>
                    <a:lstStyle/>
                    <a:p>
                      <a:pPr algn="ctr">
                        <a:defRPr sz="400">
                          <a:latin typeface="Nexa Book (Body)"/>
                        </a:defRPr>
                      </a:pPr>
                      <a:r>
                        <a:rPr sz="400">
                          <a:latin typeface="Nexa Book (Body)"/>
                        </a:rPr>
                        <a:t>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SCHICK XTREME 3 SENSITIVE BLACK 3 BLADE DISPOSABLE SENSITIVE 4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3273414224"/>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01839913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8/18/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endParaRPr lang="en-US"/>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rPr lang="en-US" dirty="0"/>
              <a:t>Value Uplift vs Promo Efficiency | By Product | Disposables | Bj's And Sam's | P12M</a:t>
            </a:r>
          </a:p>
          <a:p>
            <a:pPr>
              <a:defRPr sz="1200">
                <a:latin typeface="Nexa Bold (Headings)"/>
              </a:defRPr>
            </a:pPr>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pPr>
              <a:defRPr sz="1600">
                <a:latin typeface="Nexa Bold (Headings)"/>
              </a:defRPr>
            </a:pPr>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50"/>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3607050">
                <a:tc>
                  <a:txBody>
                    <a:bodyPr/>
                    <a:lstStyle/>
                    <a:p>
                      <a:pPr algn="ctr">
                        <a:defRPr sz="400">
                          <a:latin typeface="Nexa Book (Body)"/>
                        </a:defRPr>
                      </a:pPr>
                      <a:r>
                        <a:rPr sz="400">
                          <a:latin typeface="Nexa Book (Body)"/>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SENSOR 2 PLUS PIVOT 2 BLADE DISPOSABLE NORMAL 52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2580421695"/>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51603664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8/18/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endParaRPr lang="en-US"/>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rPr lang="en-US" dirty="0"/>
              <a:t>Value Uplift vs Promo Efficiency | By Product | Disposables | Walmart | P12M</a:t>
            </a:r>
          </a:p>
          <a:p>
            <a:pPr>
              <a:defRPr sz="1200">
                <a:latin typeface="Nexa Bold (Headings)"/>
              </a:defRPr>
            </a:pPr>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pPr>
              <a:defRPr sz="1600">
                <a:latin typeface="Nexa Bold (Headings)"/>
              </a:defRPr>
            </a:pPr>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50"/>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721410">
                <a:tc>
                  <a:txBody>
                    <a:bodyPr/>
                    <a:lstStyle/>
                    <a:p>
                      <a:pPr algn="ctr">
                        <a:defRPr sz="400">
                          <a:latin typeface="Nexa Book (Body)"/>
                        </a:defRPr>
                      </a:pPr>
                      <a:r>
                        <a:rPr sz="400">
                          <a:latin typeface="Nexa Book (Body)"/>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SCHICK XTREME 3 SENSITIVE GREEN HOLIDAY GIFT PACK 3 BLADE DISPOSABLE SENSITIVE 8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695749"/>
                  </a:ext>
                </a:extLst>
              </a:tr>
              <a:tr h="721410">
                <a:tc>
                  <a:txBody>
                    <a:bodyPr/>
                    <a:lstStyle/>
                    <a:p>
                      <a:pPr algn="ctr">
                        <a:defRPr sz="400">
                          <a:latin typeface="Nexa Book (Body)"/>
                        </a:defRPr>
                      </a:pPr>
                      <a:r>
                        <a:rPr sz="400">
                          <a:latin typeface="Nexa Book (Body)"/>
                        </a:rPr>
                        <a:t>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BIC FLEX 5 WHITE BLACK HOLIDAY GIFT PACK 5 BLADE DISPOSABLE NORMAL 6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31500203"/>
                  </a:ext>
                </a:extLst>
              </a:tr>
              <a:tr h="721410">
                <a:tc>
                  <a:txBody>
                    <a:bodyPr/>
                    <a:lstStyle/>
                    <a:p>
                      <a:pPr algn="ctr">
                        <a:defRPr sz="400">
                          <a:latin typeface="Nexa Book (Body)"/>
                        </a:defRPr>
                      </a:pPr>
                      <a:r>
                        <a:rPr sz="400">
                          <a:latin typeface="Nexa Book (Body)"/>
                        </a:rPr>
                        <a:t>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BIC FLEX 3 3 BLADE DISPOSABLE NORMAL 2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76802235"/>
                  </a:ext>
                </a:extLst>
              </a:tr>
              <a:tr h="721410">
                <a:tc>
                  <a:txBody>
                    <a:bodyPr/>
                    <a:lstStyle/>
                    <a:p>
                      <a:pPr algn="ctr">
                        <a:defRPr sz="400">
                          <a:latin typeface="Nexa Book (Body)"/>
                        </a:defRPr>
                      </a:pPr>
                      <a:r>
                        <a:rPr sz="400">
                          <a:latin typeface="Nexa Book (Body)"/>
                        </a:rPr>
                        <a:t>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SCHICK XTREME 3 SENSITIVE GREEN 3 BLADE DISPOSABLE SENSITIVE 8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37404249"/>
                  </a:ext>
                </a:extLst>
              </a:tr>
              <a:tr h="721410">
                <a:tc>
                  <a:txBody>
                    <a:bodyPr/>
                    <a:lstStyle/>
                    <a:p>
                      <a:pPr algn="ctr">
                        <a:defRPr sz="400">
                          <a:latin typeface="Nexa Book (Body)"/>
                        </a:defRPr>
                      </a:pPr>
                      <a:r>
                        <a:rPr sz="400">
                          <a:latin typeface="Nexa Book (Body)"/>
                        </a:rPr>
                        <a:t>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SCHICK XTREME 3 SENSITIVE BLACK 3 BLADE DISPOSABLE SENSITIVE 4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157238203"/>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26040280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8/18/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endParaRPr lang="en-US"/>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rPr lang="en-US" dirty="0"/>
              <a:t>Value Uplift vs Promo Efficiency | By Product | Razors | Bj's And Sam's | P12M</a:t>
            </a:r>
          </a:p>
          <a:p>
            <a:pPr>
              <a:defRPr sz="1200">
                <a:latin typeface="Nexa Bold (Headings)"/>
              </a:defRPr>
            </a:pPr>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pPr>
              <a:defRPr sz="1600">
                <a:latin typeface="Nexa Bold (Headings)"/>
              </a:defRPr>
            </a:pPr>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50"/>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3607050">
                <a:tc>
                  <a:txBody>
                    <a:bodyPr/>
                    <a:lstStyle/>
                    <a:p>
                      <a:pPr algn="ctr">
                        <a:defRPr sz="400">
                          <a:latin typeface="Nexa Book (Body)"/>
                        </a:defRPr>
                      </a:pPr>
                      <a:r>
                        <a:rPr sz="400">
                          <a:latin typeface="Nexa Book (Body)"/>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FUSION 5 PROGLIDE 5 BLADE RAZOR NORMAL 13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933542656"/>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70721090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8/18/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endParaRPr lang="en-US"/>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rPr lang="en-US" dirty="0"/>
              <a:t>Value Uplift vs Promo Efficiency | By Product | Refills | Bj's And Sam's | P12M</a:t>
            </a:r>
          </a:p>
          <a:p>
            <a:pPr>
              <a:defRPr sz="1200">
                <a:latin typeface="Nexa Bold (Headings)"/>
              </a:defRPr>
            </a:pPr>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pPr>
              <a:defRPr sz="1600">
                <a:latin typeface="Nexa Bold (Headings)"/>
              </a:defRPr>
            </a:pPr>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50"/>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3607050">
                <a:tc>
                  <a:txBody>
                    <a:bodyPr/>
                    <a:lstStyle/>
                    <a:p>
                      <a:pPr algn="ctr">
                        <a:defRPr sz="400">
                          <a:latin typeface="Nexa Book (Body)"/>
                        </a:defRPr>
                      </a:pPr>
                      <a:r>
                        <a:rPr sz="400">
                          <a:latin typeface="Nexa Book (Body)"/>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FUSION 5 5 BLADE REFILL NORMAL 16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1947915188"/>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421869891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8/18/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endParaRPr lang="en-US"/>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rPr lang="en-US" dirty="0"/>
              <a:t>Value Uplift vs Promo Efficiency | By Product | Razors | Walmart | P12M</a:t>
            </a:r>
          </a:p>
          <a:p>
            <a:pPr>
              <a:defRPr sz="1200">
                <a:latin typeface="Nexa Bold (Headings)"/>
              </a:defRPr>
            </a:pPr>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pPr>
              <a:defRPr sz="1600">
                <a:latin typeface="Nexa Bold (Headings)"/>
              </a:defRPr>
            </a:pPr>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50"/>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721410">
                <a:tc>
                  <a:txBody>
                    <a:bodyPr/>
                    <a:lstStyle/>
                    <a:p>
                      <a:pPr algn="ctr">
                        <a:defRPr sz="400">
                          <a:latin typeface="Nexa Book (Body)"/>
                        </a:defRPr>
                      </a:pPr>
                      <a:r>
                        <a:rPr sz="400">
                          <a:latin typeface="Nexa Book (Body)"/>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FUSION 5 BLACK HOLIDAY GIFT PACK 5 BLADE RAZOR NORMAL 3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695749"/>
                  </a:ext>
                </a:extLst>
              </a:tr>
              <a:tr h="721410">
                <a:tc>
                  <a:txBody>
                    <a:bodyPr/>
                    <a:lstStyle/>
                    <a:p>
                      <a:pPr algn="ctr">
                        <a:defRPr sz="400">
                          <a:latin typeface="Nexa Book (Body)"/>
                        </a:defRPr>
                      </a:pPr>
                      <a:r>
                        <a:rPr sz="400">
                          <a:latin typeface="Nexa Book (Body)"/>
                        </a:rPr>
                        <a:t>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HYDRO 5 SENSITIVE GRAY HOLIDAY GIFT PACK 5 BLADE RAZOR SENSITIVE 3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31500203"/>
                  </a:ext>
                </a:extLst>
              </a:tr>
              <a:tr h="721410">
                <a:tc>
                  <a:txBody>
                    <a:bodyPr/>
                    <a:lstStyle/>
                    <a:p>
                      <a:pPr algn="ctr">
                        <a:defRPr sz="400">
                          <a:latin typeface="Nexa Book (Body)"/>
                        </a:defRPr>
                      </a:pPr>
                      <a:r>
                        <a:rPr sz="400">
                          <a:latin typeface="Nexa Book (Body)"/>
                        </a:rPr>
                        <a:t>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LABS ARCTIC CAMO HOLIDAY GIFT PACK 5 BLADE RAZOR NORMAL 2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76802235"/>
                  </a:ext>
                </a:extLst>
              </a:tr>
              <a:tr h="721410">
                <a:tc>
                  <a:txBody>
                    <a:bodyPr/>
                    <a:lstStyle/>
                    <a:p>
                      <a:pPr algn="ctr">
                        <a:defRPr sz="400">
                          <a:latin typeface="Nexa Book (Body)"/>
                        </a:defRPr>
                      </a:pPr>
                      <a:r>
                        <a:rPr sz="400">
                          <a:latin typeface="Nexa Book (Body)"/>
                        </a:rPr>
                        <a:t>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LABS 5 BLADE RAZOR NORMAL 1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37404249"/>
                  </a:ext>
                </a:extLst>
              </a:tr>
              <a:tr h="721410">
                <a:tc>
                  <a:txBody>
                    <a:bodyPr/>
                    <a:lstStyle/>
                    <a:p>
                      <a:pPr algn="ctr">
                        <a:defRPr sz="400">
                          <a:latin typeface="Nexa Book (Body)"/>
                        </a:defRPr>
                      </a:pPr>
                      <a:r>
                        <a:rPr sz="400">
                          <a:latin typeface="Nexa Book (Body)"/>
                        </a:rPr>
                        <a:t>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FUSION 5 PROGLIDE 5 BLADE RAZOR NORMAL 4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3962802846"/>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46980592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8/18/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endParaRPr lang="en-US"/>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Bold (Headings)"/>
              </a:defRPr>
            </a:pPr>
            <a:r>
              <a:rPr lang="en-US" dirty="0"/>
              <a:t>Value Uplift vs Promo Efficiency | By Product | Refills | Walmart | P12M</a:t>
            </a:r>
          </a:p>
          <a:p>
            <a:pPr>
              <a:defRPr sz="1200">
                <a:latin typeface="Nexa Bold (Headings)"/>
              </a:defRPr>
            </a:pPr>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pPr>
              <a:defRPr sz="1600">
                <a:latin typeface="Nexa Bold (Headings)"/>
              </a:defRPr>
            </a:pPr>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48"/>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901762">
                <a:tc>
                  <a:txBody>
                    <a:bodyPr/>
                    <a:lstStyle/>
                    <a:p>
                      <a:pPr algn="ctr">
                        <a:defRPr sz="400">
                          <a:latin typeface="Nexa Book (Body)"/>
                        </a:defRPr>
                      </a:pPr>
                      <a:r>
                        <a:rPr sz="400">
                          <a:latin typeface="Nexa Book (Body)"/>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HYDRO 5 SENSITIVE 5 BLADE REFILL SENSITIVE 12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31500203"/>
                  </a:ext>
                </a:extLst>
              </a:tr>
              <a:tr h="901762">
                <a:tc>
                  <a:txBody>
                    <a:bodyPr/>
                    <a:lstStyle/>
                    <a:p>
                      <a:pPr algn="ctr">
                        <a:defRPr sz="400">
                          <a:latin typeface="Nexa Book (Body)"/>
                        </a:defRPr>
                      </a:pPr>
                      <a:r>
                        <a:rPr sz="400">
                          <a:latin typeface="Nexa Book (Body)"/>
                        </a:rPr>
                        <a:t>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HYDRO 5 SENSITIVE 5 BLADE REFILL SENSITIVE 6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76802235"/>
                  </a:ext>
                </a:extLst>
              </a:tr>
              <a:tr h="901762">
                <a:tc>
                  <a:txBody>
                    <a:bodyPr/>
                    <a:lstStyle/>
                    <a:p>
                      <a:pPr algn="ctr">
                        <a:defRPr sz="400">
                          <a:latin typeface="Nexa Book (Body)"/>
                        </a:defRPr>
                      </a:pPr>
                      <a:r>
                        <a:rPr sz="400">
                          <a:latin typeface="Nexa Book (Body)"/>
                        </a:rPr>
                        <a:t>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FUSION 5 PROGLIDE 5 BLADE REFILL NORMAL 12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37404249"/>
                  </a:ext>
                </a:extLst>
              </a:tr>
              <a:tr h="901762">
                <a:tc>
                  <a:txBody>
                    <a:bodyPr/>
                    <a:lstStyle/>
                    <a:p>
                      <a:pPr algn="ctr">
                        <a:defRPr sz="400">
                          <a:latin typeface="Nexa Book (Body)"/>
                        </a:defRPr>
                      </a:pPr>
                      <a:r>
                        <a:rPr sz="400">
                          <a:latin typeface="Nexa Book (Body)"/>
                        </a:rPr>
                        <a:t>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sz="400">
                          <a:latin typeface="Nexa Book (Body)"/>
                        </a:defRPr>
                      </a:pPr>
                      <a:r>
                        <a:rPr sz="400">
                          <a:latin typeface="Nexa Book (Body)"/>
                        </a:rPr>
                        <a:t>GILLETTE FUSION 5 PROGLIDE 5 BLADE REFILL NORMAL 8C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1000113461"/>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6048702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8/18/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Manual Shave Men | Bj's And Sam'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810330">
                <a:tc>
                  <a:txBody>
                    <a:bodyPr/>
                    <a:lstStyle/>
                    <a:p>
                      <a:pPr algn="l">
                        <a:defRPr sz="600">
                          <a:latin typeface="Nexa Book"/>
                        </a:defRPr>
                      </a:pPr>
                      <a:r>
                        <a:rPr sz="600">
                          <a:latin typeface="Nexa Book"/>
                        </a:rPr>
                        <a:t>Gillette</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GILLETTE FUSION 5 5 BLADE REFILL NORMAL 16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42.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37.8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5'406'313</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7%</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4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512673</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8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2361446966"/>
                  </a:ext>
                </a:extLst>
              </a:tr>
              <a:tr h="810330">
                <a:tc>
                  <a:txBody>
                    <a:bodyPr/>
                    <a:lstStyle/>
                    <a:p>
                      <a:pPr algn="l">
                        <a:defRPr sz="600">
                          <a:latin typeface="Nexa Book"/>
                        </a:defRPr>
                      </a:pPr>
                      <a:r>
                        <a:rPr sz="600">
                          <a:latin typeface="Nexa Book"/>
                        </a:rPr>
                        <a:t>Gillette</a:t>
                      </a:r>
                    </a:p>
                  </a:txBody>
                  <a:tcPr marL="2858" marR="2858" marT="2858" marB="0" anchor="ctr">
                    <a:noFill/>
                  </a:tcPr>
                </a:tc>
                <a:tc>
                  <a:txBody>
                    <a:bodyPr/>
                    <a:lstStyle/>
                    <a:p>
                      <a:pPr algn="l">
                        <a:defRPr sz="600">
                          <a:latin typeface="Nexa Book"/>
                        </a:defRPr>
                      </a:pPr>
                      <a:r>
                        <a:rPr sz="600">
                          <a:latin typeface="Nexa Book"/>
                        </a:rPr>
                        <a:t>GILLETTE SENSOR 2 PLUS PIVOT 2 BLADE DISPOSABLE NORMAL 52CT</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53%</a:t>
                      </a:r>
                    </a:p>
                  </a:txBody>
                  <a:tcPr marL="2858" marR="2858" marT="2858" marB="0" anchor="ctr">
                    <a:noFill/>
                  </a:tcPr>
                </a:tc>
                <a:tc>
                  <a:txBody>
                    <a:bodyPr/>
                    <a:lstStyle/>
                    <a:p>
                      <a:pPr algn="ctr">
                        <a:defRPr sz="600">
                          <a:latin typeface="Nexa Book"/>
                        </a:defRPr>
                      </a:pPr>
                      <a:r>
                        <a:rPr sz="600">
                          <a:latin typeface="Nexa Book"/>
                        </a:rPr>
                        <a:t> 33.51</a:t>
                      </a:r>
                    </a:p>
                  </a:txBody>
                  <a:tcPr marL="2858" marR="2858" marT="2858" marB="0" anchor="ctr">
                    <a:noFill/>
                  </a:tcPr>
                </a:tc>
                <a:tc>
                  <a:txBody>
                    <a:bodyPr/>
                    <a:lstStyle/>
                    <a:p>
                      <a:pPr algn="ctr">
                        <a:defRPr sz="600">
                          <a:latin typeface="Nexa Book"/>
                        </a:defRPr>
                      </a:pPr>
                      <a:r>
                        <a:rPr sz="600">
                          <a:latin typeface="Nexa Book"/>
                        </a:rPr>
                        <a:t> 30.52</a:t>
                      </a:r>
                    </a:p>
                  </a:txBody>
                  <a:tcPr marL="2858" marR="2858" marT="2858" marB="0" anchor="ctr">
                    <a:noFill/>
                  </a:tcPr>
                </a:tc>
                <a:tc>
                  <a:txBody>
                    <a:bodyPr/>
                    <a:lstStyle/>
                    <a:p>
                      <a:pPr algn="ctr">
                        <a:defRPr sz="600">
                          <a:latin typeface="Nexa Book"/>
                        </a:defRPr>
                      </a:pPr>
                      <a:r>
                        <a:rPr sz="600">
                          <a:latin typeface="Nexa Book"/>
                        </a:rPr>
                        <a:t>8'454'937</a:t>
                      </a:r>
                    </a:p>
                  </a:txBody>
                  <a:tcPr marL="2858" marR="2858" marT="2858" marB="0" anchor="ctr">
                    <a:noFill/>
                  </a:tcPr>
                </a:tc>
                <a:tc>
                  <a:txBody>
                    <a:bodyPr/>
                    <a:lstStyle/>
                    <a:p>
                      <a:pPr algn="ctr">
                        <a:defRPr sz="600">
                          <a:latin typeface="Nexa Book"/>
                        </a:defRPr>
                      </a:pPr>
                      <a:r>
                        <a:rPr sz="600">
                          <a:latin typeface="Nexa Book"/>
                        </a:rPr>
                        <a:t>23%</a:t>
                      </a:r>
                    </a:p>
                  </a:txBody>
                  <a:tcPr marL="2858" marR="2858" marT="2858" marB="0" anchor="ctr">
                    <a:noFill/>
                  </a:tcPr>
                </a:tc>
                <a:tc>
                  <a:txBody>
                    <a:bodyPr/>
                    <a:lstStyle/>
                    <a:p>
                      <a:pPr algn="ctr">
                        <a:defRPr sz="600">
                          <a:latin typeface="Nexa Book"/>
                        </a:defRPr>
                      </a:pPr>
                      <a:r>
                        <a:rPr sz="600">
                          <a:latin typeface="Nexa Book"/>
                        </a:rPr>
                        <a:t>36%</a:t>
                      </a:r>
                    </a:p>
                  </a:txBody>
                  <a:tcPr marL="2858" marR="2858" marT="2858" marB="0" anchor="ctr">
                    <a:noFill/>
                  </a:tcPr>
                </a:tc>
                <a:tc>
                  <a:txBody>
                    <a:bodyPr/>
                    <a:lstStyle/>
                    <a:p>
                      <a:pPr algn="ctr">
                        <a:defRPr sz="600">
                          <a:latin typeface="Nexa Book"/>
                        </a:defRPr>
                      </a:pPr>
                      <a:r>
                        <a:rPr sz="600">
                          <a:latin typeface="Nexa Book"/>
                        </a:rPr>
                        <a:t>1529219</a:t>
                      </a:r>
                    </a:p>
                  </a:txBody>
                  <a:tcPr marL="2858" marR="2858" marT="2858" marB="0" anchor="ctr">
                    <a:noFill/>
                  </a:tcPr>
                </a:tc>
                <a:tc>
                  <a:txBody>
                    <a:bodyPr/>
                    <a:lstStyle/>
                    <a:p>
                      <a:pPr algn="ctr">
                        <a:defRPr sz="600">
                          <a:latin typeface="Nexa Book"/>
                        </a:defRPr>
                      </a:pPr>
                      <a:r>
                        <a:rPr sz="600">
                          <a:latin typeface="Nexa Book"/>
                        </a:rPr>
                        <a:t>19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810330">
                <a:tc>
                  <a:txBody>
                    <a:bodyPr/>
                    <a:lstStyle/>
                    <a:p>
                      <a:pPr algn="l">
                        <a:defRPr sz="600">
                          <a:latin typeface="Nexa Book"/>
                        </a:defRPr>
                      </a:pPr>
                      <a:r>
                        <a:rPr sz="600">
                          <a:latin typeface="Nexa Book"/>
                        </a:rPr>
                        <a:t>Gillette</a:t>
                      </a:r>
                    </a:p>
                  </a:txBody>
                  <a:tcPr marL="2858" marR="2858" marT="2858" marB="0" anchor="ctr">
                    <a:noFill/>
                  </a:tcPr>
                </a:tc>
                <a:tc>
                  <a:txBody>
                    <a:bodyPr/>
                    <a:lstStyle/>
                    <a:p>
                      <a:pPr algn="l">
                        <a:defRPr sz="600">
                          <a:latin typeface="Nexa Book"/>
                        </a:defRPr>
                      </a:pPr>
                      <a:r>
                        <a:rPr sz="600">
                          <a:latin typeface="Nexa Book"/>
                        </a:rPr>
                        <a:t>GILLETTE MACH 3 3 BLADE REFILL NORMAL 20CT</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51%</a:t>
                      </a:r>
                    </a:p>
                  </a:txBody>
                  <a:tcPr marL="2858" marR="2858" marT="2858" marB="0" anchor="ctr">
                    <a:noFill/>
                  </a:tcPr>
                </a:tc>
                <a:tc>
                  <a:txBody>
                    <a:bodyPr/>
                    <a:lstStyle/>
                    <a:p>
                      <a:pPr algn="ctr">
                        <a:defRPr sz="600">
                          <a:latin typeface="Nexa Book"/>
                        </a:defRPr>
                      </a:pPr>
                      <a:r>
                        <a:rPr sz="600">
                          <a:latin typeface="Nexa Book"/>
                        </a:rPr>
                        <a:t> 39.25</a:t>
                      </a:r>
                    </a:p>
                  </a:txBody>
                  <a:tcPr marL="2858" marR="2858" marT="2858" marB="0" anchor="ctr">
                    <a:noFill/>
                  </a:tcPr>
                </a:tc>
                <a:tc>
                  <a:txBody>
                    <a:bodyPr/>
                    <a:lstStyle/>
                    <a:p>
                      <a:pPr algn="ctr">
                        <a:defRPr sz="600">
                          <a:latin typeface="Nexa Book"/>
                        </a:defRPr>
                      </a:pPr>
                      <a:r>
                        <a:rPr sz="600">
                          <a:latin typeface="Nexa Book"/>
                        </a:rPr>
                        <a:t> 35.36</a:t>
                      </a:r>
                    </a:p>
                  </a:txBody>
                  <a:tcPr marL="2858" marR="2858" marT="2858" marB="0" anchor="ctr">
                    <a:noFill/>
                  </a:tcPr>
                </a:tc>
                <a:tc>
                  <a:txBody>
                    <a:bodyPr/>
                    <a:lstStyle/>
                    <a:p>
                      <a:pPr algn="ctr">
                        <a:defRPr sz="600">
                          <a:latin typeface="Nexa Book"/>
                        </a:defRPr>
                      </a:pPr>
                      <a:r>
                        <a:rPr sz="600">
                          <a:latin typeface="Nexa Book"/>
                        </a:rPr>
                        <a:t>9'284'787</a:t>
                      </a:r>
                    </a:p>
                  </a:txBody>
                  <a:tcPr marL="2858" marR="2858" marT="2858" marB="0" anchor="ctr">
                    <a:noFill/>
                  </a:tcPr>
                </a:tc>
                <a:tc>
                  <a:txBody>
                    <a:bodyPr/>
                    <a:lstStyle/>
                    <a:p>
                      <a:pPr algn="ctr">
                        <a:defRPr sz="600">
                          <a:latin typeface="Nexa Book"/>
                        </a:defRPr>
                      </a:pPr>
                      <a:r>
                        <a:rPr sz="600">
                          <a:latin typeface="Nexa Book"/>
                        </a:rPr>
                        <a:t>18%</a:t>
                      </a:r>
                    </a:p>
                  </a:txBody>
                  <a:tcPr marL="2858" marR="2858" marT="2858" marB="0" anchor="ctr">
                    <a:noFill/>
                  </a:tcPr>
                </a:tc>
                <a:tc>
                  <a:txBody>
                    <a:bodyPr/>
                    <a:lstStyle/>
                    <a:p>
                      <a:pPr algn="ctr">
                        <a:defRPr sz="600">
                          <a:latin typeface="Nexa Book"/>
                        </a:defRPr>
                      </a:pPr>
                      <a:r>
                        <a:rPr sz="600">
                          <a:latin typeface="Nexa Book"/>
                        </a:rPr>
                        <a:t>32%</a:t>
                      </a:r>
                    </a:p>
                  </a:txBody>
                  <a:tcPr marL="2858" marR="2858" marT="2858" marB="0" anchor="ctr">
                    <a:noFill/>
                  </a:tcPr>
                </a:tc>
                <a:tc>
                  <a:txBody>
                    <a:bodyPr/>
                    <a:lstStyle/>
                    <a:p>
                      <a:pPr algn="ctr">
                        <a:defRPr sz="600">
                          <a:latin typeface="Nexa Book"/>
                        </a:defRPr>
                      </a:pPr>
                      <a:r>
                        <a:rPr sz="600">
                          <a:latin typeface="Nexa Book"/>
                        </a:rPr>
                        <a:t>1299678</a:t>
                      </a:r>
                    </a:p>
                  </a:txBody>
                  <a:tcPr marL="2858" marR="2858" marT="2858" marB="0" anchor="ctr">
                    <a:noFill/>
                  </a:tcPr>
                </a:tc>
                <a:tc>
                  <a:txBody>
                    <a:bodyPr/>
                    <a:lstStyle/>
                    <a:p>
                      <a:pPr algn="ctr">
                        <a:defRPr sz="600">
                          <a:latin typeface="Nexa Book"/>
                        </a:defRPr>
                      </a:pPr>
                      <a:r>
                        <a:rPr sz="600">
                          <a:latin typeface="Nexa Book"/>
                        </a:rPr>
                        <a:t>133%</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81033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BLACK GREEN 3 BLADE DISPOSABLE SENSITIVE 20CT</a:t>
                      </a:r>
                    </a:p>
                  </a:txBody>
                  <a:tcPr marL="2858" marR="2858" marT="2858" marB="0" anchor="ctr">
                    <a:noFill/>
                  </a:tcPr>
                </a:tc>
                <a:tc>
                  <a:txBody>
                    <a:bodyPr/>
                    <a:lstStyle/>
                    <a:p>
                      <a:pPr algn="ctr">
                        <a:defRPr sz="600">
                          <a:latin typeface="Nexa Book"/>
                        </a:defRPr>
                      </a:pPr>
                      <a:r>
                        <a:rPr sz="600">
                          <a:latin typeface="Nexa Book"/>
                        </a:rPr>
                        <a:t>19%</a:t>
                      </a:r>
                    </a:p>
                  </a:txBody>
                  <a:tcPr marL="2858" marR="2858" marT="2858" marB="0" anchor="ctr">
                    <a:noFill/>
                  </a:tcPr>
                </a:tc>
                <a:tc>
                  <a:txBody>
                    <a:bodyPr/>
                    <a:lstStyle/>
                    <a:p>
                      <a:pPr algn="ctr">
                        <a:defRPr sz="600">
                          <a:latin typeface="Nexa Book"/>
                        </a:defRPr>
                      </a:pPr>
                      <a:r>
                        <a:rPr sz="600">
                          <a:latin typeface="Nexa Book"/>
                        </a:rPr>
                        <a:t>56%</a:t>
                      </a:r>
                    </a:p>
                  </a:txBody>
                  <a:tcPr marL="2858" marR="2858" marT="2858" marB="0" anchor="ctr">
                    <a:noFill/>
                  </a:tcPr>
                </a:tc>
                <a:tc>
                  <a:txBody>
                    <a:bodyPr/>
                    <a:lstStyle/>
                    <a:p>
                      <a:pPr algn="ctr">
                        <a:defRPr sz="600">
                          <a:latin typeface="Nexa Book"/>
                        </a:defRPr>
                      </a:pPr>
                      <a:r>
                        <a:rPr sz="600">
                          <a:latin typeface="Nexa Book"/>
                        </a:rPr>
                        <a:t> 20.24</a:t>
                      </a:r>
                    </a:p>
                  </a:txBody>
                  <a:tcPr marL="2858" marR="2858" marT="2858" marB="0" anchor="ctr">
                    <a:noFill/>
                  </a:tcPr>
                </a:tc>
                <a:tc>
                  <a:txBody>
                    <a:bodyPr/>
                    <a:lstStyle/>
                    <a:p>
                      <a:pPr algn="ctr">
                        <a:defRPr sz="600">
                          <a:latin typeface="Nexa Book"/>
                        </a:defRPr>
                      </a:pPr>
                      <a:r>
                        <a:rPr sz="600">
                          <a:latin typeface="Nexa Book"/>
                        </a:rPr>
                        <a:t> 16.48</a:t>
                      </a:r>
                    </a:p>
                  </a:txBody>
                  <a:tcPr marL="2858" marR="2858" marT="2858" marB="0" anchor="ctr">
                    <a:noFill/>
                  </a:tcPr>
                </a:tc>
                <a:tc>
                  <a:txBody>
                    <a:bodyPr/>
                    <a:lstStyle/>
                    <a:p>
                      <a:pPr algn="ctr">
                        <a:defRPr sz="600">
                          <a:latin typeface="Nexa Book"/>
                        </a:defRPr>
                      </a:pPr>
                      <a:r>
                        <a:rPr sz="600">
                          <a:latin typeface="Nexa Book"/>
                        </a:rPr>
                        <a:t>5'674'749</a:t>
                      </a:r>
                    </a:p>
                  </a:txBody>
                  <a:tcPr marL="2858" marR="2858" marT="2858" marB="0" anchor="ctr">
                    <a:noFill/>
                  </a:tcPr>
                </a:tc>
                <a:tc>
                  <a:txBody>
                    <a:bodyPr/>
                    <a:lstStyle/>
                    <a:p>
                      <a:pPr algn="ctr">
                        <a:defRPr sz="600">
                          <a:latin typeface="Nexa Book"/>
                        </a:defRPr>
                      </a:pPr>
                      <a:r>
                        <a:rPr sz="600">
                          <a:latin typeface="Nexa Book"/>
                        </a:rPr>
                        <a:t>24%</a:t>
                      </a:r>
                    </a:p>
                  </a:txBody>
                  <a:tcPr marL="2858" marR="2858" marT="2858" marB="0" anchor="ctr">
                    <a:noFill/>
                  </a:tcPr>
                </a:tc>
                <a:tc>
                  <a:txBody>
                    <a:bodyPr/>
                    <a:lstStyle/>
                    <a:p>
                      <a:pPr algn="ctr">
                        <a:defRPr sz="600">
                          <a:latin typeface="Nexa Book"/>
                        </a:defRPr>
                      </a:pPr>
                      <a:r>
                        <a:rPr sz="600">
                          <a:latin typeface="Nexa Book"/>
                        </a:rPr>
                        <a:t>53%</a:t>
                      </a:r>
                    </a:p>
                  </a:txBody>
                  <a:tcPr marL="2858" marR="2858" marT="2858" marB="0" anchor="ctr">
                    <a:noFill/>
                  </a:tcPr>
                </a:tc>
                <a:tc>
                  <a:txBody>
                    <a:bodyPr/>
                    <a:lstStyle/>
                    <a:p>
                      <a:pPr algn="ctr">
                        <a:defRPr sz="600">
                          <a:latin typeface="Nexa Book"/>
                        </a:defRPr>
                      </a:pPr>
                      <a:r>
                        <a:rPr sz="600">
                          <a:latin typeface="Nexa Book"/>
                        </a:rPr>
                        <a:t>1093869</a:t>
                      </a:r>
                    </a:p>
                  </a:txBody>
                  <a:tcPr marL="2858" marR="2858" marT="2858" marB="0" anchor="ctr">
                    <a:noFill/>
                  </a:tcPr>
                </a:tc>
                <a:tc>
                  <a:txBody>
                    <a:bodyPr/>
                    <a:lstStyle/>
                    <a:p>
                      <a:pPr algn="ctr">
                        <a:defRPr sz="600">
                          <a:latin typeface="Nexa Book"/>
                        </a:defRPr>
                      </a:pPr>
                      <a:r>
                        <a:rPr sz="600">
                          <a:latin typeface="Nexa Book"/>
                        </a:rPr>
                        <a:t>85%</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424053870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8/18/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Manual Shave Men | Walmart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72"/>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202582">
                <a:tc>
                  <a:txBody>
                    <a:bodyPr/>
                    <a:lstStyle/>
                    <a:p>
                      <a:pPr algn="l">
                        <a:defRPr sz="600">
                          <a:latin typeface="Nexa Book"/>
                        </a:defRPr>
                      </a:pPr>
                      <a:r>
                        <a:rPr sz="600">
                          <a:latin typeface="Nexa Book"/>
                        </a:rPr>
                        <a:t>Gillette</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GILLETTE FUSION 5 BLACK HOLIDAY GIFT PACK 5 BLADE RAZOR NORMAL 3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0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4.9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2.6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778'2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3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49925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5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644045330"/>
                  </a:ext>
                </a:extLst>
              </a:tr>
              <a:tr h="20258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GRAY HOLIDAY GIFT PACK 5 BLADE RAZOR SENSITIVE 3CT</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0.00</a:t>
                      </a:r>
                    </a:p>
                  </a:txBody>
                  <a:tcPr marL="2858" marR="2858" marT="2858" marB="0" anchor="ctr">
                    <a:noFill/>
                  </a:tcPr>
                </a:tc>
                <a:tc>
                  <a:txBody>
                    <a:bodyPr/>
                    <a:lstStyle/>
                    <a:p>
                      <a:pPr algn="ctr">
                        <a:defRPr sz="600">
                          <a:latin typeface="Nexa Book"/>
                        </a:defRPr>
                      </a:pPr>
                      <a:r>
                        <a:rPr sz="600">
                          <a:latin typeface="Nexa Book"/>
                        </a:rPr>
                        <a:t> 8.58</a:t>
                      </a:r>
                    </a:p>
                  </a:txBody>
                  <a:tcPr marL="2858" marR="2858" marT="2858" marB="0" anchor="ctr">
                    <a:noFill/>
                  </a:tcPr>
                </a:tc>
                <a:tc>
                  <a:txBody>
                    <a:bodyPr/>
                    <a:lstStyle/>
                    <a:p>
                      <a:pPr algn="ctr">
                        <a:defRPr sz="600">
                          <a:latin typeface="Nexa Book"/>
                        </a:defRPr>
                      </a:pPr>
                      <a:r>
                        <a:rPr sz="600">
                          <a:latin typeface="Nexa Book"/>
                        </a:rPr>
                        <a:t>1'356'208</a:t>
                      </a:r>
                    </a:p>
                  </a:txBody>
                  <a:tcPr marL="2858" marR="2858" marT="2858" marB="0" anchor="ctr">
                    <a:noFill/>
                  </a:tcPr>
                </a:tc>
                <a:tc>
                  <a:txBody>
                    <a:bodyPr/>
                    <a:lstStyle/>
                    <a:p>
                      <a:pPr algn="ctr">
                        <a:defRPr sz="600">
                          <a:latin typeface="Nexa Book"/>
                        </a:defRPr>
                      </a:pPr>
                      <a:r>
                        <a:rPr sz="600">
                          <a:latin typeface="Nexa Book"/>
                        </a:rPr>
                        <a:t>85%</a:t>
                      </a:r>
                    </a:p>
                  </a:txBody>
                  <a:tcPr marL="2858" marR="2858" marT="2858" marB="0" anchor="ctr">
                    <a:noFill/>
                  </a:tcPr>
                </a:tc>
                <a:tc>
                  <a:txBody>
                    <a:bodyPr/>
                    <a:lstStyle/>
                    <a:p>
                      <a:pPr algn="ctr">
                        <a:defRPr sz="600">
                          <a:latin typeface="Nexa Book"/>
                        </a:defRPr>
                      </a:pPr>
                      <a:r>
                        <a:rPr sz="600">
                          <a:latin typeface="Nexa Book"/>
                        </a:rPr>
                        <a:t>131%</a:t>
                      </a:r>
                    </a:p>
                  </a:txBody>
                  <a:tcPr marL="2858" marR="2858" marT="2858" marB="0" anchor="ctr">
                    <a:noFill/>
                  </a:tcPr>
                </a:tc>
                <a:tc>
                  <a:txBody>
                    <a:bodyPr/>
                    <a:lstStyle/>
                    <a:p>
                      <a:pPr algn="ctr">
                        <a:defRPr sz="600">
                          <a:latin typeface="Nexa Book"/>
                        </a:defRPr>
                      </a:pPr>
                      <a:r>
                        <a:rPr sz="600">
                          <a:latin typeface="Nexa Book"/>
                        </a:rPr>
                        <a:t>391970</a:t>
                      </a:r>
                    </a:p>
                  </a:txBody>
                  <a:tcPr marL="2858" marR="2858" marT="2858" marB="0" anchor="ctr">
                    <a:noFill/>
                  </a:tcPr>
                </a:tc>
                <a:tc>
                  <a:txBody>
                    <a:bodyPr/>
                    <a:lstStyle/>
                    <a:p>
                      <a:pPr algn="ctr">
                        <a:defRPr sz="600">
                          <a:latin typeface="Nexa Book"/>
                        </a:defRPr>
                      </a:pPr>
                      <a:r>
                        <a:rPr sz="600">
                          <a:latin typeface="Nexa Book"/>
                        </a:rPr>
                        <a:t>175%</a:t>
                      </a:r>
                    </a:p>
                  </a:txBody>
                  <a:tcPr marL="2858" marR="2858" marT="2858" marB="0" anchor="ctr">
                    <a:noFill/>
                  </a:tcPr>
                </a:tc>
                <a:tc>
                  <a:txBody>
                    <a:bodyPr/>
                    <a:lstStyle/>
                    <a:p>
                      <a:pPr algn="ctr">
                        <a:defRPr sz="600">
                          <a:latin typeface="Nexa Book"/>
                        </a:defRPr>
                      </a:pPr>
                      <a:r>
                        <a:rPr sz="600">
                          <a:latin typeface="Nexa Book"/>
                        </a:rPr>
                        <a:t>25%</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202582">
                <a:tc>
                  <a:txBody>
                    <a:bodyPr/>
                    <a:lstStyle/>
                    <a:p>
                      <a:pPr algn="l">
                        <a:defRPr sz="600">
                          <a:latin typeface="Nexa Book"/>
                        </a:defRPr>
                      </a:pPr>
                      <a:r>
                        <a:rPr sz="600">
                          <a:latin typeface="Nexa Book"/>
                        </a:rPr>
                        <a:t>Gillette</a:t>
                      </a:r>
                    </a:p>
                  </a:txBody>
                  <a:tcPr marL="2858" marR="2858" marT="2858" marB="0" anchor="ctr">
                    <a:noFill/>
                  </a:tcPr>
                </a:tc>
                <a:tc>
                  <a:txBody>
                    <a:bodyPr/>
                    <a:lstStyle/>
                    <a:p>
                      <a:pPr algn="l">
                        <a:defRPr sz="600">
                          <a:latin typeface="Nexa Book"/>
                        </a:defRPr>
                      </a:pPr>
                      <a:r>
                        <a:rPr sz="600">
                          <a:latin typeface="Nexa Book"/>
                        </a:rPr>
                        <a:t>GILLETTE LABS ARCTIC CAMO HOLIDAY GIFT PACK 5 BLADE RAZOR NORMAL 2CT</a:t>
                      </a:r>
                    </a:p>
                  </a:txBody>
                  <a:tcPr marL="2858" marR="2858" marT="2858" marB="0" anchor="ctr">
                    <a:noFill/>
                  </a:tcPr>
                </a:tc>
                <a:tc>
                  <a:txBody>
                    <a:bodyPr/>
                    <a:lstStyle/>
                    <a:p>
                      <a:pPr algn="ctr">
                        <a:defRPr sz="600">
                          <a:latin typeface="Nexa Book"/>
                        </a:defRPr>
                      </a:pPr>
                      <a:r>
                        <a:rPr sz="600">
                          <a:latin typeface="Nexa Book"/>
                        </a:rPr>
                        <a:t>18%</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4.87</a:t>
                      </a:r>
                    </a:p>
                  </a:txBody>
                  <a:tcPr marL="2858" marR="2858" marT="2858" marB="0" anchor="ctr">
                    <a:noFill/>
                  </a:tcPr>
                </a:tc>
                <a:tc>
                  <a:txBody>
                    <a:bodyPr/>
                    <a:lstStyle/>
                    <a:p>
                      <a:pPr algn="ctr">
                        <a:defRPr sz="600">
                          <a:latin typeface="Nexa Book"/>
                        </a:defRPr>
                      </a:pPr>
                      <a:r>
                        <a:rPr sz="600">
                          <a:latin typeface="Nexa Book"/>
                        </a:rPr>
                        <a:t> 12.17</a:t>
                      </a:r>
                    </a:p>
                  </a:txBody>
                  <a:tcPr marL="2858" marR="2858" marT="2858" marB="0" anchor="ctr">
                    <a:noFill/>
                  </a:tcPr>
                </a:tc>
                <a:tc>
                  <a:txBody>
                    <a:bodyPr/>
                    <a:lstStyle/>
                    <a:p>
                      <a:pPr algn="ctr">
                        <a:defRPr sz="600">
                          <a:latin typeface="Nexa Book"/>
                        </a:defRPr>
                      </a:pPr>
                      <a:r>
                        <a:rPr sz="600">
                          <a:latin typeface="Nexa Book"/>
                        </a:rPr>
                        <a:t>901'567</a:t>
                      </a:r>
                    </a:p>
                  </a:txBody>
                  <a:tcPr marL="2858" marR="2858" marT="2858" marB="0" anchor="ctr">
                    <a:noFill/>
                  </a:tcPr>
                </a:tc>
                <a:tc>
                  <a:txBody>
                    <a:bodyPr/>
                    <a:lstStyle/>
                    <a:p>
                      <a:pPr algn="ctr">
                        <a:defRPr sz="600">
                          <a:latin typeface="Nexa Book"/>
                        </a:defRPr>
                      </a:pPr>
                      <a:r>
                        <a:rPr sz="600">
                          <a:latin typeface="Nexa Book"/>
                        </a:rPr>
                        <a:t>420%</a:t>
                      </a:r>
                    </a:p>
                  </a:txBody>
                  <a:tcPr marL="2858" marR="2858" marT="2858" marB="0" anchor="ctr">
                    <a:noFill/>
                  </a:tcPr>
                </a:tc>
                <a:tc>
                  <a:txBody>
                    <a:bodyPr/>
                    <a:lstStyle/>
                    <a:p>
                      <a:pPr algn="ctr">
                        <a:defRPr sz="600">
                          <a:latin typeface="Nexa Book"/>
                        </a:defRPr>
                      </a:pPr>
                      <a:r>
                        <a:rPr sz="600">
                          <a:latin typeface="Nexa Book"/>
                        </a:rPr>
                        <a:t>653%</a:t>
                      </a:r>
                    </a:p>
                  </a:txBody>
                  <a:tcPr marL="2858" marR="2858" marT="2858" marB="0" anchor="ctr">
                    <a:noFill/>
                  </a:tcPr>
                </a:tc>
                <a:tc>
                  <a:txBody>
                    <a:bodyPr/>
                    <a:lstStyle/>
                    <a:p>
                      <a:pPr algn="ctr">
                        <a:defRPr sz="600">
                          <a:latin typeface="Nexa Book"/>
                        </a:defRPr>
                      </a:pPr>
                      <a:r>
                        <a:rPr sz="600">
                          <a:latin typeface="Nexa Book"/>
                        </a:rPr>
                        <a:t>328524</a:t>
                      </a:r>
                    </a:p>
                  </a:txBody>
                  <a:tcPr marL="2858" marR="2858" marT="2858" marB="0" anchor="ctr">
                    <a:noFill/>
                  </a:tcPr>
                </a:tc>
                <a:tc>
                  <a:txBody>
                    <a:bodyPr/>
                    <a:lstStyle/>
                    <a:p>
                      <a:pPr algn="ctr">
                        <a:defRPr sz="600">
                          <a:latin typeface="Nexa Book"/>
                        </a:defRPr>
                      </a:pPr>
                      <a:r>
                        <a:rPr sz="600">
                          <a:latin typeface="Nexa Book"/>
                        </a:rPr>
                        <a:t>165%</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202582">
                <a:tc>
                  <a:txBody>
                    <a:bodyPr/>
                    <a:lstStyle/>
                    <a:p>
                      <a:pPr algn="l">
                        <a:defRPr sz="600">
                          <a:latin typeface="Nexa Book"/>
                        </a:defRPr>
                      </a:pPr>
                      <a:r>
                        <a:rPr sz="600">
                          <a:latin typeface="Nexa Book"/>
                        </a:rPr>
                        <a:t>Bic</a:t>
                      </a:r>
                    </a:p>
                  </a:txBody>
                  <a:tcPr marL="2858" marR="2858" marT="2858" marB="0" anchor="ctr">
                    <a:noFill/>
                  </a:tcPr>
                </a:tc>
                <a:tc>
                  <a:txBody>
                    <a:bodyPr/>
                    <a:lstStyle/>
                    <a:p>
                      <a:pPr algn="l">
                        <a:defRPr sz="600">
                          <a:latin typeface="Nexa Book"/>
                        </a:defRPr>
                      </a:pPr>
                      <a:r>
                        <a:rPr sz="600">
                          <a:latin typeface="Nexa Book"/>
                        </a:rPr>
                        <a:t>BIC COMFORT 3 BLACK HOLIDAY GIFT PACK 3 BLADE HYBRID NORMAL 15CT</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9.98</a:t>
                      </a:r>
                    </a:p>
                  </a:txBody>
                  <a:tcPr marL="2858" marR="2858" marT="2858" marB="0" anchor="ctr">
                    <a:noFill/>
                  </a:tcPr>
                </a:tc>
                <a:tc>
                  <a:txBody>
                    <a:bodyPr/>
                    <a:lstStyle/>
                    <a:p>
                      <a:pPr algn="ctr">
                        <a:defRPr sz="600">
                          <a:latin typeface="Nexa Book"/>
                        </a:defRPr>
                      </a:pPr>
                      <a:r>
                        <a:rPr sz="600">
                          <a:latin typeface="Nexa Book"/>
                        </a:rPr>
                        <a:t> 8.90</a:t>
                      </a:r>
                    </a:p>
                  </a:txBody>
                  <a:tcPr marL="2858" marR="2858" marT="2858" marB="0" anchor="ctr">
                    <a:noFill/>
                  </a:tcPr>
                </a:tc>
                <a:tc>
                  <a:txBody>
                    <a:bodyPr/>
                    <a:lstStyle/>
                    <a:p>
                      <a:pPr algn="ctr">
                        <a:defRPr sz="600">
                          <a:latin typeface="Nexa Book"/>
                        </a:defRPr>
                      </a:pPr>
                      <a:r>
                        <a:rPr sz="600">
                          <a:latin typeface="Nexa Book"/>
                        </a:rPr>
                        <a:t>1'577'777</a:t>
                      </a:r>
                    </a:p>
                  </a:txBody>
                  <a:tcPr marL="2858" marR="2858" marT="2858" marB="0" anchor="ctr">
                    <a:noFill/>
                  </a:tcPr>
                </a:tc>
                <a:tc>
                  <a:txBody>
                    <a:bodyPr/>
                    <a:lstStyle/>
                    <a:p>
                      <a:pPr algn="ctr">
                        <a:defRPr sz="600">
                          <a:latin typeface="Nexa Book"/>
                        </a:defRPr>
                      </a:pPr>
                      <a:r>
                        <a:rPr sz="600">
                          <a:latin typeface="Nexa Book"/>
                        </a:rPr>
                        <a:t>39%</a:t>
                      </a:r>
                    </a:p>
                  </a:txBody>
                  <a:tcPr marL="2858" marR="2858" marT="2858" marB="0" anchor="ctr">
                    <a:noFill/>
                  </a:tcPr>
                </a:tc>
                <a:tc>
                  <a:txBody>
                    <a:bodyPr/>
                    <a:lstStyle/>
                    <a:p>
                      <a:pPr algn="ctr">
                        <a:defRPr sz="600">
                          <a:latin typeface="Nexa Book"/>
                        </a:defRPr>
                      </a:pPr>
                      <a:r>
                        <a:rPr sz="600">
                          <a:latin typeface="Nexa Book"/>
                        </a:rPr>
                        <a:t>68%</a:t>
                      </a:r>
                    </a:p>
                  </a:txBody>
                  <a:tcPr marL="2858" marR="2858" marT="2858" marB="0" anchor="ctr">
                    <a:noFill/>
                  </a:tcPr>
                </a:tc>
                <a:tc>
                  <a:txBody>
                    <a:bodyPr/>
                    <a:lstStyle/>
                    <a:p>
                      <a:pPr algn="ctr">
                        <a:defRPr sz="600">
                          <a:latin typeface="Nexa Book"/>
                        </a:defRPr>
                      </a:pPr>
                      <a:r>
                        <a:rPr sz="600">
                          <a:latin typeface="Nexa Book"/>
                        </a:rPr>
                        <a:t>251983</a:t>
                      </a:r>
                    </a:p>
                  </a:txBody>
                  <a:tcPr marL="2858" marR="2858" marT="2858" marB="0" anchor="ctr">
                    <a:noFill/>
                  </a:tcPr>
                </a:tc>
                <a:tc>
                  <a:txBody>
                    <a:bodyPr/>
                    <a:lstStyle/>
                    <a:p>
                      <a:pPr algn="ctr">
                        <a:defRPr sz="600">
                          <a:latin typeface="Nexa Book"/>
                        </a:defRPr>
                      </a:pPr>
                      <a:r>
                        <a:rPr sz="600">
                          <a:latin typeface="Nexa Book"/>
                        </a:rPr>
                        <a:t>132%</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20258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GREEN HOLIDAY GIFT PACK 3 BLADE DISPOSABLE SENSITIVE 8CT</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0.00</a:t>
                      </a:r>
                    </a:p>
                  </a:txBody>
                  <a:tcPr marL="2858" marR="2858" marT="2858" marB="0" anchor="ctr">
                    <a:noFill/>
                  </a:tcPr>
                </a:tc>
                <a:tc>
                  <a:txBody>
                    <a:bodyPr/>
                    <a:lstStyle/>
                    <a:p>
                      <a:pPr algn="ctr">
                        <a:defRPr sz="600">
                          <a:latin typeface="Nexa Book"/>
                        </a:defRPr>
                      </a:pPr>
                      <a:r>
                        <a:rPr sz="600">
                          <a:latin typeface="Nexa Book"/>
                        </a:rPr>
                        <a:t> 8.92</a:t>
                      </a:r>
                    </a:p>
                  </a:txBody>
                  <a:tcPr marL="2858" marR="2858" marT="2858" marB="0" anchor="ctr">
                    <a:noFill/>
                  </a:tcPr>
                </a:tc>
                <a:tc>
                  <a:txBody>
                    <a:bodyPr/>
                    <a:lstStyle/>
                    <a:p>
                      <a:pPr algn="ctr">
                        <a:defRPr sz="600">
                          <a:latin typeface="Nexa Book"/>
                        </a:defRPr>
                      </a:pPr>
                      <a:r>
                        <a:rPr sz="600">
                          <a:latin typeface="Nexa Book"/>
                        </a:rPr>
                        <a:t>1'128'687</a:t>
                      </a:r>
                    </a:p>
                  </a:txBody>
                  <a:tcPr marL="2858" marR="2858" marT="2858" marB="0" anchor="ctr">
                    <a:noFill/>
                  </a:tcPr>
                </a:tc>
                <a:tc>
                  <a:txBody>
                    <a:bodyPr/>
                    <a:lstStyle/>
                    <a:p>
                      <a:pPr algn="ctr">
                        <a:defRPr sz="600">
                          <a:latin typeface="Nexa Book"/>
                        </a:defRPr>
                      </a:pPr>
                      <a:r>
                        <a:rPr sz="600">
                          <a:latin typeface="Nexa Book"/>
                        </a:rPr>
                        <a:t>49%</a:t>
                      </a:r>
                    </a:p>
                  </a:txBody>
                  <a:tcPr marL="2858" marR="2858" marT="2858" marB="0" anchor="ctr">
                    <a:noFill/>
                  </a:tcPr>
                </a:tc>
                <a:tc>
                  <a:txBody>
                    <a:bodyPr/>
                    <a:lstStyle/>
                    <a:p>
                      <a:pPr algn="ctr">
                        <a:defRPr sz="600">
                          <a:latin typeface="Nexa Book"/>
                        </a:defRPr>
                      </a:pPr>
                      <a:r>
                        <a:rPr sz="600">
                          <a:latin typeface="Nexa Book"/>
                        </a:rPr>
                        <a:t>78%</a:t>
                      </a:r>
                    </a:p>
                  </a:txBody>
                  <a:tcPr marL="2858" marR="2858" marT="2858" marB="0" anchor="ctr">
                    <a:noFill/>
                  </a:tcPr>
                </a:tc>
                <a:tc>
                  <a:txBody>
                    <a:bodyPr/>
                    <a:lstStyle/>
                    <a:p>
                      <a:pPr algn="ctr">
                        <a:defRPr sz="600">
                          <a:latin typeface="Nexa Book"/>
                        </a:defRPr>
                      </a:pPr>
                      <a:r>
                        <a:rPr sz="600">
                          <a:latin typeface="Nexa Book"/>
                        </a:rPr>
                        <a:t>220533</a:t>
                      </a:r>
                    </a:p>
                  </a:txBody>
                  <a:tcPr marL="2858" marR="2858" marT="2858" marB="0" anchor="ctr">
                    <a:noFill/>
                  </a:tcPr>
                </a:tc>
                <a:tc>
                  <a:txBody>
                    <a:bodyPr/>
                    <a:lstStyle/>
                    <a:p>
                      <a:pPr algn="ctr">
                        <a:defRPr sz="600">
                          <a:latin typeface="Nexa Book"/>
                        </a:defRPr>
                      </a:pPr>
                      <a:r>
                        <a:rPr sz="600">
                          <a:latin typeface="Nexa Book"/>
                        </a:rPr>
                        <a:t>162%</a:t>
                      </a:r>
                    </a:p>
                  </a:txBody>
                  <a:tcPr marL="2858" marR="2858" marT="2858" marB="0" anchor="ctr">
                    <a:noFill/>
                  </a:tcPr>
                </a:tc>
                <a:tc>
                  <a:txBody>
                    <a:bodyPr/>
                    <a:lstStyle/>
                    <a:p>
                      <a:pPr algn="ctr">
                        <a:defRPr sz="600">
                          <a:latin typeface="Nexa Book"/>
                        </a:defRPr>
                      </a:pPr>
                      <a:r>
                        <a:rPr sz="600">
                          <a:latin typeface="Nexa Book"/>
                        </a:rPr>
                        <a:t>34%</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202582">
                <a:tc>
                  <a:txBody>
                    <a:bodyPr/>
                    <a:lstStyle/>
                    <a:p>
                      <a:pPr algn="l">
                        <a:defRPr sz="600">
                          <a:latin typeface="Nexa Book"/>
                        </a:defRPr>
                      </a:pPr>
                      <a:r>
                        <a:rPr sz="600">
                          <a:latin typeface="Nexa Book"/>
                        </a:rPr>
                        <a:t>Bic</a:t>
                      </a:r>
                    </a:p>
                  </a:txBody>
                  <a:tcPr marL="2858" marR="2858" marT="2858" marB="0" anchor="ctr">
                    <a:noFill/>
                  </a:tcPr>
                </a:tc>
                <a:tc>
                  <a:txBody>
                    <a:bodyPr/>
                    <a:lstStyle/>
                    <a:p>
                      <a:pPr algn="l">
                        <a:defRPr sz="600">
                          <a:latin typeface="Nexa Book"/>
                        </a:defRPr>
                      </a:pPr>
                      <a:r>
                        <a:rPr sz="600">
                          <a:latin typeface="Nexa Book"/>
                        </a:rPr>
                        <a:t>BIC FLEX 5 HYBRID BLACK WHITE HOLIDAY GIFT PACK 5 BLADE HYBRID NORMAL 7CT</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9.98</a:t>
                      </a:r>
                    </a:p>
                  </a:txBody>
                  <a:tcPr marL="2858" marR="2858" marT="2858" marB="0" anchor="ctr">
                    <a:noFill/>
                  </a:tcPr>
                </a:tc>
                <a:tc>
                  <a:txBody>
                    <a:bodyPr/>
                    <a:lstStyle/>
                    <a:p>
                      <a:pPr algn="ctr">
                        <a:defRPr sz="600">
                          <a:latin typeface="Nexa Book"/>
                        </a:defRPr>
                      </a:pPr>
                      <a:r>
                        <a:rPr sz="600">
                          <a:latin typeface="Nexa Book"/>
                        </a:rPr>
                        <a:t> 9.36</a:t>
                      </a:r>
                    </a:p>
                  </a:txBody>
                  <a:tcPr marL="2858" marR="2858" marT="2858" marB="0" anchor="ctr">
                    <a:noFill/>
                  </a:tcPr>
                </a:tc>
                <a:tc>
                  <a:txBody>
                    <a:bodyPr/>
                    <a:lstStyle/>
                    <a:p>
                      <a:pPr algn="ctr">
                        <a:defRPr sz="600">
                          <a:latin typeface="Nexa Book"/>
                        </a:defRPr>
                      </a:pPr>
                      <a:r>
                        <a:rPr sz="600">
                          <a:latin typeface="Nexa Book"/>
                        </a:rPr>
                        <a:t>1'048'958</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42%</a:t>
                      </a:r>
                    </a:p>
                  </a:txBody>
                  <a:tcPr marL="2858" marR="2858" marT="2858" marB="0" anchor="ctr">
                    <a:noFill/>
                  </a:tcPr>
                </a:tc>
                <a:tc>
                  <a:txBody>
                    <a:bodyPr/>
                    <a:lstStyle/>
                    <a:p>
                      <a:pPr algn="ctr">
                        <a:defRPr sz="600">
                          <a:latin typeface="Nexa Book"/>
                        </a:defRPr>
                      </a:pPr>
                      <a:r>
                        <a:rPr sz="600">
                          <a:latin typeface="Nexa Book"/>
                        </a:rPr>
                        <a:t>96175</a:t>
                      </a:r>
                    </a:p>
                  </a:txBody>
                  <a:tcPr marL="2858" marR="2858" marT="2858" marB="0" anchor="ctr">
                    <a:noFill/>
                  </a:tcPr>
                </a:tc>
                <a:tc>
                  <a:txBody>
                    <a:bodyPr/>
                    <a:lstStyle/>
                    <a:p>
                      <a:pPr algn="ctr">
                        <a:defRPr sz="600">
                          <a:latin typeface="Nexa Book"/>
                        </a:defRPr>
                      </a:pPr>
                      <a:r>
                        <a:rPr sz="600">
                          <a:latin typeface="Nexa Book"/>
                        </a:rPr>
                        <a:t>138%</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202582">
                <a:tc>
                  <a:txBody>
                    <a:bodyPr/>
                    <a:lstStyle/>
                    <a:p>
                      <a:pPr algn="l">
                        <a:defRPr sz="600">
                          <a:latin typeface="Nexa Book"/>
                        </a:defRPr>
                      </a:pPr>
                      <a:r>
                        <a:rPr sz="600">
                          <a:latin typeface="Nexa Book"/>
                        </a:rPr>
                        <a:t>Gillette</a:t>
                      </a:r>
                    </a:p>
                  </a:txBody>
                  <a:tcPr marL="2858" marR="2858" marT="2858" marB="0" anchor="ctr">
                    <a:noFill/>
                  </a:tcPr>
                </a:tc>
                <a:tc>
                  <a:txBody>
                    <a:bodyPr/>
                    <a:lstStyle/>
                    <a:p>
                      <a:pPr algn="l">
                        <a:defRPr sz="600">
                          <a:latin typeface="Nexa Book"/>
                        </a:defRPr>
                      </a:pPr>
                      <a:r>
                        <a:rPr sz="600">
                          <a:latin typeface="Nexa Book"/>
                        </a:rPr>
                        <a:t>GILLETTE LABS 5 BLADE RAZOR NORMAL 1CT</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30%</a:t>
                      </a:r>
                    </a:p>
                  </a:txBody>
                  <a:tcPr marL="2858" marR="2858" marT="2858" marB="0" anchor="ctr">
                    <a:noFill/>
                  </a:tcPr>
                </a:tc>
                <a:tc>
                  <a:txBody>
                    <a:bodyPr/>
                    <a:lstStyle/>
                    <a:p>
                      <a:pPr algn="ctr">
                        <a:defRPr sz="600">
                          <a:latin typeface="Nexa Book"/>
                        </a:defRPr>
                      </a:pPr>
                      <a:r>
                        <a:rPr sz="600">
                          <a:latin typeface="Nexa Book"/>
                        </a:rPr>
                        <a:t> 14.83</a:t>
                      </a:r>
                    </a:p>
                  </a:txBody>
                  <a:tcPr marL="2858" marR="2858" marT="2858" marB="0" anchor="ctr">
                    <a:noFill/>
                  </a:tcPr>
                </a:tc>
                <a:tc>
                  <a:txBody>
                    <a:bodyPr/>
                    <a:lstStyle/>
                    <a:p>
                      <a:pPr algn="ctr">
                        <a:defRPr sz="600">
                          <a:latin typeface="Nexa Book"/>
                        </a:defRPr>
                      </a:pPr>
                      <a:r>
                        <a:rPr sz="600">
                          <a:latin typeface="Nexa Book"/>
                        </a:rPr>
                        <a:t> 12.85</a:t>
                      </a:r>
                    </a:p>
                  </a:txBody>
                  <a:tcPr marL="2858" marR="2858" marT="2858" marB="0" anchor="ctr">
                    <a:noFill/>
                  </a:tcPr>
                </a:tc>
                <a:tc>
                  <a:txBody>
                    <a:bodyPr/>
                    <a:lstStyle/>
                    <a:p>
                      <a:pPr algn="ctr">
                        <a:defRPr sz="600">
                          <a:latin typeface="Nexa Book"/>
                        </a:defRPr>
                      </a:pPr>
                      <a:r>
                        <a:rPr sz="600">
                          <a:latin typeface="Nexa Book"/>
                        </a:rPr>
                        <a:t>619'932</a:t>
                      </a:r>
                    </a:p>
                  </a:txBody>
                  <a:tcPr marL="2858" marR="2858" marT="2858" marB="0" anchor="ctr">
                    <a:noFill/>
                  </a:tcPr>
                </a:tc>
                <a:tc>
                  <a:txBody>
                    <a:bodyPr/>
                    <a:lstStyle/>
                    <a:p>
                      <a:pPr algn="ctr">
                        <a:defRPr sz="600">
                          <a:latin typeface="Nexa Book"/>
                        </a:defRPr>
                      </a:pPr>
                      <a:r>
                        <a:rPr sz="600">
                          <a:latin typeface="Nexa Book"/>
                        </a:rPr>
                        <a:t>15%</a:t>
                      </a:r>
                    </a:p>
                  </a:txBody>
                  <a:tcPr marL="2858" marR="2858" marT="2858" marB="0" anchor="ctr">
                    <a:noFill/>
                  </a:tcPr>
                </a:tc>
                <a:tc>
                  <a:txBody>
                    <a:bodyPr/>
                    <a:lstStyle/>
                    <a:p>
                      <a:pPr algn="ctr">
                        <a:defRPr sz="600">
                          <a:latin typeface="Nexa Book"/>
                        </a:defRPr>
                      </a:pPr>
                      <a:r>
                        <a:rPr sz="600">
                          <a:latin typeface="Nexa Book"/>
                        </a:rPr>
                        <a:t>32%</a:t>
                      </a:r>
                    </a:p>
                  </a:txBody>
                  <a:tcPr marL="2858" marR="2858" marT="2858" marB="0" anchor="ctr">
                    <a:noFill/>
                  </a:tcPr>
                </a:tc>
                <a:tc>
                  <a:txBody>
                    <a:bodyPr/>
                    <a:lstStyle/>
                    <a:p>
                      <a:pPr algn="ctr">
                        <a:defRPr sz="600">
                          <a:latin typeface="Nexa Book"/>
                        </a:defRPr>
                      </a:pPr>
                      <a:r>
                        <a:rPr sz="600">
                          <a:latin typeface="Nexa Book"/>
                        </a:rPr>
                        <a:t>91084</a:t>
                      </a:r>
                    </a:p>
                  </a:txBody>
                  <a:tcPr marL="2858" marR="2858" marT="2858" marB="0" anchor="ctr">
                    <a:noFill/>
                  </a:tcPr>
                </a:tc>
                <a:tc>
                  <a:txBody>
                    <a:bodyPr/>
                    <a:lstStyle/>
                    <a:p>
                      <a:pPr algn="ctr">
                        <a:defRPr sz="600">
                          <a:latin typeface="Nexa Book"/>
                        </a:defRPr>
                      </a:pPr>
                      <a:r>
                        <a:rPr sz="600">
                          <a:latin typeface="Nexa Book"/>
                        </a:rPr>
                        <a:t>93%</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202582">
                <a:tc>
                  <a:txBody>
                    <a:bodyPr/>
                    <a:lstStyle/>
                    <a:p>
                      <a:pPr algn="l">
                        <a:defRPr sz="600">
                          <a:latin typeface="Nexa Book"/>
                        </a:defRPr>
                      </a:pPr>
                      <a:r>
                        <a:rPr sz="600">
                          <a:latin typeface="Nexa Book"/>
                        </a:rPr>
                        <a:t>Comfort 3</a:t>
                      </a:r>
                    </a:p>
                  </a:txBody>
                  <a:tcPr marL="2858" marR="2858" marT="2858" marB="0" anchor="ctr">
                    <a:noFill/>
                  </a:tcPr>
                </a:tc>
                <a:tc>
                  <a:txBody>
                    <a:bodyPr/>
                    <a:lstStyle/>
                    <a:p>
                      <a:pPr algn="l">
                        <a:defRPr sz="600">
                          <a:latin typeface="Nexa Book"/>
                        </a:defRPr>
                      </a:pPr>
                      <a:r>
                        <a:rPr sz="600">
                          <a:latin typeface="Nexa Book"/>
                        </a:rPr>
                        <a:t>BIC COMFORT 3 HYBRID 3 BLADE HYBRID SENSITIVE 6CT</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27%</a:t>
                      </a:r>
                    </a:p>
                  </a:txBody>
                  <a:tcPr marL="2858" marR="2858" marT="2858" marB="0" anchor="ctr">
                    <a:noFill/>
                  </a:tcPr>
                </a:tc>
                <a:tc>
                  <a:txBody>
                    <a:bodyPr/>
                    <a:lstStyle/>
                    <a:p>
                      <a:pPr algn="ctr">
                        <a:defRPr sz="600">
                          <a:latin typeface="Nexa Book"/>
                        </a:defRPr>
                      </a:pPr>
                      <a:r>
                        <a:rPr sz="600">
                          <a:latin typeface="Nexa Book"/>
                        </a:rPr>
                        <a:t> 6.23</a:t>
                      </a:r>
                    </a:p>
                  </a:txBody>
                  <a:tcPr marL="2858" marR="2858" marT="2858" marB="0" anchor="ctr">
                    <a:noFill/>
                  </a:tcPr>
                </a:tc>
                <a:tc>
                  <a:txBody>
                    <a:bodyPr/>
                    <a:lstStyle/>
                    <a:p>
                      <a:pPr algn="ctr">
                        <a:defRPr sz="600">
                          <a:latin typeface="Nexa Book"/>
                        </a:defRPr>
                      </a:pPr>
                      <a:r>
                        <a:rPr sz="600">
                          <a:latin typeface="Nexa Book"/>
                        </a:rPr>
                        <a:t> 5.73</a:t>
                      </a:r>
                    </a:p>
                  </a:txBody>
                  <a:tcPr marL="2858" marR="2858" marT="2858" marB="0" anchor="ctr">
                    <a:noFill/>
                  </a:tcPr>
                </a:tc>
                <a:tc>
                  <a:txBody>
                    <a:bodyPr/>
                    <a:lstStyle/>
                    <a:p>
                      <a:pPr algn="ctr">
                        <a:defRPr sz="600">
                          <a:latin typeface="Nexa Book"/>
                        </a:defRPr>
                      </a:pPr>
                      <a:r>
                        <a:rPr sz="600">
                          <a:latin typeface="Nexa Book"/>
                        </a:rPr>
                        <a:t>755'811</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22%</a:t>
                      </a:r>
                    </a:p>
                  </a:txBody>
                  <a:tcPr marL="2858" marR="2858" marT="2858" marB="0" anchor="ctr">
                    <a:noFill/>
                  </a:tcPr>
                </a:tc>
                <a:tc>
                  <a:txBody>
                    <a:bodyPr/>
                    <a:lstStyle/>
                    <a:p>
                      <a:pPr algn="ctr">
                        <a:defRPr sz="600">
                          <a:latin typeface="Nexa Book"/>
                        </a:defRPr>
                      </a:pPr>
                      <a:r>
                        <a:rPr sz="600">
                          <a:latin typeface="Nexa Book"/>
                        </a:rPr>
                        <a:t>60325</a:t>
                      </a:r>
                    </a:p>
                  </a:txBody>
                  <a:tcPr marL="2858" marR="2858" marT="2858" marB="0" anchor="ctr">
                    <a:noFill/>
                  </a:tcPr>
                </a:tc>
                <a:tc>
                  <a:txBody>
                    <a:bodyPr/>
                    <a:lstStyle/>
                    <a:p>
                      <a:pPr algn="ctr">
                        <a:defRPr sz="600">
                          <a:latin typeface="Nexa Book"/>
                        </a:defRPr>
                      </a:pPr>
                      <a:r>
                        <a:rPr sz="600">
                          <a:latin typeface="Nexa Book"/>
                        </a:rPr>
                        <a:t>65%</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202582">
                <a:tc>
                  <a:txBody>
                    <a:bodyPr/>
                    <a:lstStyle/>
                    <a:p>
                      <a:pPr algn="l">
                        <a:defRPr sz="600">
                          <a:latin typeface="Nexa Book"/>
                        </a:defRPr>
                      </a:pPr>
                      <a:r>
                        <a:rPr sz="600">
                          <a:latin typeface="Nexa Book"/>
                        </a:rPr>
                        <a:t>Bic</a:t>
                      </a:r>
                    </a:p>
                  </a:txBody>
                  <a:tcPr marL="2858" marR="2858" marT="2858" marB="0" anchor="ctr">
                    <a:noFill/>
                  </a:tcPr>
                </a:tc>
                <a:tc>
                  <a:txBody>
                    <a:bodyPr/>
                    <a:lstStyle/>
                    <a:p>
                      <a:pPr algn="l">
                        <a:defRPr sz="600">
                          <a:latin typeface="Nexa Book"/>
                        </a:defRPr>
                      </a:pPr>
                      <a:r>
                        <a:rPr sz="600">
                          <a:latin typeface="Nexa Book"/>
                        </a:rPr>
                        <a:t>BIC FLEX 5 WHITE BLACK HOLIDAY GIFT PACK 5 BLADE DISPOSABLE NORMAL 6CT</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9.98</a:t>
                      </a:r>
                    </a:p>
                  </a:txBody>
                  <a:tcPr marL="2858" marR="2858" marT="2858" marB="0" anchor="ctr">
                    <a:noFill/>
                  </a:tcPr>
                </a:tc>
                <a:tc>
                  <a:txBody>
                    <a:bodyPr/>
                    <a:lstStyle/>
                    <a:p>
                      <a:pPr algn="ctr">
                        <a:defRPr sz="600">
                          <a:latin typeface="Nexa Book"/>
                        </a:defRPr>
                      </a:pPr>
                      <a:r>
                        <a:rPr sz="600">
                          <a:latin typeface="Nexa Book"/>
                        </a:rPr>
                        <a:t> 9.50</a:t>
                      </a:r>
                    </a:p>
                  </a:txBody>
                  <a:tcPr marL="2858" marR="2858" marT="2858" marB="0" anchor="ctr">
                    <a:noFill/>
                  </a:tcPr>
                </a:tc>
                <a:tc>
                  <a:txBody>
                    <a:bodyPr/>
                    <a:lstStyle/>
                    <a:p>
                      <a:pPr algn="ctr">
                        <a:defRPr sz="600">
                          <a:latin typeface="Nexa Book"/>
                        </a:defRPr>
                      </a:pPr>
                      <a:r>
                        <a:rPr sz="600">
                          <a:latin typeface="Nexa Book"/>
                        </a:rPr>
                        <a:t>709'097</a:t>
                      </a:r>
                    </a:p>
                  </a:txBody>
                  <a:tcPr marL="2858" marR="2858" marT="2858" marB="0" anchor="ctr">
                    <a:noFill/>
                  </a:tcPr>
                </a:tc>
                <a:tc>
                  <a:txBody>
                    <a:bodyPr/>
                    <a:lstStyle/>
                    <a:p>
                      <a:pPr algn="ctr">
                        <a:defRPr sz="600">
                          <a:latin typeface="Nexa Book"/>
                        </a:defRPr>
                      </a:pPr>
                      <a:r>
                        <a:rPr sz="600">
                          <a:latin typeface="Nexa Book"/>
                        </a:rPr>
                        <a:t>26%</a:t>
                      </a:r>
                    </a:p>
                  </a:txBody>
                  <a:tcPr marL="2858" marR="2858" marT="2858" marB="0" anchor="ctr">
                    <a:noFill/>
                  </a:tcPr>
                </a:tc>
                <a:tc>
                  <a:txBody>
                    <a:bodyPr/>
                    <a:lstStyle/>
                    <a:p>
                      <a:pPr algn="ctr">
                        <a:defRPr sz="600">
                          <a:latin typeface="Nexa Book"/>
                        </a:defRPr>
                      </a:pPr>
                      <a:r>
                        <a:rPr sz="600">
                          <a:latin typeface="Nexa Book"/>
                        </a:rPr>
                        <a:t>40%</a:t>
                      </a:r>
                    </a:p>
                  </a:txBody>
                  <a:tcPr marL="2858" marR="2858" marT="2858" marB="0" anchor="ctr">
                    <a:noFill/>
                  </a:tcPr>
                </a:tc>
                <a:tc>
                  <a:txBody>
                    <a:bodyPr/>
                    <a:lstStyle/>
                    <a:p>
                      <a:pPr algn="ctr">
                        <a:defRPr sz="600">
                          <a:latin typeface="Nexa Book"/>
                        </a:defRPr>
                      </a:pPr>
                      <a:r>
                        <a:rPr sz="600">
                          <a:latin typeface="Nexa Book"/>
                        </a:rPr>
                        <a:t>51227</a:t>
                      </a:r>
                    </a:p>
                  </a:txBody>
                  <a:tcPr marL="2858" marR="2858" marT="2858" marB="0" anchor="ctr">
                    <a:noFill/>
                  </a:tcPr>
                </a:tc>
                <a:tc>
                  <a:txBody>
                    <a:bodyPr/>
                    <a:lstStyle/>
                    <a:p>
                      <a:pPr algn="ctr">
                        <a:defRPr sz="600">
                          <a:latin typeface="Nexa Book"/>
                        </a:defRPr>
                      </a:pPr>
                      <a:r>
                        <a:rPr sz="600">
                          <a:latin typeface="Nexa Book"/>
                        </a:rPr>
                        <a:t>145%</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202582">
                <a:tc>
                  <a:txBody>
                    <a:bodyPr/>
                    <a:lstStyle/>
                    <a:p>
                      <a:pPr algn="l">
                        <a:defRPr sz="600">
                          <a:latin typeface="Nexa Book"/>
                        </a:defRPr>
                      </a:pPr>
                      <a:r>
                        <a:rPr sz="600">
                          <a:latin typeface="Nexa Book"/>
                        </a:rPr>
                        <a:t>Gillette</a:t>
                      </a:r>
                    </a:p>
                  </a:txBody>
                  <a:tcPr marL="2858" marR="2858" marT="2858" marB="0" anchor="ctr">
                    <a:noFill/>
                  </a:tcPr>
                </a:tc>
                <a:tc>
                  <a:txBody>
                    <a:bodyPr/>
                    <a:lstStyle/>
                    <a:p>
                      <a:pPr algn="l">
                        <a:defRPr sz="600">
                          <a:latin typeface="Nexa Book"/>
                        </a:defRPr>
                      </a:pPr>
                      <a:r>
                        <a:rPr sz="600">
                          <a:latin typeface="Nexa Book"/>
                        </a:rPr>
                        <a:t>GILLETTE FUSION 5 PROGLIDE 5 BLADE RAZOR NORMAL 4CT</a:t>
                      </a:r>
                    </a:p>
                  </a:txBody>
                  <a:tcPr marL="2858" marR="2858" marT="2858" marB="0" anchor="ctr">
                    <a:noFill/>
                  </a:tcPr>
                </a:tc>
                <a:tc>
                  <a:txBody>
                    <a:bodyPr/>
                    <a:lstStyle/>
                    <a:p>
                      <a:pPr algn="ctr">
                        <a:defRPr sz="600">
                          <a:latin typeface="Nexa Book"/>
                        </a:defRPr>
                      </a:pPr>
                      <a:r>
                        <a:rPr sz="600">
                          <a:latin typeface="Nexa Book"/>
                        </a:rPr>
                        <a:t>45%</a:t>
                      </a:r>
                    </a:p>
                  </a:txBody>
                  <a:tcPr marL="2858" marR="2858" marT="2858" marB="0" anchor="ctr">
                    <a:noFill/>
                  </a:tcPr>
                </a:tc>
                <a:tc>
                  <a:txBody>
                    <a:bodyPr/>
                    <a:lstStyle/>
                    <a:p>
                      <a:pPr algn="ctr">
                        <a:defRPr sz="600">
                          <a:latin typeface="Nexa Book"/>
                        </a:defRPr>
                      </a:pPr>
                      <a:r>
                        <a:rPr sz="600">
                          <a:latin typeface="Nexa Book"/>
                        </a:rPr>
                        <a:t>26%</a:t>
                      </a:r>
                    </a:p>
                  </a:txBody>
                  <a:tcPr marL="2858" marR="2858" marT="2858" marB="0" anchor="ctr">
                    <a:noFill/>
                  </a:tcPr>
                </a:tc>
                <a:tc>
                  <a:txBody>
                    <a:bodyPr/>
                    <a:lstStyle/>
                    <a:p>
                      <a:pPr algn="ctr">
                        <a:defRPr sz="600">
                          <a:latin typeface="Nexa Book"/>
                        </a:defRPr>
                      </a:pPr>
                      <a:r>
                        <a:rPr sz="600">
                          <a:latin typeface="Nexa Book"/>
                        </a:rPr>
                        <a:t> 22.98</a:t>
                      </a:r>
                    </a:p>
                  </a:txBody>
                  <a:tcPr marL="2858" marR="2858" marT="2858" marB="0" anchor="ctr">
                    <a:noFill/>
                  </a:tcPr>
                </a:tc>
                <a:tc>
                  <a:txBody>
                    <a:bodyPr/>
                    <a:lstStyle/>
                    <a:p>
                      <a:pPr algn="ctr">
                        <a:defRPr sz="600">
                          <a:latin typeface="Nexa Book"/>
                        </a:defRPr>
                      </a:pPr>
                      <a:r>
                        <a:rPr sz="600">
                          <a:latin typeface="Nexa Book"/>
                        </a:rPr>
                        <a:t> 12.58</a:t>
                      </a:r>
                    </a:p>
                  </a:txBody>
                  <a:tcPr marL="2858" marR="2858" marT="2858" marB="0" anchor="ctr">
                    <a:noFill/>
                  </a:tcPr>
                </a:tc>
                <a:tc>
                  <a:txBody>
                    <a:bodyPr/>
                    <a:lstStyle/>
                    <a:p>
                      <a:pPr algn="ctr">
                        <a:defRPr sz="600">
                          <a:latin typeface="Nexa Book"/>
                        </a:defRPr>
                      </a:pPr>
                      <a:r>
                        <a:rPr sz="600">
                          <a:latin typeface="Nexa Book"/>
                        </a:rPr>
                        <a:t>829'105</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120%</a:t>
                      </a:r>
                    </a:p>
                  </a:txBody>
                  <a:tcPr marL="2858" marR="2858" marT="2858" marB="0" anchor="ctr">
                    <a:noFill/>
                  </a:tcPr>
                </a:tc>
                <a:tc>
                  <a:txBody>
                    <a:bodyPr/>
                    <a:lstStyle/>
                    <a:p>
                      <a:pPr algn="ctr">
                        <a:defRPr sz="600">
                          <a:latin typeface="Nexa Book"/>
                        </a:defRPr>
                      </a:pPr>
                      <a:r>
                        <a:rPr sz="600">
                          <a:latin typeface="Nexa Book"/>
                        </a:rPr>
                        <a:t>20404</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202582">
                <a:tc>
                  <a:txBody>
                    <a:bodyPr/>
                    <a:lstStyle/>
                    <a:p>
                      <a:pPr algn="l">
                        <a:defRPr sz="600">
                          <a:latin typeface="Nexa Book"/>
                        </a:defRPr>
                      </a:pPr>
                      <a:r>
                        <a:rPr sz="600">
                          <a:latin typeface="Nexa Book"/>
                        </a:rPr>
                        <a:t>Bic</a:t>
                      </a:r>
                    </a:p>
                  </a:txBody>
                  <a:tcPr marL="2858" marR="2858" marT="2858" marB="0" anchor="ctr">
                    <a:noFill/>
                  </a:tcPr>
                </a:tc>
                <a:tc>
                  <a:txBody>
                    <a:bodyPr/>
                    <a:lstStyle/>
                    <a:p>
                      <a:pPr algn="l">
                        <a:defRPr sz="600">
                          <a:latin typeface="Nexa Book"/>
                        </a:defRPr>
                      </a:pPr>
                      <a:r>
                        <a:rPr sz="600">
                          <a:latin typeface="Nexa Book"/>
                        </a:rPr>
                        <a:t>BIC FLEX 3 3 BLADE DISPOSABLE NORMAL 2CT</a:t>
                      </a:r>
                    </a:p>
                  </a:txBody>
                  <a:tcPr marL="2858" marR="2858" marT="2858" marB="0" anchor="ctr">
                    <a:noFill/>
                  </a:tcPr>
                </a:tc>
                <a:tc>
                  <a:txBody>
                    <a:bodyPr/>
                    <a:lstStyle/>
                    <a:p>
                      <a:pPr algn="ctr">
                        <a:defRPr sz="600">
                          <a:latin typeface="Nexa Book"/>
                        </a:defRPr>
                      </a:pPr>
                      <a:r>
                        <a:rPr sz="600">
                          <a:latin typeface="Nexa Book"/>
                        </a:rPr>
                        <a:t>16%</a:t>
                      </a:r>
                    </a:p>
                  </a:txBody>
                  <a:tcPr marL="2858" marR="2858" marT="2858" marB="0" anchor="ctr">
                    <a:noFill/>
                  </a:tcPr>
                </a:tc>
                <a:tc>
                  <a:txBody>
                    <a:bodyPr/>
                    <a:lstStyle/>
                    <a:p>
                      <a:pPr algn="ctr">
                        <a:defRPr sz="600">
                          <a:latin typeface="Nexa Book"/>
                        </a:defRPr>
                      </a:pPr>
                      <a:r>
                        <a:rPr sz="600">
                          <a:latin typeface="Nexa Book"/>
                        </a:rPr>
                        <a:t>39%</a:t>
                      </a:r>
                    </a:p>
                  </a:txBody>
                  <a:tcPr marL="2858" marR="2858" marT="2858" marB="0" anchor="ctr">
                    <a:noFill/>
                  </a:tcPr>
                </a:tc>
                <a:tc>
                  <a:txBody>
                    <a:bodyPr/>
                    <a:lstStyle/>
                    <a:p>
                      <a:pPr algn="ctr">
                        <a:defRPr sz="600">
                          <a:latin typeface="Nexa Book"/>
                        </a:defRPr>
                      </a:pPr>
                      <a:r>
                        <a:rPr sz="600">
                          <a:latin typeface="Nexa Book"/>
                        </a:rPr>
                        <a:t> 5.10</a:t>
                      </a:r>
                    </a:p>
                  </a:txBody>
                  <a:tcPr marL="2858" marR="2858" marT="2858" marB="0" anchor="ctr">
                    <a:noFill/>
                  </a:tcPr>
                </a:tc>
                <a:tc>
                  <a:txBody>
                    <a:bodyPr/>
                    <a:lstStyle/>
                    <a:p>
                      <a:pPr algn="ctr">
                        <a:defRPr sz="600">
                          <a:latin typeface="Nexa Book"/>
                        </a:defRPr>
                      </a:pPr>
                      <a:r>
                        <a:rPr sz="600">
                          <a:latin typeface="Nexa Book"/>
                        </a:rPr>
                        <a:t> 4.62</a:t>
                      </a:r>
                    </a:p>
                  </a:txBody>
                  <a:tcPr marL="2858" marR="2858" marT="2858" marB="0" anchor="ctr">
                    <a:noFill/>
                  </a:tcPr>
                </a:tc>
                <a:tc>
                  <a:txBody>
                    <a:bodyPr/>
                    <a:lstStyle/>
                    <a:p>
                      <a:pPr algn="ctr">
                        <a:defRPr sz="600">
                          <a:latin typeface="Nexa Book"/>
                        </a:defRPr>
                      </a:pPr>
                      <a:r>
                        <a:rPr sz="600">
                          <a:latin typeface="Nexa Book"/>
                        </a:rPr>
                        <a:t>612'423</a:t>
                      </a:r>
                    </a:p>
                  </a:txBody>
                  <a:tcPr marL="2858" marR="2858" marT="2858" marB="0" anchor="ctr">
                    <a:noFill/>
                  </a:tcPr>
                </a:tc>
                <a:tc>
                  <a:txBody>
                    <a:bodyPr/>
                    <a:lstStyle/>
                    <a:p>
                      <a:pPr algn="ctr">
                        <a:defRPr sz="600">
                          <a:latin typeface="Nexa Book"/>
                        </a:defRPr>
                      </a:pPr>
                      <a:r>
                        <a:rPr sz="600">
                          <a:latin typeface="Nexa Book"/>
                        </a:rPr>
                        <a:t>2%</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6608</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20258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GREEN 3 BLADE DISPOSABLE SENSITIVE 8CT</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 11.01</a:t>
                      </a:r>
                    </a:p>
                  </a:txBody>
                  <a:tcPr marL="2858" marR="2858" marT="2858" marB="0" anchor="ctr">
                    <a:noFill/>
                  </a:tcPr>
                </a:tc>
                <a:tc>
                  <a:txBody>
                    <a:bodyPr/>
                    <a:lstStyle/>
                    <a:p>
                      <a:pPr algn="ctr">
                        <a:defRPr sz="600">
                          <a:latin typeface="Nexa Book"/>
                        </a:defRPr>
                      </a:pPr>
                      <a:r>
                        <a:rPr sz="600">
                          <a:latin typeface="Nexa Book"/>
                        </a:rPr>
                        <a:t> 9.88</a:t>
                      </a:r>
                    </a:p>
                  </a:txBody>
                  <a:tcPr marL="2858" marR="2858" marT="2858" marB="0" anchor="ctr">
                    <a:noFill/>
                  </a:tcPr>
                </a:tc>
                <a:tc>
                  <a:txBody>
                    <a:bodyPr/>
                    <a:lstStyle/>
                    <a:p>
                      <a:pPr algn="ctr">
                        <a:defRPr sz="600">
                          <a:latin typeface="Nexa Book"/>
                        </a:defRPr>
                      </a:pPr>
                      <a:r>
                        <a:rPr sz="600">
                          <a:latin typeface="Nexa Book"/>
                        </a:rPr>
                        <a:t>350'447</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65%</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20258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5 BLADE REFILL SENSITIVE 12CT</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29%</a:t>
                      </a:r>
                    </a:p>
                  </a:txBody>
                  <a:tcPr marL="2858" marR="2858" marT="2858" marB="0" anchor="ctr">
                    <a:noFill/>
                  </a:tcPr>
                </a:tc>
                <a:tc>
                  <a:txBody>
                    <a:bodyPr/>
                    <a:lstStyle/>
                    <a:p>
                      <a:pPr algn="ctr">
                        <a:defRPr sz="600">
                          <a:latin typeface="Nexa Book"/>
                        </a:defRPr>
                      </a:pPr>
                      <a:r>
                        <a:rPr sz="600">
                          <a:latin typeface="Nexa Book"/>
                        </a:rPr>
                        <a:t> 26.97</a:t>
                      </a:r>
                    </a:p>
                  </a:txBody>
                  <a:tcPr marL="2858" marR="2858" marT="2858" marB="0" anchor="ctr">
                    <a:noFill/>
                  </a:tcPr>
                </a:tc>
                <a:tc>
                  <a:txBody>
                    <a:bodyPr/>
                    <a:lstStyle/>
                    <a:p>
                      <a:pPr algn="ctr">
                        <a:defRPr sz="600">
                          <a:latin typeface="Nexa Book"/>
                        </a:defRPr>
                      </a:pPr>
                      <a:r>
                        <a:rPr sz="600">
                          <a:latin typeface="Nexa Book"/>
                        </a:rPr>
                        <a:t> 24.15</a:t>
                      </a:r>
                    </a:p>
                  </a:txBody>
                  <a:tcPr marL="2858" marR="2858" marT="2858" marB="0" anchor="ctr">
                    <a:noFill/>
                  </a:tcPr>
                </a:tc>
                <a:tc>
                  <a:txBody>
                    <a:bodyPr/>
                    <a:lstStyle/>
                    <a:p>
                      <a:pPr algn="ctr">
                        <a:defRPr sz="600">
                          <a:latin typeface="Nexa Book"/>
                        </a:defRPr>
                      </a:pPr>
                      <a:r>
                        <a:rPr sz="600">
                          <a:latin typeface="Nexa Book"/>
                        </a:rPr>
                        <a:t>914'106</a:t>
                      </a:r>
                    </a:p>
                  </a:txBody>
                  <a:tcPr marL="2858" marR="2858" marT="2858" marB="0" anchor="ctr">
                    <a:noFill/>
                  </a:tcPr>
                </a:tc>
                <a:tc>
                  <a:txBody>
                    <a:bodyPr/>
                    <a:lstStyle/>
                    <a:p>
                      <a:pPr algn="ctr">
                        <a:defRPr sz="600">
                          <a:latin typeface="Nexa Book"/>
                        </a:defRPr>
                      </a:pPr>
                      <a:r>
                        <a:rPr sz="600">
                          <a:latin typeface="Nexa Book"/>
                        </a:rPr>
                        <a:t>-2%</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2900</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r>
                        <a:rPr sz="600">
                          <a:latin typeface="Nexa Book"/>
                        </a:rPr>
                        <a:t>69%</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20258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5 BLADE REFILL SENSITIVE 6CT</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28%</a:t>
                      </a:r>
                    </a:p>
                  </a:txBody>
                  <a:tcPr marL="2858" marR="2858" marT="2858" marB="0" anchor="ctr">
                    <a:noFill/>
                  </a:tcPr>
                </a:tc>
                <a:tc>
                  <a:txBody>
                    <a:bodyPr/>
                    <a:lstStyle/>
                    <a:p>
                      <a:pPr algn="ctr">
                        <a:defRPr sz="600">
                          <a:latin typeface="Nexa Book"/>
                        </a:defRPr>
                      </a:pPr>
                      <a:r>
                        <a:rPr sz="600">
                          <a:latin typeface="Nexa Book"/>
                        </a:rPr>
                        <a:t> 14.91</a:t>
                      </a:r>
                    </a:p>
                  </a:txBody>
                  <a:tcPr marL="2858" marR="2858" marT="2858" marB="0" anchor="ctr">
                    <a:noFill/>
                  </a:tcPr>
                </a:tc>
                <a:tc>
                  <a:txBody>
                    <a:bodyPr/>
                    <a:lstStyle/>
                    <a:p>
                      <a:pPr algn="ctr">
                        <a:defRPr sz="600">
                          <a:latin typeface="Nexa Book"/>
                        </a:defRPr>
                      </a:pPr>
                      <a:r>
                        <a:rPr sz="600">
                          <a:latin typeface="Nexa Book"/>
                        </a:rPr>
                        <a:t> 13.84</a:t>
                      </a:r>
                    </a:p>
                  </a:txBody>
                  <a:tcPr marL="2858" marR="2858" marT="2858" marB="0" anchor="ctr">
                    <a:noFill/>
                  </a:tcPr>
                </a:tc>
                <a:tc>
                  <a:txBody>
                    <a:bodyPr/>
                    <a:lstStyle/>
                    <a:p>
                      <a:pPr algn="ctr">
                        <a:defRPr sz="600">
                          <a:latin typeface="Nexa Book"/>
                        </a:defRPr>
                      </a:pPr>
                      <a:r>
                        <a:rPr sz="600">
                          <a:latin typeface="Nexa Book"/>
                        </a:rPr>
                        <a:t>1'432'558</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r>
                        <a:rPr sz="600">
                          <a:latin typeface="Nexa Book"/>
                        </a:rPr>
                        <a:t>2%</a:t>
                      </a:r>
                    </a:p>
                  </a:txBody>
                  <a:tcPr marL="2858" marR="2858" marT="2858" marB="0" anchor="ctr">
                    <a:noFill/>
                  </a:tcPr>
                </a:tc>
                <a:tc>
                  <a:txBody>
                    <a:bodyPr/>
                    <a:lstStyle/>
                    <a:p>
                      <a:pPr algn="ctr">
                        <a:defRPr sz="600">
                          <a:latin typeface="Nexa Book"/>
                        </a:defRPr>
                      </a:pPr>
                      <a:r>
                        <a:rPr sz="600">
                          <a:latin typeface="Nexa Book"/>
                        </a:rPr>
                        <a:t>-77819</a:t>
                      </a:r>
                    </a:p>
                  </a:txBody>
                  <a:tcPr marL="2858" marR="2858" marT="2858" marB="0" anchor="ctr">
                    <a:noFill/>
                  </a:tcPr>
                </a:tc>
                <a:tc>
                  <a:txBody>
                    <a:bodyPr/>
                    <a:lstStyle/>
                    <a:p>
                      <a:pPr algn="ctr">
                        <a:defRPr sz="600">
                          <a:latin typeface="Nexa Book"/>
                        </a:defRPr>
                      </a:pPr>
                      <a:r>
                        <a:rPr sz="600">
                          <a:latin typeface="Nexa Book"/>
                        </a:rPr>
                        <a:t>-69%</a:t>
                      </a:r>
                    </a:p>
                  </a:txBody>
                  <a:tcPr marL="2858" marR="2858" marT="2858" marB="0" anchor="ctr">
                    <a:noFill/>
                  </a:tcPr>
                </a:tc>
                <a:tc>
                  <a:txBody>
                    <a:bodyPr/>
                    <a:lstStyle/>
                    <a:p>
                      <a:pPr algn="ctr">
                        <a:defRPr sz="600">
                          <a:latin typeface="Nexa Book"/>
                        </a:defRPr>
                      </a:pPr>
                      <a:r>
                        <a:rPr sz="600">
                          <a:latin typeface="Nexa Book"/>
                        </a:rPr>
                        <a:t>69%</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202582">
                <a:tc>
                  <a:txBody>
                    <a:bodyPr/>
                    <a:lstStyle/>
                    <a:p>
                      <a:pPr algn="l">
                        <a:defRPr sz="600">
                          <a:latin typeface="Nexa Book"/>
                        </a:defRPr>
                      </a:pPr>
                      <a:r>
                        <a:rPr sz="600">
                          <a:latin typeface="Nexa Book"/>
                        </a:rPr>
                        <a:t>Gillette</a:t>
                      </a:r>
                    </a:p>
                  </a:txBody>
                  <a:tcPr marL="2858" marR="2858" marT="2858" marB="0" anchor="ctr">
                    <a:noFill/>
                  </a:tcPr>
                </a:tc>
                <a:tc>
                  <a:txBody>
                    <a:bodyPr/>
                    <a:lstStyle/>
                    <a:p>
                      <a:pPr algn="l">
                        <a:defRPr sz="600">
                          <a:latin typeface="Nexa Book"/>
                        </a:defRPr>
                      </a:pPr>
                      <a:r>
                        <a:rPr sz="600">
                          <a:latin typeface="Nexa Book"/>
                        </a:rPr>
                        <a:t>GILLETTE FUSION 5 PROGLIDE 5 BLADE REFILL NORMAL 12CT</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37%</a:t>
                      </a:r>
                    </a:p>
                  </a:txBody>
                  <a:tcPr marL="2858" marR="2858" marT="2858" marB="0" anchor="ctr">
                    <a:noFill/>
                  </a:tcPr>
                </a:tc>
                <a:tc>
                  <a:txBody>
                    <a:bodyPr/>
                    <a:lstStyle/>
                    <a:p>
                      <a:pPr algn="ctr">
                        <a:defRPr sz="600">
                          <a:latin typeface="Nexa Book"/>
                        </a:defRPr>
                      </a:pPr>
                      <a:r>
                        <a:rPr sz="600">
                          <a:latin typeface="Nexa Book"/>
                        </a:rPr>
                        <a:t> 45.14</a:t>
                      </a:r>
                    </a:p>
                  </a:txBody>
                  <a:tcPr marL="2858" marR="2858" marT="2858" marB="0" anchor="ctr">
                    <a:noFill/>
                  </a:tcPr>
                </a:tc>
                <a:tc>
                  <a:txBody>
                    <a:bodyPr/>
                    <a:lstStyle/>
                    <a:p>
                      <a:pPr algn="ctr">
                        <a:defRPr sz="600">
                          <a:latin typeface="Nexa Book"/>
                        </a:defRPr>
                      </a:pPr>
                      <a:r>
                        <a:rPr sz="600">
                          <a:latin typeface="Nexa Book"/>
                        </a:rPr>
                        <a:t> 41.03</a:t>
                      </a:r>
                    </a:p>
                  </a:txBody>
                  <a:tcPr marL="2858" marR="2858" marT="2858" marB="0" anchor="ctr">
                    <a:noFill/>
                  </a:tcPr>
                </a:tc>
                <a:tc>
                  <a:txBody>
                    <a:bodyPr/>
                    <a:lstStyle/>
                    <a:p>
                      <a:pPr algn="ctr">
                        <a:defRPr sz="600">
                          <a:latin typeface="Nexa Book"/>
                        </a:defRPr>
                      </a:pPr>
                      <a:r>
                        <a:rPr sz="600">
                          <a:latin typeface="Nexa Book"/>
                        </a:rPr>
                        <a:t>1'539'499</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178664</a:t>
                      </a:r>
                    </a:p>
                  </a:txBody>
                  <a:tcPr marL="2858" marR="2858" marT="2858" marB="0" anchor="ctr">
                    <a:noFill/>
                  </a:tcPr>
                </a:tc>
                <a:tc>
                  <a:txBody>
                    <a:bodyPr/>
                    <a:lstStyle/>
                    <a:p>
                      <a:pPr algn="ctr">
                        <a:defRPr sz="600">
                          <a:latin typeface="Nexa Book"/>
                        </a:defRPr>
                      </a:pPr>
                      <a:r>
                        <a:rPr sz="600">
                          <a:latin typeface="Nexa Book"/>
                        </a:rPr>
                        <a:t>-109%</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202582">
                <a:tc>
                  <a:txBody>
                    <a:bodyPr/>
                    <a:lstStyle/>
                    <a:p>
                      <a:pPr algn="l">
                        <a:defRPr sz="600">
                          <a:latin typeface="Nexa Book"/>
                        </a:defRPr>
                      </a:pPr>
                      <a:r>
                        <a:rPr sz="600">
                          <a:latin typeface="Nexa Book"/>
                        </a:rPr>
                        <a:t>Gillette</a:t>
                      </a:r>
                    </a:p>
                  </a:txBody>
                  <a:tcPr marL="2858" marR="2858" marT="2858" marB="0" anchor="ctr">
                    <a:noFill/>
                  </a:tcPr>
                </a:tc>
                <a:tc>
                  <a:txBody>
                    <a:bodyPr/>
                    <a:lstStyle/>
                    <a:p>
                      <a:pPr algn="l">
                        <a:defRPr sz="600">
                          <a:latin typeface="Nexa Book"/>
                        </a:defRPr>
                      </a:pPr>
                      <a:r>
                        <a:rPr sz="600">
                          <a:latin typeface="Nexa Book"/>
                        </a:rPr>
                        <a:t>GILLETTE FUSION 5 PROGLIDE 5 BLADE REFILL NORMAL 8CT</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28%</a:t>
                      </a:r>
                    </a:p>
                  </a:txBody>
                  <a:tcPr marL="2858" marR="2858" marT="2858" marB="0" anchor="ctr">
                    <a:noFill/>
                  </a:tcPr>
                </a:tc>
                <a:tc>
                  <a:txBody>
                    <a:bodyPr/>
                    <a:lstStyle/>
                    <a:p>
                      <a:pPr algn="ctr">
                        <a:defRPr sz="600">
                          <a:latin typeface="Nexa Book"/>
                        </a:defRPr>
                      </a:pPr>
                      <a:r>
                        <a:rPr sz="600">
                          <a:latin typeface="Nexa Book"/>
                        </a:rPr>
                        <a:t> 34.63</a:t>
                      </a:r>
                    </a:p>
                  </a:txBody>
                  <a:tcPr marL="2858" marR="2858" marT="2858" marB="0" anchor="ctr">
                    <a:noFill/>
                  </a:tcPr>
                </a:tc>
                <a:tc>
                  <a:txBody>
                    <a:bodyPr/>
                    <a:lstStyle/>
                    <a:p>
                      <a:pPr algn="ctr">
                        <a:defRPr sz="600">
                          <a:latin typeface="Nexa Book"/>
                        </a:defRPr>
                      </a:pPr>
                      <a:r>
                        <a:rPr sz="600">
                          <a:latin typeface="Nexa Book"/>
                        </a:rPr>
                        <a:t> 29.96</a:t>
                      </a:r>
                    </a:p>
                  </a:txBody>
                  <a:tcPr marL="2858" marR="2858" marT="2858" marB="0" anchor="ctr">
                    <a:noFill/>
                  </a:tcPr>
                </a:tc>
                <a:tc>
                  <a:txBody>
                    <a:bodyPr/>
                    <a:lstStyle/>
                    <a:p>
                      <a:pPr algn="ctr">
                        <a:defRPr sz="600">
                          <a:latin typeface="Nexa Book"/>
                        </a:defRPr>
                      </a:pPr>
                      <a:r>
                        <a:rPr sz="600">
                          <a:latin typeface="Nexa Book"/>
                        </a:rPr>
                        <a:t>1'162'498</a:t>
                      </a:r>
                    </a:p>
                  </a:txBody>
                  <a:tcPr marL="2858" marR="2858" marT="2858" marB="0" anchor="ctr">
                    <a:noFill/>
                  </a:tcPr>
                </a:tc>
                <a:tc>
                  <a:txBody>
                    <a:bodyPr/>
                    <a:lstStyle/>
                    <a:p>
                      <a:pPr algn="ctr">
                        <a:defRPr sz="600">
                          <a:latin typeface="Nexa Book"/>
                        </a:defRPr>
                      </a:pPr>
                      <a:r>
                        <a:rPr sz="600">
                          <a:latin typeface="Nexa Book"/>
                        </a:rPr>
                        <a:t>-15%</a:t>
                      </a:r>
                    </a:p>
                  </a:txBody>
                  <a:tcPr marL="2858" marR="2858" marT="2858" marB="0" anchor="ctr">
                    <a:noFill/>
                  </a:tcPr>
                </a:tc>
                <a:tc>
                  <a:txBody>
                    <a:bodyPr/>
                    <a:lstStyle/>
                    <a:p>
                      <a:pPr algn="ctr">
                        <a:defRPr sz="600">
                          <a:latin typeface="Nexa Book"/>
                        </a:defRPr>
                      </a:pPr>
                      <a:r>
                        <a:rPr sz="600">
                          <a:latin typeface="Nexa Book"/>
                        </a:rPr>
                        <a:t>1%</a:t>
                      </a:r>
                    </a:p>
                  </a:txBody>
                  <a:tcPr marL="2858" marR="2858" marT="2858" marB="0" anchor="ctr">
                    <a:noFill/>
                  </a:tcPr>
                </a:tc>
                <a:tc>
                  <a:txBody>
                    <a:bodyPr/>
                    <a:lstStyle/>
                    <a:p>
                      <a:pPr algn="ctr">
                        <a:defRPr sz="600">
                          <a:latin typeface="Nexa Book"/>
                        </a:defRPr>
                      </a:pPr>
                      <a:r>
                        <a:rPr sz="600">
                          <a:latin typeface="Nexa Book"/>
                        </a:rPr>
                        <a:t>-188721</a:t>
                      </a:r>
                    </a:p>
                  </a:txBody>
                  <a:tcPr marL="2858" marR="2858" marT="2858" marB="0" anchor="ctr">
                    <a:noFill/>
                  </a:tcPr>
                </a:tc>
                <a:tc>
                  <a:txBody>
                    <a:bodyPr/>
                    <a:lstStyle/>
                    <a:p>
                      <a:pPr algn="ctr">
                        <a:defRPr sz="600">
                          <a:latin typeface="Nexa Book"/>
                        </a:defRPr>
                      </a:pPr>
                      <a:r>
                        <a:rPr sz="600">
                          <a:latin typeface="Nexa Book"/>
                        </a:rPr>
                        <a:t>-99%</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193685503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8/18/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Bj's And Sam's | System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0">
                <a:tc>
                  <a:txBody>
                    <a:bodyPr/>
                    <a:lstStyle/>
                    <a:p>
                      <a:pPr algn="l">
                        <a:defRPr sz="600">
                          <a:latin typeface="Nexa Book"/>
                        </a:defRPr>
                      </a:pPr>
                      <a:r>
                        <a:rPr sz="600">
                          <a:latin typeface="Nexa Book"/>
                        </a:rPr>
                        <a:t>Gillette</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GILLETTE FUSION 5 5 BLADE REFILL NORMAL 16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42.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37.8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5'406'313</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7%</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4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512673</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8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2175792047"/>
                  </a:ext>
                </a:extLst>
              </a:tr>
              <a:tr h="1620660">
                <a:tc>
                  <a:txBody>
                    <a:bodyPr/>
                    <a:lstStyle/>
                    <a:p>
                      <a:pPr algn="l">
                        <a:defRPr sz="600">
                          <a:latin typeface="Nexa Book"/>
                        </a:defRPr>
                      </a:pPr>
                      <a:r>
                        <a:rPr sz="600">
                          <a:latin typeface="Nexa Book"/>
                        </a:rPr>
                        <a:t>Gillette</a:t>
                      </a:r>
                    </a:p>
                  </a:txBody>
                  <a:tcPr marL="2858" marR="2858" marT="2858" marB="0" anchor="ctr">
                    <a:noFill/>
                  </a:tcPr>
                </a:tc>
                <a:tc>
                  <a:txBody>
                    <a:bodyPr/>
                    <a:lstStyle/>
                    <a:p>
                      <a:pPr algn="l">
                        <a:defRPr sz="600">
                          <a:latin typeface="Nexa Book"/>
                        </a:defRPr>
                      </a:pPr>
                      <a:r>
                        <a:rPr sz="600">
                          <a:latin typeface="Nexa Book"/>
                        </a:rPr>
                        <a:t>GILLETTE MACH 3 3 BLADE REFILL NORMAL 20CT</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51%</a:t>
                      </a:r>
                    </a:p>
                  </a:txBody>
                  <a:tcPr marL="2858" marR="2858" marT="2858" marB="0" anchor="ctr">
                    <a:noFill/>
                  </a:tcPr>
                </a:tc>
                <a:tc>
                  <a:txBody>
                    <a:bodyPr/>
                    <a:lstStyle/>
                    <a:p>
                      <a:pPr algn="ctr">
                        <a:defRPr sz="600">
                          <a:latin typeface="Nexa Book"/>
                        </a:defRPr>
                      </a:pPr>
                      <a:r>
                        <a:rPr sz="600">
                          <a:latin typeface="Nexa Book"/>
                        </a:rPr>
                        <a:t> 39.25</a:t>
                      </a:r>
                    </a:p>
                  </a:txBody>
                  <a:tcPr marL="2858" marR="2858" marT="2858" marB="0" anchor="ctr">
                    <a:noFill/>
                  </a:tcPr>
                </a:tc>
                <a:tc>
                  <a:txBody>
                    <a:bodyPr/>
                    <a:lstStyle/>
                    <a:p>
                      <a:pPr algn="ctr">
                        <a:defRPr sz="600">
                          <a:latin typeface="Nexa Book"/>
                        </a:defRPr>
                      </a:pPr>
                      <a:r>
                        <a:rPr sz="600">
                          <a:latin typeface="Nexa Book"/>
                        </a:rPr>
                        <a:t> 35.36</a:t>
                      </a:r>
                    </a:p>
                  </a:txBody>
                  <a:tcPr marL="2858" marR="2858" marT="2858" marB="0" anchor="ctr">
                    <a:noFill/>
                  </a:tcPr>
                </a:tc>
                <a:tc>
                  <a:txBody>
                    <a:bodyPr/>
                    <a:lstStyle/>
                    <a:p>
                      <a:pPr algn="ctr">
                        <a:defRPr sz="600">
                          <a:latin typeface="Nexa Book"/>
                        </a:defRPr>
                      </a:pPr>
                      <a:r>
                        <a:rPr sz="600">
                          <a:latin typeface="Nexa Book"/>
                        </a:rPr>
                        <a:t>9'284'787</a:t>
                      </a:r>
                    </a:p>
                  </a:txBody>
                  <a:tcPr marL="2858" marR="2858" marT="2858" marB="0" anchor="ctr">
                    <a:noFill/>
                  </a:tcPr>
                </a:tc>
                <a:tc>
                  <a:txBody>
                    <a:bodyPr/>
                    <a:lstStyle/>
                    <a:p>
                      <a:pPr algn="ctr">
                        <a:defRPr sz="600">
                          <a:latin typeface="Nexa Book"/>
                        </a:defRPr>
                      </a:pPr>
                      <a:r>
                        <a:rPr sz="600">
                          <a:latin typeface="Nexa Book"/>
                        </a:rPr>
                        <a:t>18%</a:t>
                      </a:r>
                    </a:p>
                  </a:txBody>
                  <a:tcPr marL="2858" marR="2858" marT="2858" marB="0" anchor="ctr">
                    <a:noFill/>
                  </a:tcPr>
                </a:tc>
                <a:tc>
                  <a:txBody>
                    <a:bodyPr/>
                    <a:lstStyle/>
                    <a:p>
                      <a:pPr algn="ctr">
                        <a:defRPr sz="600">
                          <a:latin typeface="Nexa Book"/>
                        </a:defRPr>
                      </a:pPr>
                      <a:r>
                        <a:rPr sz="600">
                          <a:latin typeface="Nexa Book"/>
                        </a:rPr>
                        <a:t>32%</a:t>
                      </a:r>
                    </a:p>
                  </a:txBody>
                  <a:tcPr marL="2858" marR="2858" marT="2858" marB="0" anchor="ctr">
                    <a:noFill/>
                  </a:tcPr>
                </a:tc>
                <a:tc>
                  <a:txBody>
                    <a:bodyPr/>
                    <a:lstStyle/>
                    <a:p>
                      <a:pPr algn="ctr">
                        <a:defRPr sz="600">
                          <a:latin typeface="Nexa Book"/>
                        </a:defRPr>
                      </a:pPr>
                      <a:r>
                        <a:rPr sz="600">
                          <a:latin typeface="Nexa Book"/>
                        </a:rPr>
                        <a:t>1299678</a:t>
                      </a:r>
                    </a:p>
                  </a:txBody>
                  <a:tcPr marL="2858" marR="2858" marT="2858" marB="0" anchor="ctr">
                    <a:noFill/>
                  </a:tcPr>
                </a:tc>
                <a:tc>
                  <a:txBody>
                    <a:bodyPr/>
                    <a:lstStyle/>
                    <a:p>
                      <a:pPr algn="ctr">
                        <a:defRPr sz="600">
                          <a:latin typeface="Nexa Book"/>
                        </a:defRPr>
                      </a:pPr>
                      <a:r>
                        <a:rPr sz="600">
                          <a:latin typeface="Nexa Book"/>
                        </a:rPr>
                        <a:t>133%</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23372015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8/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Walmart | System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3"/>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539960">
                <a:tc>
                  <a:txBody>
                    <a:bodyPr/>
                    <a:lstStyle/>
                    <a:p>
                      <a:pPr algn="ctr">
                        <a:defRPr sz="800">
                          <a:latin typeface="Nexa Bold"/>
                        </a:defRPr>
                      </a:pPr>
                      <a:r>
                        <a:t>Gille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10,301,31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algn="ctr">
                        <a:defRPr sz="800">
                          <a:latin typeface="Nexa Book"/>
                        </a:defRPr>
                      </a:pPr>
                      <a:r>
                        <a:t>2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539960">
                <a:tc>
                  <a:txBody>
                    <a:bodyPr/>
                    <a:lstStyle/>
                    <a:p>
                      <a:pPr algn="ctr">
                        <a:defRPr sz="800">
                          <a:latin typeface="Nexa Bold"/>
                        </a:defRPr>
                      </a:pPr>
                      <a:r>
                        <a:t>Schick</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32,71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539960">
                <a:tc>
                  <a:txBody>
                    <a:bodyPr/>
                    <a:lstStyle/>
                    <a:p>
                      <a:pPr algn="ctr">
                        <a:defRPr sz="800">
                          <a:latin typeface="Nexa Bold"/>
                        </a:defRPr>
                      </a:pPr>
                      <a:r>
                        <a:t>Bic</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87,75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539960">
                <a:tc>
                  <a:txBody>
                    <a:bodyPr/>
                    <a:lstStyle/>
                    <a:p>
                      <a:pPr algn="ctr">
                        <a:defRPr sz="800">
                          <a:latin typeface="Nexa Bold"/>
                        </a:defRPr>
                      </a:pPr>
                      <a:r>
                        <a:t>Dollar Shave Club</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29,11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539960">
                <a:tc>
                  <a:txBody>
                    <a:bodyPr/>
                    <a:lstStyle/>
                    <a:p>
                      <a:pPr algn="ctr">
                        <a:defRPr sz="800">
                          <a:latin typeface="Nexa Bold"/>
                        </a:defRPr>
                      </a:pPr>
                      <a:r>
                        <a:t>Comfort 3</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3,97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539960">
                <a:tc>
                  <a:txBody>
                    <a:bodyPr/>
                    <a:lstStyle/>
                    <a:p>
                      <a:pPr algn="ctr">
                        <a:defRPr sz="800">
                          <a:latin typeface="Nexa Bold"/>
                        </a:defRPr>
                      </a:pPr>
                      <a:r>
                        <a:t>Equa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0,41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16678238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8/18/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Bj's And Sam's | Disposable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3241320">
                <a:tc>
                  <a:txBody>
                    <a:bodyPr/>
                    <a:lstStyle/>
                    <a:p>
                      <a:pPr algn="l">
                        <a:defRPr sz="600">
                          <a:latin typeface="Nexa Book"/>
                        </a:defRPr>
                      </a:pPr>
                      <a:r>
                        <a:rPr sz="600">
                          <a:latin typeface="Nexa Book"/>
                        </a:rPr>
                        <a:t>Gillette</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GILLETTE SENSOR 2 PLUS PIVOT 2 BLADE DISPOSABLE NORMAL 52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3%</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33.5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30.5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8'454'937</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3%</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3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52921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9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17387418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8/18/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Walmart | System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270110">
                <a:tc>
                  <a:txBody>
                    <a:bodyPr/>
                    <a:lstStyle/>
                    <a:p>
                      <a:pPr algn="l">
                        <a:defRPr sz="600">
                          <a:latin typeface="Nexa Book"/>
                        </a:defRPr>
                      </a:pPr>
                      <a:r>
                        <a:rPr sz="600">
                          <a:latin typeface="Nexa Book"/>
                        </a:rPr>
                        <a:t>Gillette</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GILLETTE FUSION 5 BLACK HOLIDAY GIFT PACK 5 BLADE RAZOR NORMAL 3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0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4.9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2.6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778'2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3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49925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5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292605199"/>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GRAY HOLIDAY GIFT PACK 5 BLADE RAZOR SENSITIVE 3CT</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0.00</a:t>
                      </a:r>
                    </a:p>
                  </a:txBody>
                  <a:tcPr marL="2858" marR="2858" marT="2858" marB="0" anchor="ctr">
                    <a:noFill/>
                  </a:tcPr>
                </a:tc>
                <a:tc>
                  <a:txBody>
                    <a:bodyPr/>
                    <a:lstStyle/>
                    <a:p>
                      <a:pPr algn="ctr">
                        <a:defRPr sz="600">
                          <a:latin typeface="Nexa Book"/>
                        </a:defRPr>
                      </a:pPr>
                      <a:r>
                        <a:rPr sz="600">
                          <a:latin typeface="Nexa Book"/>
                        </a:rPr>
                        <a:t> 8.58</a:t>
                      </a:r>
                    </a:p>
                  </a:txBody>
                  <a:tcPr marL="2858" marR="2858" marT="2858" marB="0" anchor="ctr">
                    <a:noFill/>
                  </a:tcPr>
                </a:tc>
                <a:tc>
                  <a:txBody>
                    <a:bodyPr/>
                    <a:lstStyle/>
                    <a:p>
                      <a:pPr algn="ctr">
                        <a:defRPr sz="600">
                          <a:latin typeface="Nexa Book"/>
                        </a:defRPr>
                      </a:pPr>
                      <a:r>
                        <a:rPr sz="600">
                          <a:latin typeface="Nexa Book"/>
                        </a:rPr>
                        <a:t>1'356'208</a:t>
                      </a:r>
                    </a:p>
                  </a:txBody>
                  <a:tcPr marL="2858" marR="2858" marT="2858" marB="0" anchor="ctr">
                    <a:noFill/>
                  </a:tcPr>
                </a:tc>
                <a:tc>
                  <a:txBody>
                    <a:bodyPr/>
                    <a:lstStyle/>
                    <a:p>
                      <a:pPr algn="ctr">
                        <a:defRPr sz="600">
                          <a:latin typeface="Nexa Book"/>
                        </a:defRPr>
                      </a:pPr>
                      <a:r>
                        <a:rPr sz="600">
                          <a:latin typeface="Nexa Book"/>
                        </a:rPr>
                        <a:t>85%</a:t>
                      </a:r>
                    </a:p>
                  </a:txBody>
                  <a:tcPr marL="2858" marR="2858" marT="2858" marB="0" anchor="ctr">
                    <a:noFill/>
                  </a:tcPr>
                </a:tc>
                <a:tc>
                  <a:txBody>
                    <a:bodyPr/>
                    <a:lstStyle/>
                    <a:p>
                      <a:pPr algn="ctr">
                        <a:defRPr sz="600">
                          <a:latin typeface="Nexa Book"/>
                        </a:defRPr>
                      </a:pPr>
                      <a:r>
                        <a:rPr sz="600">
                          <a:latin typeface="Nexa Book"/>
                        </a:rPr>
                        <a:t>131%</a:t>
                      </a:r>
                    </a:p>
                  </a:txBody>
                  <a:tcPr marL="2858" marR="2858" marT="2858" marB="0" anchor="ctr">
                    <a:noFill/>
                  </a:tcPr>
                </a:tc>
                <a:tc>
                  <a:txBody>
                    <a:bodyPr/>
                    <a:lstStyle/>
                    <a:p>
                      <a:pPr algn="ctr">
                        <a:defRPr sz="600">
                          <a:latin typeface="Nexa Book"/>
                        </a:defRPr>
                      </a:pPr>
                      <a:r>
                        <a:rPr sz="600">
                          <a:latin typeface="Nexa Book"/>
                        </a:rPr>
                        <a:t>391970</a:t>
                      </a:r>
                    </a:p>
                  </a:txBody>
                  <a:tcPr marL="2858" marR="2858" marT="2858" marB="0" anchor="ctr">
                    <a:noFill/>
                  </a:tcPr>
                </a:tc>
                <a:tc>
                  <a:txBody>
                    <a:bodyPr/>
                    <a:lstStyle/>
                    <a:p>
                      <a:pPr algn="ctr">
                        <a:defRPr sz="600">
                          <a:latin typeface="Nexa Book"/>
                        </a:defRPr>
                      </a:pPr>
                      <a:r>
                        <a:rPr sz="600">
                          <a:latin typeface="Nexa Book"/>
                        </a:rPr>
                        <a:t>175%</a:t>
                      </a:r>
                    </a:p>
                  </a:txBody>
                  <a:tcPr marL="2858" marR="2858" marT="2858" marB="0" anchor="ctr">
                    <a:noFill/>
                  </a:tcPr>
                </a:tc>
                <a:tc>
                  <a:txBody>
                    <a:bodyPr/>
                    <a:lstStyle/>
                    <a:p>
                      <a:pPr algn="ctr">
                        <a:defRPr sz="600">
                          <a:latin typeface="Nexa Book"/>
                        </a:defRPr>
                      </a:pPr>
                      <a:r>
                        <a:rPr sz="600">
                          <a:latin typeface="Nexa Book"/>
                        </a:rPr>
                        <a:t>25%</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270110">
                <a:tc>
                  <a:txBody>
                    <a:bodyPr/>
                    <a:lstStyle/>
                    <a:p>
                      <a:pPr algn="l">
                        <a:defRPr sz="600">
                          <a:latin typeface="Nexa Book"/>
                        </a:defRPr>
                      </a:pPr>
                      <a:r>
                        <a:rPr sz="600">
                          <a:latin typeface="Nexa Book"/>
                        </a:rPr>
                        <a:t>Gillette</a:t>
                      </a:r>
                    </a:p>
                  </a:txBody>
                  <a:tcPr marL="2858" marR="2858" marT="2858" marB="0" anchor="ctr">
                    <a:noFill/>
                  </a:tcPr>
                </a:tc>
                <a:tc>
                  <a:txBody>
                    <a:bodyPr/>
                    <a:lstStyle/>
                    <a:p>
                      <a:pPr algn="l">
                        <a:defRPr sz="600">
                          <a:latin typeface="Nexa Book"/>
                        </a:defRPr>
                      </a:pPr>
                      <a:r>
                        <a:rPr sz="600">
                          <a:latin typeface="Nexa Book"/>
                        </a:rPr>
                        <a:t>GILLETTE LABS ARCTIC CAMO HOLIDAY GIFT PACK 5 BLADE RAZOR NORMAL 2CT</a:t>
                      </a:r>
                    </a:p>
                  </a:txBody>
                  <a:tcPr marL="2858" marR="2858" marT="2858" marB="0" anchor="ctr">
                    <a:noFill/>
                  </a:tcPr>
                </a:tc>
                <a:tc>
                  <a:txBody>
                    <a:bodyPr/>
                    <a:lstStyle/>
                    <a:p>
                      <a:pPr algn="ctr">
                        <a:defRPr sz="600">
                          <a:latin typeface="Nexa Book"/>
                        </a:defRPr>
                      </a:pPr>
                      <a:r>
                        <a:rPr sz="600">
                          <a:latin typeface="Nexa Book"/>
                        </a:rPr>
                        <a:t>18%</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4.87</a:t>
                      </a:r>
                    </a:p>
                  </a:txBody>
                  <a:tcPr marL="2858" marR="2858" marT="2858" marB="0" anchor="ctr">
                    <a:noFill/>
                  </a:tcPr>
                </a:tc>
                <a:tc>
                  <a:txBody>
                    <a:bodyPr/>
                    <a:lstStyle/>
                    <a:p>
                      <a:pPr algn="ctr">
                        <a:defRPr sz="600">
                          <a:latin typeface="Nexa Book"/>
                        </a:defRPr>
                      </a:pPr>
                      <a:r>
                        <a:rPr sz="600">
                          <a:latin typeface="Nexa Book"/>
                        </a:rPr>
                        <a:t> 12.17</a:t>
                      </a:r>
                    </a:p>
                  </a:txBody>
                  <a:tcPr marL="2858" marR="2858" marT="2858" marB="0" anchor="ctr">
                    <a:noFill/>
                  </a:tcPr>
                </a:tc>
                <a:tc>
                  <a:txBody>
                    <a:bodyPr/>
                    <a:lstStyle/>
                    <a:p>
                      <a:pPr algn="ctr">
                        <a:defRPr sz="600">
                          <a:latin typeface="Nexa Book"/>
                        </a:defRPr>
                      </a:pPr>
                      <a:r>
                        <a:rPr sz="600">
                          <a:latin typeface="Nexa Book"/>
                        </a:rPr>
                        <a:t>901'567</a:t>
                      </a:r>
                    </a:p>
                  </a:txBody>
                  <a:tcPr marL="2858" marR="2858" marT="2858" marB="0" anchor="ctr">
                    <a:noFill/>
                  </a:tcPr>
                </a:tc>
                <a:tc>
                  <a:txBody>
                    <a:bodyPr/>
                    <a:lstStyle/>
                    <a:p>
                      <a:pPr algn="ctr">
                        <a:defRPr sz="600">
                          <a:latin typeface="Nexa Book"/>
                        </a:defRPr>
                      </a:pPr>
                      <a:r>
                        <a:rPr sz="600">
                          <a:latin typeface="Nexa Book"/>
                        </a:rPr>
                        <a:t>420%</a:t>
                      </a:r>
                    </a:p>
                  </a:txBody>
                  <a:tcPr marL="2858" marR="2858" marT="2858" marB="0" anchor="ctr">
                    <a:noFill/>
                  </a:tcPr>
                </a:tc>
                <a:tc>
                  <a:txBody>
                    <a:bodyPr/>
                    <a:lstStyle/>
                    <a:p>
                      <a:pPr algn="ctr">
                        <a:defRPr sz="600">
                          <a:latin typeface="Nexa Book"/>
                        </a:defRPr>
                      </a:pPr>
                      <a:r>
                        <a:rPr sz="600">
                          <a:latin typeface="Nexa Book"/>
                        </a:rPr>
                        <a:t>653%</a:t>
                      </a:r>
                    </a:p>
                  </a:txBody>
                  <a:tcPr marL="2858" marR="2858" marT="2858" marB="0" anchor="ctr">
                    <a:noFill/>
                  </a:tcPr>
                </a:tc>
                <a:tc>
                  <a:txBody>
                    <a:bodyPr/>
                    <a:lstStyle/>
                    <a:p>
                      <a:pPr algn="ctr">
                        <a:defRPr sz="600">
                          <a:latin typeface="Nexa Book"/>
                        </a:defRPr>
                      </a:pPr>
                      <a:r>
                        <a:rPr sz="600">
                          <a:latin typeface="Nexa Book"/>
                        </a:rPr>
                        <a:t>328524</a:t>
                      </a:r>
                    </a:p>
                  </a:txBody>
                  <a:tcPr marL="2858" marR="2858" marT="2858" marB="0" anchor="ctr">
                    <a:noFill/>
                  </a:tcPr>
                </a:tc>
                <a:tc>
                  <a:txBody>
                    <a:bodyPr/>
                    <a:lstStyle/>
                    <a:p>
                      <a:pPr algn="ctr">
                        <a:defRPr sz="600">
                          <a:latin typeface="Nexa Book"/>
                        </a:defRPr>
                      </a:pPr>
                      <a:r>
                        <a:rPr sz="600">
                          <a:latin typeface="Nexa Book"/>
                        </a:rPr>
                        <a:t>165%</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270110">
                <a:tc>
                  <a:txBody>
                    <a:bodyPr/>
                    <a:lstStyle/>
                    <a:p>
                      <a:pPr algn="l">
                        <a:defRPr sz="600">
                          <a:latin typeface="Nexa Book"/>
                        </a:defRPr>
                      </a:pPr>
                      <a:r>
                        <a:rPr sz="600">
                          <a:latin typeface="Nexa Book"/>
                        </a:rPr>
                        <a:t>Bic</a:t>
                      </a:r>
                    </a:p>
                  </a:txBody>
                  <a:tcPr marL="2858" marR="2858" marT="2858" marB="0" anchor="ctr">
                    <a:noFill/>
                  </a:tcPr>
                </a:tc>
                <a:tc>
                  <a:txBody>
                    <a:bodyPr/>
                    <a:lstStyle/>
                    <a:p>
                      <a:pPr algn="l">
                        <a:defRPr sz="600">
                          <a:latin typeface="Nexa Book"/>
                        </a:defRPr>
                      </a:pPr>
                      <a:r>
                        <a:rPr sz="600">
                          <a:latin typeface="Nexa Book"/>
                        </a:rPr>
                        <a:t>BIC COMFORT 3 BLACK HOLIDAY GIFT PACK 3 BLADE HYBRID NORMAL 15CT</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9.98</a:t>
                      </a:r>
                    </a:p>
                  </a:txBody>
                  <a:tcPr marL="2858" marR="2858" marT="2858" marB="0" anchor="ctr">
                    <a:noFill/>
                  </a:tcPr>
                </a:tc>
                <a:tc>
                  <a:txBody>
                    <a:bodyPr/>
                    <a:lstStyle/>
                    <a:p>
                      <a:pPr algn="ctr">
                        <a:defRPr sz="600">
                          <a:latin typeface="Nexa Book"/>
                        </a:defRPr>
                      </a:pPr>
                      <a:r>
                        <a:rPr sz="600">
                          <a:latin typeface="Nexa Book"/>
                        </a:rPr>
                        <a:t> 8.90</a:t>
                      </a:r>
                    </a:p>
                  </a:txBody>
                  <a:tcPr marL="2858" marR="2858" marT="2858" marB="0" anchor="ctr">
                    <a:noFill/>
                  </a:tcPr>
                </a:tc>
                <a:tc>
                  <a:txBody>
                    <a:bodyPr/>
                    <a:lstStyle/>
                    <a:p>
                      <a:pPr algn="ctr">
                        <a:defRPr sz="600">
                          <a:latin typeface="Nexa Book"/>
                        </a:defRPr>
                      </a:pPr>
                      <a:r>
                        <a:rPr sz="600">
                          <a:latin typeface="Nexa Book"/>
                        </a:rPr>
                        <a:t>1'577'777</a:t>
                      </a:r>
                    </a:p>
                  </a:txBody>
                  <a:tcPr marL="2858" marR="2858" marT="2858" marB="0" anchor="ctr">
                    <a:noFill/>
                  </a:tcPr>
                </a:tc>
                <a:tc>
                  <a:txBody>
                    <a:bodyPr/>
                    <a:lstStyle/>
                    <a:p>
                      <a:pPr algn="ctr">
                        <a:defRPr sz="600">
                          <a:latin typeface="Nexa Book"/>
                        </a:defRPr>
                      </a:pPr>
                      <a:r>
                        <a:rPr sz="600">
                          <a:latin typeface="Nexa Book"/>
                        </a:rPr>
                        <a:t>39%</a:t>
                      </a:r>
                    </a:p>
                  </a:txBody>
                  <a:tcPr marL="2858" marR="2858" marT="2858" marB="0" anchor="ctr">
                    <a:noFill/>
                  </a:tcPr>
                </a:tc>
                <a:tc>
                  <a:txBody>
                    <a:bodyPr/>
                    <a:lstStyle/>
                    <a:p>
                      <a:pPr algn="ctr">
                        <a:defRPr sz="600">
                          <a:latin typeface="Nexa Book"/>
                        </a:defRPr>
                      </a:pPr>
                      <a:r>
                        <a:rPr sz="600">
                          <a:latin typeface="Nexa Book"/>
                        </a:rPr>
                        <a:t>68%</a:t>
                      </a:r>
                    </a:p>
                  </a:txBody>
                  <a:tcPr marL="2858" marR="2858" marT="2858" marB="0" anchor="ctr">
                    <a:noFill/>
                  </a:tcPr>
                </a:tc>
                <a:tc>
                  <a:txBody>
                    <a:bodyPr/>
                    <a:lstStyle/>
                    <a:p>
                      <a:pPr algn="ctr">
                        <a:defRPr sz="600">
                          <a:latin typeface="Nexa Book"/>
                        </a:defRPr>
                      </a:pPr>
                      <a:r>
                        <a:rPr sz="600">
                          <a:latin typeface="Nexa Book"/>
                        </a:rPr>
                        <a:t>251983</a:t>
                      </a:r>
                    </a:p>
                  </a:txBody>
                  <a:tcPr marL="2858" marR="2858" marT="2858" marB="0" anchor="ctr">
                    <a:noFill/>
                  </a:tcPr>
                </a:tc>
                <a:tc>
                  <a:txBody>
                    <a:bodyPr/>
                    <a:lstStyle/>
                    <a:p>
                      <a:pPr algn="ctr">
                        <a:defRPr sz="600">
                          <a:latin typeface="Nexa Book"/>
                        </a:defRPr>
                      </a:pPr>
                      <a:r>
                        <a:rPr sz="600">
                          <a:latin typeface="Nexa Book"/>
                        </a:rPr>
                        <a:t>132%</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270110">
                <a:tc>
                  <a:txBody>
                    <a:bodyPr/>
                    <a:lstStyle/>
                    <a:p>
                      <a:pPr algn="l">
                        <a:defRPr sz="600">
                          <a:latin typeface="Nexa Book"/>
                        </a:defRPr>
                      </a:pPr>
                      <a:r>
                        <a:rPr sz="600">
                          <a:latin typeface="Nexa Book"/>
                        </a:rPr>
                        <a:t>Bic</a:t>
                      </a:r>
                    </a:p>
                  </a:txBody>
                  <a:tcPr marL="2858" marR="2858" marT="2858" marB="0" anchor="ctr">
                    <a:noFill/>
                  </a:tcPr>
                </a:tc>
                <a:tc>
                  <a:txBody>
                    <a:bodyPr/>
                    <a:lstStyle/>
                    <a:p>
                      <a:pPr algn="l">
                        <a:defRPr sz="600">
                          <a:latin typeface="Nexa Book"/>
                        </a:defRPr>
                      </a:pPr>
                      <a:r>
                        <a:rPr sz="600">
                          <a:latin typeface="Nexa Book"/>
                        </a:rPr>
                        <a:t>BIC FLEX 5 HYBRID BLACK WHITE HOLIDAY GIFT PACK 5 BLADE HYBRID NORMAL 7CT</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9.98</a:t>
                      </a:r>
                    </a:p>
                  </a:txBody>
                  <a:tcPr marL="2858" marR="2858" marT="2858" marB="0" anchor="ctr">
                    <a:noFill/>
                  </a:tcPr>
                </a:tc>
                <a:tc>
                  <a:txBody>
                    <a:bodyPr/>
                    <a:lstStyle/>
                    <a:p>
                      <a:pPr algn="ctr">
                        <a:defRPr sz="600">
                          <a:latin typeface="Nexa Book"/>
                        </a:defRPr>
                      </a:pPr>
                      <a:r>
                        <a:rPr sz="600">
                          <a:latin typeface="Nexa Book"/>
                        </a:rPr>
                        <a:t> 9.36</a:t>
                      </a:r>
                    </a:p>
                  </a:txBody>
                  <a:tcPr marL="2858" marR="2858" marT="2858" marB="0" anchor="ctr">
                    <a:noFill/>
                  </a:tcPr>
                </a:tc>
                <a:tc>
                  <a:txBody>
                    <a:bodyPr/>
                    <a:lstStyle/>
                    <a:p>
                      <a:pPr algn="ctr">
                        <a:defRPr sz="600">
                          <a:latin typeface="Nexa Book"/>
                        </a:defRPr>
                      </a:pPr>
                      <a:r>
                        <a:rPr sz="600">
                          <a:latin typeface="Nexa Book"/>
                        </a:rPr>
                        <a:t>1'048'958</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42%</a:t>
                      </a:r>
                    </a:p>
                  </a:txBody>
                  <a:tcPr marL="2858" marR="2858" marT="2858" marB="0" anchor="ctr">
                    <a:noFill/>
                  </a:tcPr>
                </a:tc>
                <a:tc>
                  <a:txBody>
                    <a:bodyPr/>
                    <a:lstStyle/>
                    <a:p>
                      <a:pPr algn="ctr">
                        <a:defRPr sz="600">
                          <a:latin typeface="Nexa Book"/>
                        </a:defRPr>
                      </a:pPr>
                      <a:r>
                        <a:rPr sz="600">
                          <a:latin typeface="Nexa Book"/>
                        </a:rPr>
                        <a:t>96175</a:t>
                      </a:r>
                    </a:p>
                  </a:txBody>
                  <a:tcPr marL="2858" marR="2858" marT="2858" marB="0" anchor="ctr">
                    <a:noFill/>
                  </a:tcPr>
                </a:tc>
                <a:tc>
                  <a:txBody>
                    <a:bodyPr/>
                    <a:lstStyle/>
                    <a:p>
                      <a:pPr algn="ctr">
                        <a:defRPr sz="600">
                          <a:latin typeface="Nexa Book"/>
                        </a:defRPr>
                      </a:pPr>
                      <a:r>
                        <a:rPr sz="600">
                          <a:latin typeface="Nexa Book"/>
                        </a:rPr>
                        <a:t>138%</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270110">
                <a:tc>
                  <a:txBody>
                    <a:bodyPr/>
                    <a:lstStyle/>
                    <a:p>
                      <a:pPr algn="l">
                        <a:defRPr sz="600">
                          <a:latin typeface="Nexa Book"/>
                        </a:defRPr>
                      </a:pPr>
                      <a:r>
                        <a:rPr sz="600">
                          <a:latin typeface="Nexa Book"/>
                        </a:rPr>
                        <a:t>Gillette</a:t>
                      </a:r>
                    </a:p>
                  </a:txBody>
                  <a:tcPr marL="2858" marR="2858" marT="2858" marB="0" anchor="ctr">
                    <a:noFill/>
                  </a:tcPr>
                </a:tc>
                <a:tc>
                  <a:txBody>
                    <a:bodyPr/>
                    <a:lstStyle/>
                    <a:p>
                      <a:pPr algn="l">
                        <a:defRPr sz="600">
                          <a:latin typeface="Nexa Book"/>
                        </a:defRPr>
                      </a:pPr>
                      <a:r>
                        <a:rPr sz="600">
                          <a:latin typeface="Nexa Book"/>
                        </a:rPr>
                        <a:t>GILLETTE LABS 5 BLADE RAZOR NORMAL 1CT</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30%</a:t>
                      </a:r>
                    </a:p>
                  </a:txBody>
                  <a:tcPr marL="2858" marR="2858" marT="2858" marB="0" anchor="ctr">
                    <a:noFill/>
                  </a:tcPr>
                </a:tc>
                <a:tc>
                  <a:txBody>
                    <a:bodyPr/>
                    <a:lstStyle/>
                    <a:p>
                      <a:pPr algn="ctr">
                        <a:defRPr sz="600">
                          <a:latin typeface="Nexa Book"/>
                        </a:defRPr>
                      </a:pPr>
                      <a:r>
                        <a:rPr sz="600">
                          <a:latin typeface="Nexa Book"/>
                        </a:rPr>
                        <a:t> 14.83</a:t>
                      </a:r>
                    </a:p>
                  </a:txBody>
                  <a:tcPr marL="2858" marR="2858" marT="2858" marB="0" anchor="ctr">
                    <a:noFill/>
                  </a:tcPr>
                </a:tc>
                <a:tc>
                  <a:txBody>
                    <a:bodyPr/>
                    <a:lstStyle/>
                    <a:p>
                      <a:pPr algn="ctr">
                        <a:defRPr sz="600">
                          <a:latin typeface="Nexa Book"/>
                        </a:defRPr>
                      </a:pPr>
                      <a:r>
                        <a:rPr sz="600">
                          <a:latin typeface="Nexa Book"/>
                        </a:rPr>
                        <a:t> 12.85</a:t>
                      </a:r>
                    </a:p>
                  </a:txBody>
                  <a:tcPr marL="2858" marR="2858" marT="2858" marB="0" anchor="ctr">
                    <a:noFill/>
                  </a:tcPr>
                </a:tc>
                <a:tc>
                  <a:txBody>
                    <a:bodyPr/>
                    <a:lstStyle/>
                    <a:p>
                      <a:pPr algn="ctr">
                        <a:defRPr sz="600">
                          <a:latin typeface="Nexa Book"/>
                        </a:defRPr>
                      </a:pPr>
                      <a:r>
                        <a:rPr sz="600">
                          <a:latin typeface="Nexa Book"/>
                        </a:rPr>
                        <a:t>619'932</a:t>
                      </a:r>
                    </a:p>
                  </a:txBody>
                  <a:tcPr marL="2858" marR="2858" marT="2858" marB="0" anchor="ctr">
                    <a:noFill/>
                  </a:tcPr>
                </a:tc>
                <a:tc>
                  <a:txBody>
                    <a:bodyPr/>
                    <a:lstStyle/>
                    <a:p>
                      <a:pPr algn="ctr">
                        <a:defRPr sz="600">
                          <a:latin typeface="Nexa Book"/>
                        </a:defRPr>
                      </a:pPr>
                      <a:r>
                        <a:rPr sz="600">
                          <a:latin typeface="Nexa Book"/>
                        </a:rPr>
                        <a:t>15%</a:t>
                      </a:r>
                    </a:p>
                  </a:txBody>
                  <a:tcPr marL="2858" marR="2858" marT="2858" marB="0" anchor="ctr">
                    <a:noFill/>
                  </a:tcPr>
                </a:tc>
                <a:tc>
                  <a:txBody>
                    <a:bodyPr/>
                    <a:lstStyle/>
                    <a:p>
                      <a:pPr algn="ctr">
                        <a:defRPr sz="600">
                          <a:latin typeface="Nexa Book"/>
                        </a:defRPr>
                      </a:pPr>
                      <a:r>
                        <a:rPr sz="600">
                          <a:latin typeface="Nexa Book"/>
                        </a:rPr>
                        <a:t>32%</a:t>
                      </a:r>
                    </a:p>
                  </a:txBody>
                  <a:tcPr marL="2858" marR="2858" marT="2858" marB="0" anchor="ctr">
                    <a:noFill/>
                  </a:tcPr>
                </a:tc>
                <a:tc>
                  <a:txBody>
                    <a:bodyPr/>
                    <a:lstStyle/>
                    <a:p>
                      <a:pPr algn="ctr">
                        <a:defRPr sz="600">
                          <a:latin typeface="Nexa Book"/>
                        </a:defRPr>
                      </a:pPr>
                      <a:r>
                        <a:rPr sz="600">
                          <a:latin typeface="Nexa Book"/>
                        </a:rPr>
                        <a:t>91084</a:t>
                      </a:r>
                    </a:p>
                  </a:txBody>
                  <a:tcPr marL="2858" marR="2858" marT="2858" marB="0" anchor="ctr">
                    <a:noFill/>
                  </a:tcPr>
                </a:tc>
                <a:tc>
                  <a:txBody>
                    <a:bodyPr/>
                    <a:lstStyle/>
                    <a:p>
                      <a:pPr algn="ctr">
                        <a:defRPr sz="600">
                          <a:latin typeface="Nexa Book"/>
                        </a:defRPr>
                      </a:pPr>
                      <a:r>
                        <a:rPr sz="600">
                          <a:latin typeface="Nexa Book"/>
                        </a:rPr>
                        <a:t>93%</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270110">
                <a:tc>
                  <a:txBody>
                    <a:bodyPr/>
                    <a:lstStyle/>
                    <a:p>
                      <a:pPr algn="l">
                        <a:defRPr sz="600">
                          <a:latin typeface="Nexa Book"/>
                        </a:defRPr>
                      </a:pPr>
                      <a:r>
                        <a:rPr sz="600">
                          <a:latin typeface="Nexa Book"/>
                        </a:rPr>
                        <a:t>Comfort 3</a:t>
                      </a:r>
                    </a:p>
                  </a:txBody>
                  <a:tcPr marL="2858" marR="2858" marT="2858" marB="0" anchor="ctr">
                    <a:noFill/>
                  </a:tcPr>
                </a:tc>
                <a:tc>
                  <a:txBody>
                    <a:bodyPr/>
                    <a:lstStyle/>
                    <a:p>
                      <a:pPr algn="l">
                        <a:defRPr sz="600">
                          <a:latin typeface="Nexa Book"/>
                        </a:defRPr>
                      </a:pPr>
                      <a:r>
                        <a:rPr sz="600">
                          <a:latin typeface="Nexa Book"/>
                        </a:rPr>
                        <a:t>BIC COMFORT 3 HYBRID 3 BLADE HYBRID SENSITIVE 6CT</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27%</a:t>
                      </a:r>
                    </a:p>
                  </a:txBody>
                  <a:tcPr marL="2858" marR="2858" marT="2858" marB="0" anchor="ctr">
                    <a:noFill/>
                  </a:tcPr>
                </a:tc>
                <a:tc>
                  <a:txBody>
                    <a:bodyPr/>
                    <a:lstStyle/>
                    <a:p>
                      <a:pPr algn="ctr">
                        <a:defRPr sz="600">
                          <a:latin typeface="Nexa Book"/>
                        </a:defRPr>
                      </a:pPr>
                      <a:r>
                        <a:rPr sz="600">
                          <a:latin typeface="Nexa Book"/>
                        </a:rPr>
                        <a:t> 6.23</a:t>
                      </a:r>
                    </a:p>
                  </a:txBody>
                  <a:tcPr marL="2858" marR="2858" marT="2858" marB="0" anchor="ctr">
                    <a:noFill/>
                  </a:tcPr>
                </a:tc>
                <a:tc>
                  <a:txBody>
                    <a:bodyPr/>
                    <a:lstStyle/>
                    <a:p>
                      <a:pPr algn="ctr">
                        <a:defRPr sz="600">
                          <a:latin typeface="Nexa Book"/>
                        </a:defRPr>
                      </a:pPr>
                      <a:r>
                        <a:rPr sz="600">
                          <a:latin typeface="Nexa Book"/>
                        </a:rPr>
                        <a:t> 5.73</a:t>
                      </a:r>
                    </a:p>
                  </a:txBody>
                  <a:tcPr marL="2858" marR="2858" marT="2858" marB="0" anchor="ctr">
                    <a:noFill/>
                  </a:tcPr>
                </a:tc>
                <a:tc>
                  <a:txBody>
                    <a:bodyPr/>
                    <a:lstStyle/>
                    <a:p>
                      <a:pPr algn="ctr">
                        <a:defRPr sz="600">
                          <a:latin typeface="Nexa Book"/>
                        </a:defRPr>
                      </a:pPr>
                      <a:r>
                        <a:rPr sz="600">
                          <a:latin typeface="Nexa Book"/>
                        </a:rPr>
                        <a:t>755'811</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22%</a:t>
                      </a:r>
                    </a:p>
                  </a:txBody>
                  <a:tcPr marL="2858" marR="2858" marT="2858" marB="0" anchor="ctr">
                    <a:noFill/>
                  </a:tcPr>
                </a:tc>
                <a:tc>
                  <a:txBody>
                    <a:bodyPr/>
                    <a:lstStyle/>
                    <a:p>
                      <a:pPr algn="ctr">
                        <a:defRPr sz="600">
                          <a:latin typeface="Nexa Book"/>
                        </a:defRPr>
                      </a:pPr>
                      <a:r>
                        <a:rPr sz="600">
                          <a:latin typeface="Nexa Book"/>
                        </a:rPr>
                        <a:t>60325</a:t>
                      </a:r>
                    </a:p>
                  </a:txBody>
                  <a:tcPr marL="2858" marR="2858" marT="2858" marB="0" anchor="ctr">
                    <a:noFill/>
                  </a:tcPr>
                </a:tc>
                <a:tc>
                  <a:txBody>
                    <a:bodyPr/>
                    <a:lstStyle/>
                    <a:p>
                      <a:pPr algn="ctr">
                        <a:defRPr sz="600">
                          <a:latin typeface="Nexa Book"/>
                        </a:defRPr>
                      </a:pPr>
                      <a:r>
                        <a:rPr sz="600">
                          <a:latin typeface="Nexa Book"/>
                        </a:rPr>
                        <a:t>65%</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270110">
                <a:tc>
                  <a:txBody>
                    <a:bodyPr/>
                    <a:lstStyle/>
                    <a:p>
                      <a:pPr algn="l">
                        <a:defRPr sz="600">
                          <a:latin typeface="Nexa Book"/>
                        </a:defRPr>
                      </a:pPr>
                      <a:r>
                        <a:rPr sz="600">
                          <a:latin typeface="Nexa Book"/>
                        </a:rPr>
                        <a:t>Gillette</a:t>
                      </a:r>
                    </a:p>
                  </a:txBody>
                  <a:tcPr marL="2858" marR="2858" marT="2858" marB="0" anchor="ctr">
                    <a:noFill/>
                  </a:tcPr>
                </a:tc>
                <a:tc>
                  <a:txBody>
                    <a:bodyPr/>
                    <a:lstStyle/>
                    <a:p>
                      <a:pPr algn="l">
                        <a:defRPr sz="600">
                          <a:latin typeface="Nexa Book"/>
                        </a:defRPr>
                      </a:pPr>
                      <a:r>
                        <a:rPr sz="600">
                          <a:latin typeface="Nexa Book"/>
                        </a:rPr>
                        <a:t>GILLETTE FUSION 5 PROGLIDE 5 BLADE RAZOR NORMAL 4CT</a:t>
                      </a:r>
                    </a:p>
                  </a:txBody>
                  <a:tcPr marL="2858" marR="2858" marT="2858" marB="0" anchor="ctr">
                    <a:noFill/>
                  </a:tcPr>
                </a:tc>
                <a:tc>
                  <a:txBody>
                    <a:bodyPr/>
                    <a:lstStyle/>
                    <a:p>
                      <a:pPr algn="ctr">
                        <a:defRPr sz="600">
                          <a:latin typeface="Nexa Book"/>
                        </a:defRPr>
                      </a:pPr>
                      <a:r>
                        <a:rPr sz="600">
                          <a:latin typeface="Nexa Book"/>
                        </a:rPr>
                        <a:t>45%</a:t>
                      </a:r>
                    </a:p>
                  </a:txBody>
                  <a:tcPr marL="2858" marR="2858" marT="2858" marB="0" anchor="ctr">
                    <a:noFill/>
                  </a:tcPr>
                </a:tc>
                <a:tc>
                  <a:txBody>
                    <a:bodyPr/>
                    <a:lstStyle/>
                    <a:p>
                      <a:pPr algn="ctr">
                        <a:defRPr sz="600">
                          <a:latin typeface="Nexa Book"/>
                        </a:defRPr>
                      </a:pPr>
                      <a:r>
                        <a:rPr sz="600">
                          <a:latin typeface="Nexa Book"/>
                        </a:rPr>
                        <a:t>26%</a:t>
                      </a:r>
                    </a:p>
                  </a:txBody>
                  <a:tcPr marL="2858" marR="2858" marT="2858" marB="0" anchor="ctr">
                    <a:noFill/>
                  </a:tcPr>
                </a:tc>
                <a:tc>
                  <a:txBody>
                    <a:bodyPr/>
                    <a:lstStyle/>
                    <a:p>
                      <a:pPr algn="ctr">
                        <a:defRPr sz="600">
                          <a:latin typeface="Nexa Book"/>
                        </a:defRPr>
                      </a:pPr>
                      <a:r>
                        <a:rPr sz="600">
                          <a:latin typeface="Nexa Book"/>
                        </a:rPr>
                        <a:t> 22.98</a:t>
                      </a:r>
                    </a:p>
                  </a:txBody>
                  <a:tcPr marL="2858" marR="2858" marT="2858" marB="0" anchor="ctr">
                    <a:noFill/>
                  </a:tcPr>
                </a:tc>
                <a:tc>
                  <a:txBody>
                    <a:bodyPr/>
                    <a:lstStyle/>
                    <a:p>
                      <a:pPr algn="ctr">
                        <a:defRPr sz="600">
                          <a:latin typeface="Nexa Book"/>
                        </a:defRPr>
                      </a:pPr>
                      <a:r>
                        <a:rPr sz="600">
                          <a:latin typeface="Nexa Book"/>
                        </a:rPr>
                        <a:t> 12.58</a:t>
                      </a:r>
                    </a:p>
                  </a:txBody>
                  <a:tcPr marL="2858" marR="2858" marT="2858" marB="0" anchor="ctr">
                    <a:noFill/>
                  </a:tcPr>
                </a:tc>
                <a:tc>
                  <a:txBody>
                    <a:bodyPr/>
                    <a:lstStyle/>
                    <a:p>
                      <a:pPr algn="ctr">
                        <a:defRPr sz="600">
                          <a:latin typeface="Nexa Book"/>
                        </a:defRPr>
                      </a:pPr>
                      <a:r>
                        <a:rPr sz="600">
                          <a:latin typeface="Nexa Book"/>
                        </a:rPr>
                        <a:t>829'105</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120%</a:t>
                      </a:r>
                    </a:p>
                  </a:txBody>
                  <a:tcPr marL="2858" marR="2858" marT="2858" marB="0" anchor="ctr">
                    <a:noFill/>
                  </a:tcPr>
                </a:tc>
                <a:tc>
                  <a:txBody>
                    <a:bodyPr/>
                    <a:lstStyle/>
                    <a:p>
                      <a:pPr algn="ctr">
                        <a:defRPr sz="600">
                          <a:latin typeface="Nexa Book"/>
                        </a:defRPr>
                      </a:pPr>
                      <a:r>
                        <a:rPr sz="600">
                          <a:latin typeface="Nexa Book"/>
                        </a:rPr>
                        <a:t>20404</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5 BLADE REFILL SENSITIVE 12CT</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29%</a:t>
                      </a:r>
                    </a:p>
                  </a:txBody>
                  <a:tcPr marL="2858" marR="2858" marT="2858" marB="0" anchor="ctr">
                    <a:noFill/>
                  </a:tcPr>
                </a:tc>
                <a:tc>
                  <a:txBody>
                    <a:bodyPr/>
                    <a:lstStyle/>
                    <a:p>
                      <a:pPr algn="ctr">
                        <a:defRPr sz="600">
                          <a:latin typeface="Nexa Book"/>
                        </a:defRPr>
                      </a:pPr>
                      <a:r>
                        <a:rPr sz="600">
                          <a:latin typeface="Nexa Book"/>
                        </a:rPr>
                        <a:t> 26.97</a:t>
                      </a:r>
                    </a:p>
                  </a:txBody>
                  <a:tcPr marL="2858" marR="2858" marT="2858" marB="0" anchor="ctr">
                    <a:noFill/>
                  </a:tcPr>
                </a:tc>
                <a:tc>
                  <a:txBody>
                    <a:bodyPr/>
                    <a:lstStyle/>
                    <a:p>
                      <a:pPr algn="ctr">
                        <a:defRPr sz="600">
                          <a:latin typeface="Nexa Book"/>
                        </a:defRPr>
                      </a:pPr>
                      <a:r>
                        <a:rPr sz="600">
                          <a:latin typeface="Nexa Book"/>
                        </a:rPr>
                        <a:t> 24.15</a:t>
                      </a:r>
                    </a:p>
                  </a:txBody>
                  <a:tcPr marL="2858" marR="2858" marT="2858" marB="0" anchor="ctr">
                    <a:noFill/>
                  </a:tcPr>
                </a:tc>
                <a:tc>
                  <a:txBody>
                    <a:bodyPr/>
                    <a:lstStyle/>
                    <a:p>
                      <a:pPr algn="ctr">
                        <a:defRPr sz="600">
                          <a:latin typeface="Nexa Book"/>
                        </a:defRPr>
                      </a:pPr>
                      <a:r>
                        <a:rPr sz="600">
                          <a:latin typeface="Nexa Book"/>
                        </a:rPr>
                        <a:t>914'106</a:t>
                      </a:r>
                    </a:p>
                  </a:txBody>
                  <a:tcPr marL="2858" marR="2858" marT="2858" marB="0" anchor="ctr">
                    <a:noFill/>
                  </a:tcPr>
                </a:tc>
                <a:tc>
                  <a:txBody>
                    <a:bodyPr/>
                    <a:lstStyle/>
                    <a:p>
                      <a:pPr algn="ctr">
                        <a:defRPr sz="600">
                          <a:latin typeface="Nexa Book"/>
                        </a:defRPr>
                      </a:pPr>
                      <a:r>
                        <a:rPr sz="600">
                          <a:latin typeface="Nexa Book"/>
                        </a:rPr>
                        <a:t>-2%</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2900</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r>
                        <a:rPr sz="600">
                          <a:latin typeface="Nexa Book"/>
                        </a:rPr>
                        <a:t>69%</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5 BLADE REFILL SENSITIVE 6CT</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28%</a:t>
                      </a:r>
                    </a:p>
                  </a:txBody>
                  <a:tcPr marL="2858" marR="2858" marT="2858" marB="0" anchor="ctr">
                    <a:noFill/>
                  </a:tcPr>
                </a:tc>
                <a:tc>
                  <a:txBody>
                    <a:bodyPr/>
                    <a:lstStyle/>
                    <a:p>
                      <a:pPr algn="ctr">
                        <a:defRPr sz="600">
                          <a:latin typeface="Nexa Book"/>
                        </a:defRPr>
                      </a:pPr>
                      <a:r>
                        <a:rPr sz="600">
                          <a:latin typeface="Nexa Book"/>
                        </a:rPr>
                        <a:t> 14.91</a:t>
                      </a:r>
                    </a:p>
                  </a:txBody>
                  <a:tcPr marL="2858" marR="2858" marT="2858" marB="0" anchor="ctr">
                    <a:noFill/>
                  </a:tcPr>
                </a:tc>
                <a:tc>
                  <a:txBody>
                    <a:bodyPr/>
                    <a:lstStyle/>
                    <a:p>
                      <a:pPr algn="ctr">
                        <a:defRPr sz="600">
                          <a:latin typeface="Nexa Book"/>
                        </a:defRPr>
                      </a:pPr>
                      <a:r>
                        <a:rPr sz="600">
                          <a:latin typeface="Nexa Book"/>
                        </a:rPr>
                        <a:t> 13.84</a:t>
                      </a:r>
                    </a:p>
                  </a:txBody>
                  <a:tcPr marL="2858" marR="2858" marT="2858" marB="0" anchor="ctr">
                    <a:noFill/>
                  </a:tcPr>
                </a:tc>
                <a:tc>
                  <a:txBody>
                    <a:bodyPr/>
                    <a:lstStyle/>
                    <a:p>
                      <a:pPr algn="ctr">
                        <a:defRPr sz="600">
                          <a:latin typeface="Nexa Book"/>
                        </a:defRPr>
                      </a:pPr>
                      <a:r>
                        <a:rPr sz="600">
                          <a:latin typeface="Nexa Book"/>
                        </a:rPr>
                        <a:t>1'432'558</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r>
                        <a:rPr sz="600">
                          <a:latin typeface="Nexa Book"/>
                        </a:rPr>
                        <a:t>2%</a:t>
                      </a:r>
                    </a:p>
                  </a:txBody>
                  <a:tcPr marL="2858" marR="2858" marT="2858" marB="0" anchor="ctr">
                    <a:noFill/>
                  </a:tcPr>
                </a:tc>
                <a:tc>
                  <a:txBody>
                    <a:bodyPr/>
                    <a:lstStyle/>
                    <a:p>
                      <a:pPr algn="ctr">
                        <a:defRPr sz="600">
                          <a:latin typeface="Nexa Book"/>
                        </a:defRPr>
                      </a:pPr>
                      <a:r>
                        <a:rPr sz="600">
                          <a:latin typeface="Nexa Book"/>
                        </a:rPr>
                        <a:t>-77819</a:t>
                      </a:r>
                    </a:p>
                  </a:txBody>
                  <a:tcPr marL="2858" marR="2858" marT="2858" marB="0" anchor="ctr">
                    <a:noFill/>
                  </a:tcPr>
                </a:tc>
                <a:tc>
                  <a:txBody>
                    <a:bodyPr/>
                    <a:lstStyle/>
                    <a:p>
                      <a:pPr algn="ctr">
                        <a:defRPr sz="600">
                          <a:latin typeface="Nexa Book"/>
                        </a:defRPr>
                      </a:pPr>
                      <a:r>
                        <a:rPr sz="600">
                          <a:latin typeface="Nexa Book"/>
                        </a:rPr>
                        <a:t>-69%</a:t>
                      </a:r>
                    </a:p>
                  </a:txBody>
                  <a:tcPr marL="2858" marR="2858" marT="2858" marB="0" anchor="ctr">
                    <a:noFill/>
                  </a:tcPr>
                </a:tc>
                <a:tc>
                  <a:txBody>
                    <a:bodyPr/>
                    <a:lstStyle/>
                    <a:p>
                      <a:pPr algn="ctr">
                        <a:defRPr sz="600">
                          <a:latin typeface="Nexa Book"/>
                        </a:defRPr>
                      </a:pPr>
                      <a:r>
                        <a:rPr sz="600">
                          <a:latin typeface="Nexa Book"/>
                        </a:rPr>
                        <a:t>69%</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270110">
                <a:tc>
                  <a:txBody>
                    <a:bodyPr/>
                    <a:lstStyle/>
                    <a:p>
                      <a:pPr algn="l">
                        <a:defRPr sz="600">
                          <a:latin typeface="Nexa Book"/>
                        </a:defRPr>
                      </a:pPr>
                      <a:r>
                        <a:rPr sz="600">
                          <a:latin typeface="Nexa Book"/>
                        </a:rPr>
                        <a:t>Gillette</a:t>
                      </a:r>
                    </a:p>
                  </a:txBody>
                  <a:tcPr marL="2858" marR="2858" marT="2858" marB="0" anchor="ctr">
                    <a:noFill/>
                  </a:tcPr>
                </a:tc>
                <a:tc>
                  <a:txBody>
                    <a:bodyPr/>
                    <a:lstStyle/>
                    <a:p>
                      <a:pPr algn="l">
                        <a:defRPr sz="600">
                          <a:latin typeface="Nexa Book"/>
                        </a:defRPr>
                      </a:pPr>
                      <a:r>
                        <a:rPr sz="600">
                          <a:latin typeface="Nexa Book"/>
                        </a:rPr>
                        <a:t>GILLETTE FUSION 5 PROGLIDE 5 BLADE REFILL NORMAL 12CT</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37%</a:t>
                      </a:r>
                    </a:p>
                  </a:txBody>
                  <a:tcPr marL="2858" marR="2858" marT="2858" marB="0" anchor="ctr">
                    <a:noFill/>
                  </a:tcPr>
                </a:tc>
                <a:tc>
                  <a:txBody>
                    <a:bodyPr/>
                    <a:lstStyle/>
                    <a:p>
                      <a:pPr algn="ctr">
                        <a:defRPr sz="600">
                          <a:latin typeface="Nexa Book"/>
                        </a:defRPr>
                      </a:pPr>
                      <a:r>
                        <a:rPr sz="600">
                          <a:latin typeface="Nexa Book"/>
                        </a:rPr>
                        <a:t> 45.14</a:t>
                      </a:r>
                    </a:p>
                  </a:txBody>
                  <a:tcPr marL="2858" marR="2858" marT="2858" marB="0" anchor="ctr">
                    <a:noFill/>
                  </a:tcPr>
                </a:tc>
                <a:tc>
                  <a:txBody>
                    <a:bodyPr/>
                    <a:lstStyle/>
                    <a:p>
                      <a:pPr algn="ctr">
                        <a:defRPr sz="600">
                          <a:latin typeface="Nexa Book"/>
                        </a:defRPr>
                      </a:pPr>
                      <a:r>
                        <a:rPr sz="600">
                          <a:latin typeface="Nexa Book"/>
                        </a:rPr>
                        <a:t> 41.03</a:t>
                      </a:r>
                    </a:p>
                  </a:txBody>
                  <a:tcPr marL="2858" marR="2858" marT="2858" marB="0" anchor="ctr">
                    <a:noFill/>
                  </a:tcPr>
                </a:tc>
                <a:tc>
                  <a:txBody>
                    <a:bodyPr/>
                    <a:lstStyle/>
                    <a:p>
                      <a:pPr algn="ctr">
                        <a:defRPr sz="600">
                          <a:latin typeface="Nexa Book"/>
                        </a:defRPr>
                      </a:pPr>
                      <a:r>
                        <a:rPr sz="600">
                          <a:latin typeface="Nexa Book"/>
                        </a:rPr>
                        <a:t>1'539'499</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178664</a:t>
                      </a:r>
                    </a:p>
                  </a:txBody>
                  <a:tcPr marL="2858" marR="2858" marT="2858" marB="0" anchor="ctr">
                    <a:noFill/>
                  </a:tcPr>
                </a:tc>
                <a:tc>
                  <a:txBody>
                    <a:bodyPr/>
                    <a:lstStyle/>
                    <a:p>
                      <a:pPr algn="ctr">
                        <a:defRPr sz="600">
                          <a:latin typeface="Nexa Book"/>
                        </a:defRPr>
                      </a:pPr>
                      <a:r>
                        <a:rPr sz="600">
                          <a:latin typeface="Nexa Book"/>
                        </a:rPr>
                        <a:t>-109%</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270110">
                <a:tc>
                  <a:txBody>
                    <a:bodyPr/>
                    <a:lstStyle/>
                    <a:p>
                      <a:pPr algn="l">
                        <a:defRPr sz="600">
                          <a:latin typeface="Nexa Book"/>
                        </a:defRPr>
                      </a:pPr>
                      <a:r>
                        <a:rPr sz="600">
                          <a:latin typeface="Nexa Book"/>
                        </a:rPr>
                        <a:t>Gillette</a:t>
                      </a:r>
                    </a:p>
                  </a:txBody>
                  <a:tcPr marL="2858" marR="2858" marT="2858" marB="0" anchor="ctr">
                    <a:noFill/>
                  </a:tcPr>
                </a:tc>
                <a:tc>
                  <a:txBody>
                    <a:bodyPr/>
                    <a:lstStyle/>
                    <a:p>
                      <a:pPr algn="l">
                        <a:defRPr sz="600">
                          <a:latin typeface="Nexa Book"/>
                        </a:defRPr>
                      </a:pPr>
                      <a:r>
                        <a:rPr sz="600">
                          <a:latin typeface="Nexa Book"/>
                        </a:rPr>
                        <a:t>GILLETTE FUSION 5 PROGLIDE 5 BLADE REFILL NORMAL 8CT</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28%</a:t>
                      </a:r>
                    </a:p>
                  </a:txBody>
                  <a:tcPr marL="2858" marR="2858" marT="2858" marB="0" anchor="ctr">
                    <a:noFill/>
                  </a:tcPr>
                </a:tc>
                <a:tc>
                  <a:txBody>
                    <a:bodyPr/>
                    <a:lstStyle/>
                    <a:p>
                      <a:pPr algn="ctr">
                        <a:defRPr sz="600">
                          <a:latin typeface="Nexa Book"/>
                        </a:defRPr>
                      </a:pPr>
                      <a:r>
                        <a:rPr sz="600">
                          <a:latin typeface="Nexa Book"/>
                        </a:rPr>
                        <a:t> 34.63</a:t>
                      </a:r>
                    </a:p>
                  </a:txBody>
                  <a:tcPr marL="2858" marR="2858" marT="2858" marB="0" anchor="ctr">
                    <a:noFill/>
                  </a:tcPr>
                </a:tc>
                <a:tc>
                  <a:txBody>
                    <a:bodyPr/>
                    <a:lstStyle/>
                    <a:p>
                      <a:pPr algn="ctr">
                        <a:defRPr sz="600">
                          <a:latin typeface="Nexa Book"/>
                        </a:defRPr>
                      </a:pPr>
                      <a:r>
                        <a:rPr sz="600">
                          <a:latin typeface="Nexa Book"/>
                        </a:rPr>
                        <a:t> 29.96</a:t>
                      </a:r>
                    </a:p>
                  </a:txBody>
                  <a:tcPr marL="2858" marR="2858" marT="2858" marB="0" anchor="ctr">
                    <a:noFill/>
                  </a:tcPr>
                </a:tc>
                <a:tc>
                  <a:txBody>
                    <a:bodyPr/>
                    <a:lstStyle/>
                    <a:p>
                      <a:pPr algn="ctr">
                        <a:defRPr sz="600">
                          <a:latin typeface="Nexa Book"/>
                        </a:defRPr>
                      </a:pPr>
                      <a:r>
                        <a:rPr sz="600">
                          <a:latin typeface="Nexa Book"/>
                        </a:rPr>
                        <a:t>1'162'498</a:t>
                      </a:r>
                    </a:p>
                  </a:txBody>
                  <a:tcPr marL="2858" marR="2858" marT="2858" marB="0" anchor="ctr">
                    <a:noFill/>
                  </a:tcPr>
                </a:tc>
                <a:tc>
                  <a:txBody>
                    <a:bodyPr/>
                    <a:lstStyle/>
                    <a:p>
                      <a:pPr algn="ctr">
                        <a:defRPr sz="600">
                          <a:latin typeface="Nexa Book"/>
                        </a:defRPr>
                      </a:pPr>
                      <a:r>
                        <a:rPr sz="600">
                          <a:latin typeface="Nexa Book"/>
                        </a:rPr>
                        <a:t>-15%</a:t>
                      </a:r>
                    </a:p>
                  </a:txBody>
                  <a:tcPr marL="2858" marR="2858" marT="2858" marB="0" anchor="ctr">
                    <a:noFill/>
                  </a:tcPr>
                </a:tc>
                <a:tc>
                  <a:txBody>
                    <a:bodyPr/>
                    <a:lstStyle/>
                    <a:p>
                      <a:pPr algn="ctr">
                        <a:defRPr sz="600">
                          <a:latin typeface="Nexa Book"/>
                        </a:defRPr>
                      </a:pPr>
                      <a:r>
                        <a:rPr sz="600">
                          <a:latin typeface="Nexa Book"/>
                        </a:rPr>
                        <a:t>1%</a:t>
                      </a:r>
                    </a:p>
                  </a:txBody>
                  <a:tcPr marL="2858" marR="2858" marT="2858" marB="0" anchor="ctr">
                    <a:noFill/>
                  </a:tcPr>
                </a:tc>
                <a:tc>
                  <a:txBody>
                    <a:bodyPr/>
                    <a:lstStyle/>
                    <a:p>
                      <a:pPr algn="ctr">
                        <a:defRPr sz="600">
                          <a:latin typeface="Nexa Book"/>
                        </a:defRPr>
                      </a:pPr>
                      <a:r>
                        <a:rPr sz="600">
                          <a:latin typeface="Nexa Book"/>
                        </a:rPr>
                        <a:t>-188721</a:t>
                      </a:r>
                    </a:p>
                  </a:txBody>
                  <a:tcPr marL="2858" marR="2858" marT="2858" marB="0" anchor="ctr">
                    <a:noFill/>
                  </a:tcPr>
                </a:tc>
                <a:tc>
                  <a:txBody>
                    <a:bodyPr/>
                    <a:lstStyle/>
                    <a:p>
                      <a:pPr algn="ctr">
                        <a:defRPr sz="600">
                          <a:latin typeface="Nexa Book"/>
                        </a:defRPr>
                      </a:pPr>
                      <a:r>
                        <a:rPr sz="600">
                          <a:latin typeface="Nexa Book"/>
                        </a:rPr>
                        <a:t>-99%</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84099898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8/18/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Walmart | Disposable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648264">
                <a:tc>
                  <a:txBody>
                    <a:bodyPr/>
                    <a:lstStyle/>
                    <a:p>
                      <a:pPr algn="l">
                        <a:defRPr sz="600">
                          <a:latin typeface="Nexa Book"/>
                        </a:defRPr>
                      </a:pPr>
                      <a:r>
                        <a:rPr sz="600">
                          <a:latin typeface="Nexa Book"/>
                        </a:rPr>
                        <a:t>Schick</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SCHICK XTREME 3 SENSITIVE GREEN HOLIDAY GIFT PACK 3 BLADE DISPOSABLE SENSITIVE 8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0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0.0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8.9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128'687</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4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7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20533</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6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34%</a:t>
                      </a: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227368056"/>
                  </a:ext>
                </a:extLst>
              </a:tr>
              <a:tr h="648264">
                <a:tc>
                  <a:txBody>
                    <a:bodyPr/>
                    <a:lstStyle/>
                    <a:p>
                      <a:pPr algn="l">
                        <a:defRPr sz="600">
                          <a:latin typeface="Nexa Book"/>
                        </a:defRPr>
                      </a:pPr>
                      <a:r>
                        <a:rPr sz="600">
                          <a:latin typeface="Nexa Book"/>
                        </a:rPr>
                        <a:t>Bic</a:t>
                      </a:r>
                    </a:p>
                  </a:txBody>
                  <a:tcPr marL="2858" marR="2858" marT="2858" marB="0" anchor="ctr">
                    <a:noFill/>
                  </a:tcPr>
                </a:tc>
                <a:tc>
                  <a:txBody>
                    <a:bodyPr/>
                    <a:lstStyle/>
                    <a:p>
                      <a:pPr algn="l">
                        <a:defRPr sz="600">
                          <a:latin typeface="Nexa Book"/>
                        </a:defRPr>
                      </a:pPr>
                      <a:r>
                        <a:rPr sz="600">
                          <a:latin typeface="Nexa Book"/>
                        </a:rPr>
                        <a:t>BIC FLEX 5 WHITE BLACK HOLIDAY GIFT PACK 5 BLADE DISPOSABLE NORMAL 6CT</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9.98</a:t>
                      </a:r>
                    </a:p>
                  </a:txBody>
                  <a:tcPr marL="2858" marR="2858" marT="2858" marB="0" anchor="ctr">
                    <a:noFill/>
                  </a:tcPr>
                </a:tc>
                <a:tc>
                  <a:txBody>
                    <a:bodyPr/>
                    <a:lstStyle/>
                    <a:p>
                      <a:pPr algn="ctr">
                        <a:defRPr sz="600">
                          <a:latin typeface="Nexa Book"/>
                        </a:defRPr>
                      </a:pPr>
                      <a:r>
                        <a:rPr sz="600">
                          <a:latin typeface="Nexa Book"/>
                        </a:rPr>
                        <a:t> 9.50</a:t>
                      </a:r>
                    </a:p>
                  </a:txBody>
                  <a:tcPr marL="2858" marR="2858" marT="2858" marB="0" anchor="ctr">
                    <a:noFill/>
                  </a:tcPr>
                </a:tc>
                <a:tc>
                  <a:txBody>
                    <a:bodyPr/>
                    <a:lstStyle/>
                    <a:p>
                      <a:pPr algn="ctr">
                        <a:defRPr sz="600">
                          <a:latin typeface="Nexa Book"/>
                        </a:defRPr>
                      </a:pPr>
                      <a:r>
                        <a:rPr sz="600">
                          <a:latin typeface="Nexa Book"/>
                        </a:rPr>
                        <a:t>709'097</a:t>
                      </a:r>
                    </a:p>
                  </a:txBody>
                  <a:tcPr marL="2858" marR="2858" marT="2858" marB="0" anchor="ctr">
                    <a:noFill/>
                  </a:tcPr>
                </a:tc>
                <a:tc>
                  <a:txBody>
                    <a:bodyPr/>
                    <a:lstStyle/>
                    <a:p>
                      <a:pPr algn="ctr">
                        <a:defRPr sz="600">
                          <a:latin typeface="Nexa Book"/>
                        </a:defRPr>
                      </a:pPr>
                      <a:r>
                        <a:rPr sz="600">
                          <a:latin typeface="Nexa Book"/>
                        </a:rPr>
                        <a:t>26%</a:t>
                      </a:r>
                    </a:p>
                  </a:txBody>
                  <a:tcPr marL="2858" marR="2858" marT="2858" marB="0" anchor="ctr">
                    <a:noFill/>
                  </a:tcPr>
                </a:tc>
                <a:tc>
                  <a:txBody>
                    <a:bodyPr/>
                    <a:lstStyle/>
                    <a:p>
                      <a:pPr algn="ctr">
                        <a:defRPr sz="600">
                          <a:latin typeface="Nexa Book"/>
                        </a:defRPr>
                      </a:pPr>
                      <a:r>
                        <a:rPr sz="600">
                          <a:latin typeface="Nexa Book"/>
                        </a:rPr>
                        <a:t>40%</a:t>
                      </a:r>
                    </a:p>
                  </a:txBody>
                  <a:tcPr marL="2858" marR="2858" marT="2858" marB="0" anchor="ctr">
                    <a:noFill/>
                  </a:tcPr>
                </a:tc>
                <a:tc>
                  <a:txBody>
                    <a:bodyPr/>
                    <a:lstStyle/>
                    <a:p>
                      <a:pPr algn="ctr">
                        <a:defRPr sz="600">
                          <a:latin typeface="Nexa Book"/>
                        </a:defRPr>
                      </a:pPr>
                      <a:r>
                        <a:rPr sz="600">
                          <a:latin typeface="Nexa Book"/>
                        </a:rPr>
                        <a:t>51227</a:t>
                      </a:r>
                    </a:p>
                  </a:txBody>
                  <a:tcPr marL="2858" marR="2858" marT="2858" marB="0" anchor="ctr">
                    <a:noFill/>
                  </a:tcPr>
                </a:tc>
                <a:tc>
                  <a:txBody>
                    <a:bodyPr/>
                    <a:lstStyle/>
                    <a:p>
                      <a:pPr algn="ctr">
                        <a:defRPr sz="600">
                          <a:latin typeface="Nexa Book"/>
                        </a:defRPr>
                      </a:pPr>
                      <a:r>
                        <a:rPr sz="600">
                          <a:latin typeface="Nexa Book"/>
                        </a:rPr>
                        <a:t>145%</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648264">
                <a:tc>
                  <a:txBody>
                    <a:bodyPr/>
                    <a:lstStyle/>
                    <a:p>
                      <a:pPr algn="l">
                        <a:defRPr sz="600">
                          <a:latin typeface="Nexa Book"/>
                        </a:defRPr>
                      </a:pPr>
                      <a:r>
                        <a:rPr sz="600">
                          <a:latin typeface="Nexa Book"/>
                        </a:rPr>
                        <a:t>Bic</a:t>
                      </a:r>
                    </a:p>
                  </a:txBody>
                  <a:tcPr marL="2858" marR="2858" marT="2858" marB="0" anchor="ctr">
                    <a:noFill/>
                  </a:tcPr>
                </a:tc>
                <a:tc>
                  <a:txBody>
                    <a:bodyPr/>
                    <a:lstStyle/>
                    <a:p>
                      <a:pPr algn="l">
                        <a:defRPr sz="600">
                          <a:latin typeface="Nexa Book"/>
                        </a:defRPr>
                      </a:pPr>
                      <a:r>
                        <a:rPr sz="600">
                          <a:latin typeface="Nexa Book"/>
                        </a:rPr>
                        <a:t>BIC FLEX 3 3 BLADE DISPOSABLE NORMAL 2CT</a:t>
                      </a:r>
                    </a:p>
                  </a:txBody>
                  <a:tcPr marL="2858" marR="2858" marT="2858" marB="0" anchor="ctr">
                    <a:noFill/>
                  </a:tcPr>
                </a:tc>
                <a:tc>
                  <a:txBody>
                    <a:bodyPr/>
                    <a:lstStyle/>
                    <a:p>
                      <a:pPr algn="ctr">
                        <a:defRPr sz="600">
                          <a:latin typeface="Nexa Book"/>
                        </a:defRPr>
                      </a:pPr>
                      <a:r>
                        <a:rPr sz="600">
                          <a:latin typeface="Nexa Book"/>
                        </a:rPr>
                        <a:t>16%</a:t>
                      </a:r>
                    </a:p>
                  </a:txBody>
                  <a:tcPr marL="2858" marR="2858" marT="2858" marB="0" anchor="ctr">
                    <a:noFill/>
                  </a:tcPr>
                </a:tc>
                <a:tc>
                  <a:txBody>
                    <a:bodyPr/>
                    <a:lstStyle/>
                    <a:p>
                      <a:pPr algn="ctr">
                        <a:defRPr sz="600">
                          <a:latin typeface="Nexa Book"/>
                        </a:defRPr>
                      </a:pPr>
                      <a:r>
                        <a:rPr sz="600">
                          <a:latin typeface="Nexa Book"/>
                        </a:rPr>
                        <a:t>39%</a:t>
                      </a:r>
                    </a:p>
                  </a:txBody>
                  <a:tcPr marL="2858" marR="2858" marT="2858" marB="0" anchor="ctr">
                    <a:noFill/>
                  </a:tcPr>
                </a:tc>
                <a:tc>
                  <a:txBody>
                    <a:bodyPr/>
                    <a:lstStyle/>
                    <a:p>
                      <a:pPr algn="ctr">
                        <a:defRPr sz="600">
                          <a:latin typeface="Nexa Book"/>
                        </a:defRPr>
                      </a:pPr>
                      <a:r>
                        <a:rPr sz="600">
                          <a:latin typeface="Nexa Book"/>
                        </a:rPr>
                        <a:t> 5.10</a:t>
                      </a:r>
                    </a:p>
                  </a:txBody>
                  <a:tcPr marL="2858" marR="2858" marT="2858" marB="0" anchor="ctr">
                    <a:noFill/>
                  </a:tcPr>
                </a:tc>
                <a:tc>
                  <a:txBody>
                    <a:bodyPr/>
                    <a:lstStyle/>
                    <a:p>
                      <a:pPr algn="ctr">
                        <a:defRPr sz="600">
                          <a:latin typeface="Nexa Book"/>
                        </a:defRPr>
                      </a:pPr>
                      <a:r>
                        <a:rPr sz="600">
                          <a:latin typeface="Nexa Book"/>
                        </a:rPr>
                        <a:t> 4.62</a:t>
                      </a:r>
                    </a:p>
                  </a:txBody>
                  <a:tcPr marL="2858" marR="2858" marT="2858" marB="0" anchor="ctr">
                    <a:noFill/>
                  </a:tcPr>
                </a:tc>
                <a:tc>
                  <a:txBody>
                    <a:bodyPr/>
                    <a:lstStyle/>
                    <a:p>
                      <a:pPr algn="ctr">
                        <a:defRPr sz="600">
                          <a:latin typeface="Nexa Book"/>
                        </a:defRPr>
                      </a:pPr>
                      <a:r>
                        <a:rPr sz="600">
                          <a:latin typeface="Nexa Book"/>
                        </a:rPr>
                        <a:t>612'423</a:t>
                      </a:r>
                    </a:p>
                  </a:txBody>
                  <a:tcPr marL="2858" marR="2858" marT="2858" marB="0" anchor="ctr">
                    <a:noFill/>
                  </a:tcPr>
                </a:tc>
                <a:tc>
                  <a:txBody>
                    <a:bodyPr/>
                    <a:lstStyle/>
                    <a:p>
                      <a:pPr algn="ctr">
                        <a:defRPr sz="600">
                          <a:latin typeface="Nexa Book"/>
                        </a:defRPr>
                      </a:pPr>
                      <a:r>
                        <a:rPr sz="600">
                          <a:latin typeface="Nexa Book"/>
                        </a:rPr>
                        <a:t>2%</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6608</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648264">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GREEN 3 BLADE DISPOSABLE SENSITIVE 8CT</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 11.01</a:t>
                      </a:r>
                    </a:p>
                  </a:txBody>
                  <a:tcPr marL="2858" marR="2858" marT="2858" marB="0" anchor="ctr">
                    <a:noFill/>
                  </a:tcPr>
                </a:tc>
                <a:tc>
                  <a:txBody>
                    <a:bodyPr/>
                    <a:lstStyle/>
                    <a:p>
                      <a:pPr algn="ctr">
                        <a:defRPr sz="600">
                          <a:latin typeface="Nexa Book"/>
                        </a:defRPr>
                      </a:pPr>
                      <a:r>
                        <a:rPr sz="600">
                          <a:latin typeface="Nexa Book"/>
                        </a:rPr>
                        <a:t> 9.88</a:t>
                      </a:r>
                    </a:p>
                  </a:txBody>
                  <a:tcPr marL="2858" marR="2858" marT="2858" marB="0" anchor="ctr">
                    <a:noFill/>
                  </a:tcPr>
                </a:tc>
                <a:tc>
                  <a:txBody>
                    <a:bodyPr/>
                    <a:lstStyle/>
                    <a:p>
                      <a:pPr algn="ctr">
                        <a:defRPr sz="600">
                          <a:latin typeface="Nexa Book"/>
                        </a:defRPr>
                      </a:pPr>
                      <a:r>
                        <a:rPr sz="600">
                          <a:latin typeface="Nexa Book"/>
                        </a:rPr>
                        <a:t>350'447</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65%</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648264">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BLACK 3 BLADE DISPOSABLE SENSITIVE 4CT</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 6.50</a:t>
                      </a:r>
                    </a:p>
                  </a:txBody>
                  <a:tcPr marL="2858" marR="2858" marT="2858" marB="0" anchor="ctr">
                    <a:noFill/>
                  </a:tcPr>
                </a:tc>
                <a:tc>
                  <a:txBody>
                    <a:bodyPr/>
                    <a:lstStyle/>
                    <a:p>
                      <a:pPr algn="ctr">
                        <a:defRPr sz="600">
                          <a:latin typeface="Nexa Book"/>
                        </a:defRPr>
                      </a:pPr>
                      <a:r>
                        <a:rPr sz="600">
                          <a:latin typeface="Nexa Book"/>
                        </a:rPr>
                        <a:t> 6.01</a:t>
                      </a:r>
                    </a:p>
                  </a:txBody>
                  <a:tcPr marL="2858" marR="2858" marT="2858" marB="0" anchor="ctr">
                    <a:noFill/>
                  </a:tcPr>
                </a:tc>
                <a:tc>
                  <a:txBody>
                    <a:bodyPr/>
                    <a:lstStyle/>
                    <a:p>
                      <a:pPr algn="ctr">
                        <a:defRPr sz="600">
                          <a:latin typeface="Nexa Book"/>
                        </a:defRPr>
                      </a:pPr>
                      <a:r>
                        <a:rPr sz="600">
                          <a:latin typeface="Nexa Book"/>
                        </a:rPr>
                        <a:t>287'346</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62%</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124431996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8/18/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Bj's And Sam's | Disposable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3241320">
                <a:tc>
                  <a:txBody>
                    <a:bodyPr/>
                    <a:lstStyle/>
                    <a:p>
                      <a:pPr algn="l">
                        <a:defRPr sz="600">
                          <a:latin typeface="Nexa Book"/>
                        </a:defRPr>
                      </a:pPr>
                      <a:r>
                        <a:rPr sz="600">
                          <a:latin typeface="Nexa Book"/>
                        </a:rPr>
                        <a:t>Gillette</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GILLETTE SENSOR 2 PLUS PIVOT 2 BLADE DISPOSABLE NORMAL 52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3%</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33.5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30.5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8'454'937</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3%</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3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52921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9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189902667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8/18/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Walmart | Disposable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648264">
                <a:tc>
                  <a:txBody>
                    <a:bodyPr/>
                    <a:lstStyle/>
                    <a:p>
                      <a:pPr algn="l">
                        <a:defRPr sz="600">
                          <a:latin typeface="Nexa Book"/>
                        </a:defRPr>
                      </a:pPr>
                      <a:r>
                        <a:rPr sz="600">
                          <a:latin typeface="Nexa Book"/>
                        </a:rPr>
                        <a:t>Schick</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SCHICK XTREME 3 SENSITIVE GREEN HOLIDAY GIFT PACK 3 BLADE DISPOSABLE SENSITIVE 8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0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0.0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8.9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128'687</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4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7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20533</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6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34%</a:t>
                      </a: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227368056"/>
                  </a:ext>
                </a:extLst>
              </a:tr>
              <a:tr h="648264">
                <a:tc>
                  <a:txBody>
                    <a:bodyPr/>
                    <a:lstStyle/>
                    <a:p>
                      <a:pPr algn="l">
                        <a:defRPr sz="600">
                          <a:latin typeface="Nexa Book"/>
                        </a:defRPr>
                      </a:pPr>
                      <a:r>
                        <a:rPr sz="600">
                          <a:latin typeface="Nexa Book"/>
                        </a:rPr>
                        <a:t>Bic</a:t>
                      </a:r>
                    </a:p>
                  </a:txBody>
                  <a:tcPr marL="2858" marR="2858" marT="2858" marB="0" anchor="ctr">
                    <a:noFill/>
                  </a:tcPr>
                </a:tc>
                <a:tc>
                  <a:txBody>
                    <a:bodyPr/>
                    <a:lstStyle/>
                    <a:p>
                      <a:pPr algn="l">
                        <a:defRPr sz="600">
                          <a:latin typeface="Nexa Book"/>
                        </a:defRPr>
                      </a:pPr>
                      <a:r>
                        <a:rPr sz="600">
                          <a:latin typeface="Nexa Book"/>
                        </a:rPr>
                        <a:t>BIC FLEX 5 WHITE BLACK HOLIDAY GIFT PACK 5 BLADE DISPOSABLE NORMAL 6CT</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9.98</a:t>
                      </a:r>
                    </a:p>
                  </a:txBody>
                  <a:tcPr marL="2858" marR="2858" marT="2858" marB="0" anchor="ctr">
                    <a:noFill/>
                  </a:tcPr>
                </a:tc>
                <a:tc>
                  <a:txBody>
                    <a:bodyPr/>
                    <a:lstStyle/>
                    <a:p>
                      <a:pPr algn="ctr">
                        <a:defRPr sz="600">
                          <a:latin typeface="Nexa Book"/>
                        </a:defRPr>
                      </a:pPr>
                      <a:r>
                        <a:rPr sz="600">
                          <a:latin typeface="Nexa Book"/>
                        </a:rPr>
                        <a:t> 9.50</a:t>
                      </a:r>
                    </a:p>
                  </a:txBody>
                  <a:tcPr marL="2858" marR="2858" marT="2858" marB="0" anchor="ctr">
                    <a:noFill/>
                  </a:tcPr>
                </a:tc>
                <a:tc>
                  <a:txBody>
                    <a:bodyPr/>
                    <a:lstStyle/>
                    <a:p>
                      <a:pPr algn="ctr">
                        <a:defRPr sz="600">
                          <a:latin typeface="Nexa Book"/>
                        </a:defRPr>
                      </a:pPr>
                      <a:r>
                        <a:rPr sz="600">
                          <a:latin typeface="Nexa Book"/>
                        </a:rPr>
                        <a:t>709'097</a:t>
                      </a:r>
                    </a:p>
                  </a:txBody>
                  <a:tcPr marL="2858" marR="2858" marT="2858" marB="0" anchor="ctr">
                    <a:noFill/>
                  </a:tcPr>
                </a:tc>
                <a:tc>
                  <a:txBody>
                    <a:bodyPr/>
                    <a:lstStyle/>
                    <a:p>
                      <a:pPr algn="ctr">
                        <a:defRPr sz="600">
                          <a:latin typeface="Nexa Book"/>
                        </a:defRPr>
                      </a:pPr>
                      <a:r>
                        <a:rPr sz="600">
                          <a:latin typeface="Nexa Book"/>
                        </a:rPr>
                        <a:t>26%</a:t>
                      </a:r>
                    </a:p>
                  </a:txBody>
                  <a:tcPr marL="2858" marR="2858" marT="2858" marB="0" anchor="ctr">
                    <a:noFill/>
                  </a:tcPr>
                </a:tc>
                <a:tc>
                  <a:txBody>
                    <a:bodyPr/>
                    <a:lstStyle/>
                    <a:p>
                      <a:pPr algn="ctr">
                        <a:defRPr sz="600">
                          <a:latin typeface="Nexa Book"/>
                        </a:defRPr>
                      </a:pPr>
                      <a:r>
                        <a:rPr sz="600">
                          <a:latin typeface="Nexa Book"/>
                        </a:rPr>
                        <a:t>40%</a:t>
                      </a:r>
                    </a:p>
                  </a:txBody>
                  <a:tcPr marL="2858" marR="2858" marT="2858" marB="0" anchor="ctr">
                    <a:noFill/>
                  </a:tcPr>
                </a:tc>
                <a:tc>
                  <a:txBody>
                    <a:bodyPr/>
                    <a:lstStyle/>
                    <a:p>
                      <a:pPr algn="ctr">
                        <a:defRPr sz="600">
                          <a:latin typeface="Nexa Book"/>
                        </a:defRPr>
                      </a:pPr>
                      <a:r>
                        <a:rPr sz="600">
                          <a:latin typeface="Nexa Book"/>
                        </a:rPr>
                        <a:t>51227</a:t>
                      </a:r>
                    </a:p>
                  </a:txBody>
                  <a:tcPr marL="2858" marR="2858" marT="2858" marB="0" anchor="ctr">
                    <a:noFill/>
                  </a:tcPr>
                </a:tc>
                <a:tc>
                  <a:txBody>
                    <a:bodyPr/>
                    <a:lstStyle/>
                    <a:p>
                      <a:pPr algn="ctr">
                        <a:defRPr sz="600">
                          <a:latin typeface="Nexa Book"/>
                        </a:defRPr>
                      </a:pPr>
                      <a:r>
                        <a:rPr sz="600">
                          <a:latin typeface="Nexa Book"/>
                        </a:rPr>
                        <a:t>145%</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648264">
                <a:tc>
                  <a:txBody>
                    <a:bodyPr/>
                    <a:lstStyle/>
                    <a:p>
                      <a:pPr algn="l">
                        <a:defRPr sz="600">
                          <a:latin typeface="Nexa Book"/>
                        </a:defRPr>
                      </a:pPr>
                      <a:r>
                        <a:rPr sz="600">
                          <a:latin typeface="Nexa Book"/>
                        </a:rPr>
                        <a:t>Bic</a:t>
                      </a:r>
                    </a:p>
                  </a:txBody>
                  <a:tcPr marL="2858" marR="2858" marT="2858" marB="0" anchor="ctr">
                    <a:noFill/>
                  </a:tcPr>
                </a:tc>
                <a:tc>
                  <a:txBody>
                    <a:bodyPr/>
                    <a:lstStyle/>
                    <a:p>
                      <a:pPr algn="l">
                        <a:defRPr sz="600">
                          <a:latin typeface="Nexa Book"/>
                        </a:defRPr>
                      </a:pPr>
                      <a:r>
                        <a:rPr sz="600">
                          <a:latin typeface="Nexa Book"/>
                        </a:rPr>
                        <a:t>BIC FLEX 3 3 BLADE DISPOSABLE NORMAL 2CT</a:t>
                      </a:r>
                    </a:p>
                  </a:txBody>
                  <a:tcPr marL="2858" marR="2858" marT="2858" marB="0" anchor="ctr">
                    <a:noFill/>
                  </a:tcPr>
                </a:tc>
                <a:tc>
                  <a:txBody>
                    <a:bodyPr/>
                    <a:lstStyle/>
                    <a:p>
                      <a:pPr algn="ctr">
                        <a:defRPr sz="600">
                          <a:latin typeface="Nexa Book"/>
                        </a:defRPr>
                      </a:pPr>
                      <a:r>
                        <a:rPr sz="600">
                          <a:latin typeface="Nexa Book"/>
                        </a:rPr>
                        <a:t>16%</a:t>
                      </a:r>
                    </a:p>
                  </a:txBody>
                  <a:tcPr marL="2858" marR="2858" marT="2858" marB="0" anchor="ctr">
                    <a:noFill/>
                  </a:tcPr>
                </a:tc>
                <a:tc>
                  <a:txBody>
                    <a:bodyPr/>
                    <a:lstStyle/>
                    <a:p>
                      <a:pPr algn="ctr">
                        <a:defRPr sz="600">
                          <a:latin typeface="Nexa Book"/>
                        </a:defRPr>
                      </a:pPr>
                      <a:r>
                        <a:rPr sz="600">
                          <a:latin typeface="Nexa Book"/>
                        </a:rPr>
                        <a:t>39%</a:t>
                      </a:r>
                    </a:p>
                  </a:txBody>
                  <a:tcPr marL="2858" marR="2858" marT="2858" marB="0" anchor="ctr">
                    <a:noFill/>
                  </a:tcPr>
                </a:tc>
                <a:tc>
                  <a:txBody>
                    <a:bodyPr/>
                    <a:lstStyle/>
                    <a:p>
                      <a:pPr algn="ctr">
                        <a:defRPr sz="600">
                          <a:latin typeface="Nexa Book"/>
                        </a:defRPr>
                      </a:pPr>
                      <a:r>
                        <a:rPr sz="600">
                          <a:latin typeface="Nexa Book"/>
                        </a:rPr>
                        <a:t> 5.10</a:t>
                      </a:r>
                    </a:p>
                  </a:txBody>
                  <a:tcPr marL="2858" marR="2858" marT="2858" marB="0" anchor="ctr">
                    <a:noFill/>
                  </a:tcPr>
                </a:tc>
                <a:tc>
                  <a:txBody>
                    <a:bodyPr/>
                    <a:lstStyle/>
                    <a:p>
                      <a:pPr algn="ctr">
                        <a:defRPr sz="600">
                          <a:latin typeface="Nexa Book"/>
                        </a:defRPr>
                      </a:pPr>
                      <a:r>
                        <a:rPr sz="600">
                          <a:latin typeface="Nexa Book"/>
                        </a:rPr>
                        <a:t> 4.62</a:t>
                      </a:r>
                    </a:p>
                  </a:txBody>
                  <a:tcPr marL="2858" marR="2858" marT="2858" marB="0" anchor="ctr">
                    <a:noFill/>
                  </a:tcPr>
                </a:tc>
                <a:tc>
                  <a:txBody>
                    <a:bodyPr/>
                    <a:lstStyle/>
                    <a:p>
                      <a:pPr algn="ctr">
                        <a:defRPr sz="600">
                          <a:latin typeface="Nexa Book"/>
                        </a:defRPr>
                      </a:pPr>
                      <a:r>
                        <a:rPr sz="600">
                          <a:latin typeface="Nexa Book"/>
                        </a:rPr>
                        <a:t>612'423</a:t>
                      </a:r>
                    </a:p>
                  </a:txBody>
                  <a:tcPr marL="2858" marR="2858" marT="2858" marB="0" anchor="ctr">
                    <a:noFill/>
                  </a:tcPr>
                </a:tc>
                <a:tc>
                  <a:txBody>
                    <a:bodyPr/>
                    <a:lstStyle/>
                    <a:p>
                      <a:pPr algn="ctr">
                        <a:defRPr sz="600">
                          <a:latin typeface="Nexa Book"/>
                        </a:defRPr>
                      </a:pPr>
                      <a:r>
                        <a:rPr sz="600">
                          <a:latin typeface="Nexa Book"/>
                        </a:rPr>
                        <a:t>2%</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6608</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648264">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GREEN 3 BLADE DISPOSABLE SENSITIVE 8CT</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 11.01</a:t>
                      </a:r>
                    </a:p>
                  </a:txBody>
                  <a:tcPr marL="2858" marR="2858" marT="2858" marB="0" anchor="ctr">
                    <a:noFill/>
                  </a:tcPr>
                </a:tc>
                <a:tc>
                  <a:txBody>
                    <a:bodyPr/>
                    <a:lstStyle/>
                    <a:p>
                      <a:pPr algn="ctr">
                        <a:defRPr sz="600">
                          <a:latin typeface="Nexa Book"/>
                        </a:defRPr>
                      </a:pPr>
                      <a:r>
                        <a:rPr sz="600">
                          <a:latin typeface="Nexa Book"/>
                        </a:rPr>
                        <a:t> 9.88</a:t>
                      </a:r>
                    </a:p>
                  </a:txBody>
                  <a:tcPr marL="2858" marR="2858" marT="2858" marB="0" anchor="ctr">
                    <a:noFill/>
                  </a:tcPr>
                </a:tc>
                <a:tc>
                  <a:txBody>
                    <a:bodyPr/>
                    <a:lstStyle/>
                    <a:p>
                      <a:pPr algn="ctr">
                        <a:defRPr sz="600">
                          <a:latin typeface="Nexa Book"/>
                        </a:defRPr>
                      </a:pPr>
                      <a:r>
                        <a:rPr sz="600">
                          <a:latin typeface="Nexa Book"/>
                        </a:rPr>
                        <a:t>350'447</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65%</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648264">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BLACK 3 BLADE DISPOSABLE SENSITIVE 4CT</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 6.50</a:t>
                      </a:r>
                    </a:p>
                  </a:txBody>
                  <a:tcPr marL="2858" marR="2858" marT="2858" marB="0" anchor="ctr">
                    <a:noFill/>
                  </a:tcPr>
                </a:tc>
                <a:tc>
                  <a:txBody>
                    <a:bodyPr/>
                    <a:lstStyle/>
                    <a:p>
                      <a:pPr algn="ctr">
                        <a:defRPr sz="600">
                          <a:latin typeface="Nexa Book"/>
                        </a:defRPr>
                      </a:pPr>
                      <a:r>
                        <a:rPr sz="600">
                          <a:latin typeface="Nexa Book"/>
                        </a:rPr>
                        <a:t> 6.01</a:t>
                      </a:r>
                    </a:p>
                  </a:txBody>
                  <a:tcPr marL="2858" marR="2858" marT="2858" marB="0" anchor="ctr">
                    <a:noFill/>
                  </a:tcPr>
                </a:tc>
                <a:tc>
                  <a:txBody>
                    <a:bodyPr/>
                    <a:lstStyle/>
                    <a:p>
                      <a:pPr algn="ctr">
                        <a:defRPr sz="600">
                          <a:latin typeface="Nexa Book"/>
                        </a:defRPr>
                      </a:pPr>
                      <a:r>
                        <a:rPr sz="600">
                          <a:latin typeface="Nexa Book"/>
                        </a:rPr>
                        <a:t>287'346</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62%</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23176423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8/18/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Bj's And Sam's | Razor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3241320">
                <a:tc>
                  <a:txBody>
                    <a:bodyPr/>
                    <a:lstStyle/>
                    <a:p>
                      <a:pPr algn="l">
                        <a:defRPr sz="600">
                          <a:latin typeface="Nexa Book"/>
                        </a:defRPr>
                      </a:pPr>
                      <a:r>
                        <a:rPr sz="600">
                          <a:latin typeface="Nexa Book"/>
                        </a:rPr>
                        <a:t>Gillette</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GILLETTE FUSION 5 PROGLIDE 5 BLADE RAZOR NORMAL 13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46.97</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43.07</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341'94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3%</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4%</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8108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1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38583488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8/18/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Bj's And Sam's | Refill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3241320">
                <a:tc>
                  <a:txBody>
                    <a:bodyPr/>
                    <a:lstStyle/>
                    <a:p>
                      <a:pPr algn="l">
                        <a:defRPr sz="600">
                          <a:latin typeface="Nexa Book"/>
                        </a:defRPr>
                      </a:pPr>
                      <a:r>
                        <a:rPr sz="600">
                          <a:latin typeface="Nexa Book"/>
                        </a:rPr>
                        <a:t>Gillette</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GILLETTE FUSION 5 5 BLADE REFILL NORMAL 16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42.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37.8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5'406'313</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7%</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4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512673</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8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66514928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8/18/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Walmart | Razor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648264">
                <a:tc>
                  <a:txBody>
                    <a:bodyPr/>
                    <a:lstStyle/>
                    <a:p>
                      <a:pPr algn="l">
                        <a:defRPr sz="600">
                          <a:latin typeface="Nexa Book"/>
                        </a:defRPr>
                      </a:pPr>
                      <a:r>
                        <a:rPr sz="600">
                          <a:latin typeface="Nexa Book"/>
                        </a:rPr>
                        <a:t>Gillette</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GILLETTE FUSION 5 BLACK HOLIDAY GIFT PACK 5 BLADE RAZOR NORMAL 3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0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4.9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2.6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778'2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3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49925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5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227368056"/>
                  </a:ext>
                </a:extLst>
              </a:tr>
              <a:tr h="648264">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GRAY HOLIDAY GIFT PACK 5 BLADE RAZOR SENSITIVE 3CT</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0.00</a:t>
                      </a:r>
                    </a:p>
                  </a:txBody>
                  <a:tcPr marL="2858" marR="2858" marT="2858" marB="0" anchor="ctr">
                    <a:noFill/>
                  </a:tcPr>
                </a:tc>
                <a:tc>
                  <a:txBody>
                    <a:bodyPr/>
                    <a:lstStyle/>
                    <a:p>
                      <a:pPr algn="ctr">
                        <a:defRPr sz="600">
                          <a:latin typeface="Nexa Book"/>
                        </a:defRPr>
                      </a:pPr>
                      <a:r>
                        <a:rPr sz="600">
                          <a:latin typeface="Nexa Book"/>
                        </a:rPr>
                        <a:t> 8.58</a:t>
                      </a:r>
                    </a:p>
                  </a:txBody>
                  <a:tcPr marL="2858" marR="2858" marT="2858" marB="0" anchor="ctr">
                    <a:noFill/>
                  </a:tcPr>
                </a:tc>
                <a:tc>
                  <a:txBody>
                    <a:bodyPr/>
                    <a:lstStyle/>
                    <a:p>
                      <a:pPr algn="ctr">
                        <a:defRPr sz="600">
                          <a:latin typeface="Nexa Book"/>
                        </a:defRPr>
                      </a:pPr>
                      <a:r>
                        <a:rPr sz="600">
                          <a:latin typeface="Nexa Book"/>
                        </a:rPr>
                        <a:t>1'356'208</a:t>
                      </a:r>
                    </a:p>
                  </a:txBody>
                  <a:tcPr marL="2858" marR="2858" marT="2858" marB="0" anchor="ctr">
                    <a:noFill/>
                  </a:tcPr>
                </a:tc>
                <a:tc>
                  <a:txBody>
                    <a:bodyPr/>
                    <a:lstStyle/>
                    <a:p>
                      <a:pPr algn="ctr">
                        <a:defRPr sz="600">
                          <a:latin typeface="Nexa Book"/>
                        </a:defRPr>
                      </a:pPr>
                      <a:r>
                        <a:rPr sz="600">
                          <a:latin typeface="Nexa Book"/>
                        </a:rPr>
                        <a:t>85%</a:t>
                      </a:r>
                    </a:p>
                  </a:txBody>
                  <a:tcPr marL="2858" marR="2858" marT="2858" marB="0" anchor="ctr">
                    <a:noFill/>
                  </a:tcPr>
                </a:tc>
                <a:tc>
                  <a:txBody>
                    <a:bodyPr/>
                    <a:lstStyle/>
                    <a:p>
                      <a:pPr algn="ctr">
                        <a:defRPr sz="600">
                          <a:latin typeface="Nexa Book"/>
                        </a:defRPr>
                      </a:pPr>
                      <a:r>
                        <a:rPr sz="600">
                          <a:latin typeface="Nexa Book"/>
                        </a:rPr>
                        <a:t>131%</a:t>
                      </a:r>
                    </a:p>
                  </a:txBody>
                  <a:tcPr marL="2858" marR="2858" marT="2858" marB="0" anchor="ctr">
                    <a:noFill/>
                  </a:tcPr>
                </a:tc>
                <a:tc>
                  <a:txBody>
                    <a:bodyPr/>
                    <a:lstStyle/>
                    <a:p>
                      <a:pPr algn="ctr">
                        <a:defRPr sz="600">
                          <a:latin typeface="Nexa Book"/>
                        </a:defRPr>
                      </a:pPr>
                      <a:r>
                        <a:rPr sz="600">
                          <a:latin typeface="Nexa Book"/>
                        </a:rPr>
                        <a:t>391970</a:t>
                      </a:r>
                    </a:p>
                  </a:txBody>
                  <a:tcPr marL="2858" marR="2858" marT="2858" marB="0" anchor="ctr">
                    <a:noFill/>
                  </a:tcPr>
                </a:tc>
                <a:tc>
                  <a:txBody>
                    <a:bodyPr/>
                    <a:lstStyle/>
                    <a:p>
                      <a:pPr algn="ctr">
                        <a:defRPr sz="600">
                          <a:latin typeface="Nexa Book"/>
                        </a:defRPr>
                      </a:pPr>
                      <a:r>
                        <a:rPr sz="600">
                          <a:latin typeface="Nexa Book"/>
                        </a:rPr>
                        <a:t>175%</a:t>
                      </a:r>
                    </a:p>
                  </a:txBody>
                  <a:tcPr marL="2858" marR="2858" marT="2858" marB="0" anchor="ctr">
                    <a:noFill/>
                  </a:tcPr>
                </a:tc>
                <a:tc>
                  <a:txBody>
                    <a:bodyPr/>
                    <a:lstStyle/>
                    <a:p>
                      <a:pPr algn="ctr">
                        <a:defRPr sz="600">
                          <a:latin typeface="Nexa Book"/>
                        </a:defRPr>
                      </a:pPr>
                      <a:r>
                        <a:rPr sz="600">
                          <a:latin typeface="Nexa Book"/>
                        </a:rPr>
                        <a:t>25%</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648264">
                <a:tc>
                  <a:txBody>
                    <a:bodyPr/>
                    <a:lstStyle/>
                    <a:p>
                      <a:pPr algn="l">
                        <a:defRPr sz="600">
                          <a:latin typeface="Nexa Book"/>
                        </a:defRPr>
                      </a:pPr>
                      <a:r>
                        <a:rPr sz="600">
                          <a:latin typeface="Nexa Book"/>
                        </a:rPr>
                        <a:t>Gillette</a:t>
                      </a:r>
                    </a:p>
                  </a:txBody>
                  <a:tcPr marL="2858" marR="2858" marT="2858" marB="0" anchor="ctr">
                    <a:noFill/>
                  </a:tcPr>
                </a:tc>
                <a:tc>
                  <a:txBody>
                    <a:bodyPr/>
                    <a:lstStyle/>
                    <a:p>
                      <a:pPr algn="l">
                        <a:defRPr sz="600">
                          <a:latin typeface="Nexa Book"/>
                        </a:defRPr>
                      </a:pPr>
                      <a:r>
                        <a:rPr sz="600">
                          <a:latin typeface="Nexa Book"/>
                        </a:rPr>
                        <a:t>GILLETTE LABS ARCTIC CAMO HOLIDAY GIFT PACK 5 BLADE RAZOR NORMAL 2CT</a:t>
                      </a:r>
                    </a:p>
                  </a:txBody>
                  <a:tcPr marL="2858" marR="2858" marT="2858" marB="0" anchor="ctr">
                    <a:noFill/>
                  </a:tcPr>
                </a:tc>
                <a:tc>
                  <a:txBody>
                    <a:bodyPr/>
                    <a:lstStyle/>
                    <a:p>
                      <a:pPr algn="ctr">
                        <a:defRPr sz="600">
                          <a:latin typeface="Nexa Book"/>
                        </a:defRPr>
                      </a:pPr>
                      <a:r>
                        <a:rPr sz="600">
                          <a:latin typeface="Nexa Book"/>
                        </a:rPr>
                        <a:t>18%</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4.87</a:t>
                      </a:r>
                    </a:p>
                  </a:txBody>
                  <a:tcPr marL="2858" marR="2858" marT="2858" marB="0" anchor="ctr">
                    <a:noFill/>
                  </a:tcPr>
                </a:tc>
                <a:tc>
                  <a:txBody>
                    <a:bodyPr/>
                    <a:lstStyle/>
                    <a:p>
                      <a:pPr algn="ctr">
                        <a:defRPr sz="600">
                          <a:latin typeface="Nexa Book"/>
                        </a:defRPr>
                      </a:pPr>
                      <a:r>
                        <a:rPr sz="600">
                          <a:latin typeface="Nexa Book"/>
                        </a:rPr>
                        <a:t> 12.17</a:t>
                      </a:r>
                    </a:p>
                  </a:txBody>
                  <a:tcPr marL="2858" marR="2858" marT="2858" marB="0" anchor="ctr">
                    <a:noFill/>
                  </a:tcPr>
                </a:tc>
                <a:tc>
                  <a:txBody>
                    <a:bodyPr/>
                    <a:lstStyle/>
                    <a:p>
                      <a:pPr algn="ctr">
                        <a:defRPr sz="600">
                          <a:latin typeface="Nexa Book"/>
                        </a:defRPr>
                      </a:pPr>
                      <a:r>
                        <a:rPr sz="600">
                          <a:latin typeface="Nexa Book"/>
                        </a:rPr>
                        <a:t>901'567</a:t>
                      </a:r>
                    </a:p>
                  </a:txBody>
                  <a:tcPr marL="2858" marR="2858" marT="2858" marB="0" anchor="ctr">
                    <a:noFill/>
                  </a:tcPr>
                </a:tc>
                <a:tc>
                  <a:txBody>
                    <a:bodyPr/>
                    <a:lstStyle/>
                    <a:p>
                      <a:pPr algn="ctr">
                        <a:defRPr sz="600">
                          <a:latin typeface="Nexa Book"/>
                        </a:defRPr>
                      </a:pPr>
                      <a:r>
                        <a:rPr sz="600">
                          <a:latin typeface="Nexa Book"/>
                        </a:rPr>
                        <a:t>420%</a:t>
                      </a:r>
                    </a:p>
                  </a:txBody>
                  <a:tcPr marL="2858" marR="2858" marT="2858" marB="0" anchor="ctr">
                    <a:noFill/>
                  </a:tcPr>
                </a:tc>
                <a:tc>
                  <a:txBody>
                    <a:bodyPr/>
                    <a:lstStyle/>
                    <a:p>
                      <a:pPr algn="ctr">
                        <a:defRPr sz="600">
                          <a:latin typeface="Nexa Book"/>
                        </a:defRPr>
                      </a:pPr>
                      <a:r>
                        <a:rPr sz="600">
                          <a:latin typeface="Nexa Book"/>
                        </a:rPr>
                        <a:t>653%</a:t>
                      </a:r>
                    </a:p>
                  </a:txBody>
                  <a:tcPr marL="2858" marR="2858" marT="2858" marB="0" anchor="ctr">
                    <a:noFill/>
                  </a:tcPr>
                </a:tc>
                <a:tc>
                  <a:txBody>
                    <a:bodyPr/>
                    <a:lstStyle/>
                    <a:p>
                      <a:pPr algn="ctr">
                        <a:defRPr sz="600">
                          <a:latin typeface="Nexa Book"/>
                        </a:defRPr>
                      </a:pPr>
                      <a:r>
                        <a:rPr sz="600">
                          <a:latin typeface="Nexa Book"/>
                        </a:rPr>
                        <a:t>328524</a:t>
                      </a:r>
                    </a:p>
                  </a:txBody>
                  <a:tcPr marL="2858" marR="2858" marT="2858" marB="0" anchor="ctr">
                    <a:noFill/>
                  </a:tcPr>
                </a:tc>
                <a:tc>
                  <a:txBody>
                    <a:bodyPr/>
                    <a:lstStyle/>
                    <a:p>
                      <a:pPr algn="ctr">
                        <a:defRPr sz="600">
                          <a:latin typeface="Nexa Book"/>
                        </a:defRPr>
                      </a:pPr>
                      <a:r>
                        <a:rPr sz="600">
                          <a:latin typeface="Nexa Book"/>
                        </a:rPr>
                        <a:t>165%</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648264">
                <a:tc>
                  <a:txBody>
                    <a:bodyPr/>
                    <a:lstStyle/>
                    <a:p>
                      <a:pPr algn="l">
                        <a:defRPr sz="600">
                          <a:latin typeface="Nexa Book"/>
                        </a:defRPr>
                      </a:pPr>
                      <a:r>
                        <a:rPr sz="600">
                          <a:latin typeface="Nexa Book"/>
                        </a:rPr>
                        <a:t>Gillette</a:t>
                      </a:r>
                    </a:p>
                  </a:txBody>
                  <a:tcPr marL="2858" marR="2858" marT="2858" marB="0" anchor="ctr">
                    <a:noFill/>
                  </a:tcPr>
                </a:tc>
                <a:tc>
                  <a:txBody>
                    <a:bodyPr/>
                    <a:lstStyle/>
                    <a:p>
                      <a:pPr algn="l">
                        <a:defRPr sz="600">
                          <a:latin typeface="Nexa Book"/>
                        </a:defRPr>
                      </a:pPr>
                      <a:r>
                        <a:rPr sz="600">
                          <a:latin typeface="Nexa Book"/>
                        </a:rPr>
                        <a:t>GILLETTE LABS 5 BLADE RAZOR NORMAL 1CT</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30%</a:t>
                      </a:r>
                    </a:p>
                  </a:txBody>
                  <a:tcPr marL="2858" marR="2858" marT="2858" marB="0" anchor="ctr">
                    <a:noFill/>
                  </a:tcPr>
                </a:tc>
                <a:tc>
                  <a:txBody>
                    <a:bodyPr/>
                    <a:lstStyle/>
                    <a:p>
                      <a:pPr algn="ctr">
                        <a:defRPr sz="600">
                          <a:latin typeface="Nexa Book"/>
                        </a:defRPr>
                      </a:pPr>
                      <a:r>
                        <a:rPr sz="600">
                          <a:latin typeface="Nexa Book"/>
                        </a:rPr>
                        <a:t> 14.83</a:t>
                      </a:r>
                    </a:p>
                  </a:txBody>
                  <a:tcPr marL="2858" marR="2858" marT="2858" marB="0" anchor="ctr">
                    <a:noFill/>
                  </a:tcPr>
                </a:tc>
                <a:tc>
                  <a:txBody>
                    <a:bodyPr/>
                    <a:lstStyle/>
                    <a:p>
                      <a:pPr algn="ctr">
                        <a:defRPr sz="600">
                          <a:latin typeface="Nexa Book"/>
                        </a:defRPr>
                      </a:pPr>
                      <a:r>
                        <a:rPr sz="600">
                          <a:latin typeface="Nexa Book"/>
                        </a:rPr>
                        <a:t> 12.85</a:t>
                      </a:r>
                    </a:p>
                  </a:txBody>
                  <a:tcPr marL="2858" marR="2858" marT="2858" marB="0" anchor="ctr">
                    <a:noFill/>
                  </a:tcPr>
                </a:tc>
                <a:tc>
                  <a:txBody>
                    <a:bodyPr/>
                    <a:lstStyle/>
                    <a:p>
                      <a:pPr algn="ctr">
                        <a:defRPr sz="600">
                          <a:latin typeface="Nexa Book"/>
                        </a:defRPr>
                      </a:pPr>
                      <a:r>
                        <a:rPr sz="600">
                          <a:latin typeface="Nexa Book"/>
                        </a:rPr>
                        <a:t>619'932</a:t>
                      </a:r>
                    </a:p>
                  </a:txBody>
                  <a:tcPr marL="2858" marR="2858" marT="2858" marB="0" anchor="ctr">
                    <a:noFill/>
                  </a:tcPr>
                </a:tc>
                <a:tc>
                  <a:txBody>
                    <a:bodyPr/>
                    <a:lstStyle/>
                    <a:p>
                      <a:pPr algn="ctr">
                        <a:defRPr sz="600">
                          <a:latin typeface="Nexa Book"/>
                        </a:defRPr>
                      </a:pPr>
                      <a:r>
                        <a:rPr sz="600">
                          <a:latin typeface="Nexa Book"/>
                        </a:rPr>
                        <a:t>15%</a:t>
                      </a:r>
                    </a:p>
                  </a:txBody>
                  <a:tcPr marL="2858" marR="2858" marT="2858" marB="0" anchor="ctr">
                    <a:noFill/>
                  </a:tcPr>
                </a:tc>
                <a:tc>
                  <a:txBody>
                    <a:bodyPr/>
                    <a:lstStyle/>
                    <a:p>
                      <a:pPr algn="ctr">
                        <a:defRPr sz="600">
                          <a:latin typeface="Nexa Book"/>
                        </a:defRPr>
                      </a:pPr>
                      <a:r>
                        <a:rPr sz="600">
                          <a:latin typeface="Nexa Book"/>
                        </a:rPr>
                        <a:t>32%</a:t>
                      </a:r>
                    </a:p>
                  </a:txBody>
                  <a:tcPr marL="2858" marR="2858" marT="2858" marB="0" anchor="ctr">
                    <a:noFill/>
                  </a:tcPr>
                </a:tc>
                <a:tc>
                  <a:txBody>
                    <a:bodyPr/>
                    <a:lstStyle/>
                    <a:p>
                      <a:pPr algn="ctr">
                        <a:defRPr sz="600">
                          <a:latin typeface="Nexa Book"/>
                        </a:defRPr>
                      </a:pPr>
                      <a:r>
                        <a:rPr sz="600">
                          <a:latin typeface="Nexa Book"/>
                        </a:rPr>
                        <a:t>91084</a:t>
                      </a:r>
                    </a:p>
                  </a:txBody>
                  <a:tcPr marL="2858" marR="2858" marT="2858" marB="0" anchor="ctr">
                    <a:noFill/>
                  </a:tcPr>
                </a:tc>
                <a:tc>
                  <a:txBody>
                    <a:bodyPr/>
                    <a:lstStyle/>
                    <a:p>
                      <a:pPr algn="ctr">
                        <a:defRPr sz="600">
                          <a:latin typeface="Nexa Book"/>
                        </a:defRPr>
                      </a:pPr>
                      <a:r>
                        <a:rPr sz="600">
                          <a:latin typeface="Nexa Book"/>
                        </a:rPr>
                        <a:t>93%</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648264">
                <a:tc>
                  <a:txBody>
                    <a:bodyPr/>
                    <a:lstStyle/>
                    <a:p>
                      <a:pPr algn="l">
                        <a:defRPr sz="600">
                          <a:latin typeface="Nexa Book"/>
                        </a:defRPr>
                      </a:pPr>
                      <a:r>
                        <a:rPr sz="600">
                          <a:latin typeface="Nexa Book"/>
                        </a:rPr>
                        <a:t>Gillette</a:t>
                      </a:r>
                    </a:p>
                  </a:txBody>
                  <a:tcPr marL="2858" marR="2858" marT="2858" marB="0" anchor="ctr">
                    <a:noFill/>
                  </a:tcPr>
                </a:tc>
                <a:tc>
                  <a:txBody>
                    <a:bodyPr/>
                    <a:lstStyle/>
                    <a:p>
                      <a:pPr algn="l">
                        <a:defRPr sz="600">
                          <a:latin typeface="Nexa Book"/>
                        </a:defRPr>
                      </a:pPr>
                      <a:r>
                        <a:rPr sz="600">
                          <a:latin typeface="Nexa Book"/>
                        </a:rPr>
                        <a:t>GILLETTE FUSION 5 PROGLIDE 5 BLADE RAZOR NORMAL 4CT</a:t>
                      </a:r>
                    </a:p>
                  </a:txBody>
                  <a:tcPr marL="2858" marR="2858" marT="2858" marB="0" anchor="ctr">
                    <a:noFill/>
                  </a:tcPr>
                </a:tc>
                <a:tc>
                  <a:txBody>
                    <a:bodyPr/>
                    <a:lstStyle/>
                    <a:p>
                      <a:pPr algn="ctr">
                        <a:defRPr sz="600">
                          <a:latin typeface="Nexa Book"/>
                        </a:defRPr>
                      </a:pPr>
                      <a:r>
                        <a:rPr sz="600">
                          <a:latin typeface="Nexa Book"/>
                        </a:rPr>
                        <a:t>45%</a:t>
                      </a:r>
                    </a:p>
                  </a:txBody>
                  <a:tcPr marL="2858" marR="2858" marT="2858" marB="0" anchor="ctr">
                    <a:noFill/>
                  </a:tcPr>
                </a:tc>
                <a:tc>
                  <a:txBody>
                    <a:bodyPr/>
                    <a:lstStyle/>
                    <a:p>
                      <a:pPr algn="ctr">
                        <a:defRPr sz="600">
                          <a:latin typeface="Nexa Book"/>
                        </a:defRPr>
                      </a:pPr>
                      <a:r>
                        <a:rPr sz="600">
                          <a:latin typeface="Nexa Book"/>
                        </a:rPr>
                        <a:t>26%</a:t>
                      </a:r>
                    </a:p>
                  </a:txBody>
                  <a:tcPr marL="2858" marR="2858" marT="2858" marB="0" anchor="ctr">
                    <a:noFill/>
                  </a:tcPr>
                </a:tc>
                <a:tc>
                  <a:txBody>
                    <a:bodyPr/>
                    <a:lstStyle/>
                    <a:p>
                      <a:pPr algn="ctr">
                        <a:defRPr sz="600">
                          <a:latin typeface="Nexa Book"/>
                        </a:defRPr>
                      </a:pPr>
                      <a:r>
                        <a:rPr sz="600">
                          <a:latin typeface="Nexa Book"/>
                        </a:rPr>
                        <a:t> 22.98</a:t>
                      </a:r>
                    </a:p>
                  </a:txBody>
                  <a:tcPr marL="2858" marR="2858" marT="2858" marB="0" anchor="ctr">
                    <a:noFill/>
                  </a:tcPr>
                </a:tc>
                <a:tc>
                  <a:txBody>
                    <a:bodyPr/>
                    <a:lstStyle/>
                    <a:p>
                      <a:pPr algn="ctr">
                        <a:defRPr sz="600">
                          <a:latin typeface="Nexa Book"/>
                        </a:defRPr>
                      </a:pPr>
                      <a:r>
                        <a:rPr sz="600">
                          <a:latin typeface="Nexa Book"/>
                        </a:rPr>
                        <a:t> 12.58</a:t>
                      </a:r>
                    </a:p>
                  </a:txBody>
                  <a:tcPr marL="2858" marR="2858" marT="2858" marB="0" anchor="ctr">
                    <a:noFill/>
                  </a:tcPr>
                </a:tc>
                <a:tc>
                  <a:txBody>
                    <a:bodyPr/>
                    <a:lstStyle/>
                    <a:p>
                      <a:pPr algn="ctr">
                        <a:defRPr sz="600">
                          <a:latin typeface="Nexa Book"/>
                        </a:defRPr>
                      </a:pPr>
                      <a:r>
                        <a:rPr sz="600">
                          <a:latin typeface="Nexa Book"/>
                        </a:rPr>
                        <a:t>829'105</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120%</a:t>
                      </a:r>
                    </a:p>
                  </a:txBody>
                  <a:tcPr marL="2858" marR="2858" marT="2858" marB="0" anchor="ctr">
                    <a:noFill/>
                  </a:tcPr>
                </a:tc>
                <a:tc>
                  <a:txBody>
                    <a:bodyPr/>
                    <a:lstStyle/>
                    <a:p>
                      <a:pPr algn="ctr">
                        <a:defRPr sz="600">
                          <a:latin typeface="Nexa Book"/>
                        </a:defRPr>
                      </a:pPr>
                      <a:r>
                        <a:rPr sz="600">
                          <a:latin typeface="Nexa Book"/>
                        </a:rPr>
                        <a:t>20404</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87511267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8/18/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Walmart | Refill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810330">
                <a:tc>
                  <a:txBody>
                    <a:bodyPr/>
                    <a:lstStyle/>
                    <a:p>
                      <a:pPr algn="l">
                        <a:defRPr sz="600">
                          <a:latin typeface="Nexa Book"/>
                        </a:defRPr>
                      </a:pPr>
                      <a:r>
                        <a:rPr sz="600">
                          <a:latin typeface="Nexa Book"/>
                        </a:rPr>
                        <a:t>Schick</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HYDRO 5 SENSITIVE 5 BLADE REFILL SENSITIVE 12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26.97</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24.1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914'10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90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3%</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69%</a:t>
                      </a: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2361446966"/>
                  </a:ext>
                </a:extLst>
              </a:tr>
              <a:tr h="81033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5 BLADE REFILL SENSITIVE 6CT</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28%</a:t>
                      </a:r>
                    </a:p>
                  </a:txBody>
                  <a:tcPr marL="2858" marR="2858" marT="2858" marB="0" anchor="ctr">
                    <a:noFill/>
                  </a:tcPr>
                </a:tc>
                <a:tc>
                  <a:txBody>
                    <a:bodyPr/>
                    <a:lstStyle/>
                    <a:p>
                      <a:pPr algn="ctr">
                        <a:defRPr sz="600">
                          <a:latin typeface="Nexa Book"/>
                        </a:defRPr>
                      </a:pPr>
                      <a:r>
                        <a:rPr sz="600">
                          <a:latin typeface="Nexa Book"/>
                        </a:rPr>
                        <a:t> 14.91</a:t>
                      </a:r>
                    </a:p>
                  </a:txBody>
                  <a:tcPr marL="2858" marR="2858" marT="2858" marB="0" anchor="ctr">
                    <a:noFill/>
                  </a:tcPr>
                </a:tc>
                <a:tc>
                  <a:txBody>
                    <a:bodyPr/>
                    <a:lstStyle/>
                    <a:p>
                      <a:pPr algn="ctr">
                        <a:defRPr sz="600">
                          <a:latin typeface="Nexa Book"/>
                        </a:defRPr>
                      </a:pPr>
                      <a:r>
                        <a:rPr sz="600">
                          <a:latin typeface="Nexa Book"/>
                        </a:rPr>
                        <a:t> 13.84</a:t>
                      </a:r>
                    </a:p>
                  </a:txBody>
                  <a:tcPr marL="2858" marR="2858" marT="2858" marB="0" anchor="ctr">
                    <a:noFill/>
                  </a:tcPr>
                </a:tc>
                <a:tc>
                  <a:txBody>
                    <a:bodyPr/>
                    <a:lstStyle/>
                    <a:p>
                      <a:pPr algn="ctr">
                        <a:defRPr sz="600">
                          <a:latin typeface="Nexa Book"/>
                        </a:defRPr>
                      </a:pPr>
                      <a:r>
                        <a:rPr sz="600">
                          <a:latin typeface="Nexa Book"/>
                        </a:rPr>
                        <a:t>1'432'558</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r>
                        <a:rPr sz="600">
                          <a:latin typeface="Nexa Book"/>
                        </a:rPr>
                        <a:t>2%</a:t>
                      </a:r>
                    </a:p>
                  </a:txBody>
                  <a:tcPr marL="2858" marR="2858" marT="2858" marB="0" anchor="ctr">
                    <a:noFill/>
                  </a:tcPr>
                </a:tc>
                <a:tc>
                  <a:txBody>
                    <a:bodyPr/>
                    <a:lstStyle/>
                    <a:p>
                      <a:pPr algn="ctr">
                        <a:defRPr sz="600">
                          <a:latin typeface="Nexa Book"/>
                        </a:defRPr>
                      </a:pPr>
                      <a:r>
                        <a:rPr sz="600">
                          <a:latin typeface="Nexa Book"/>
                        </a:rPr>
                        <a:t>-77819</a:t>
                      </a:r>
                    </a:p>
                  </a:txBody>
                  <a:tcPr marL="2858" marR="2858" marT="2858" marB="0" anchor="ctr">
                    <a:noFill/>
                  </a:tcPr>
                </a:tc>
                <a:tc>
                  <a:txBody>
                    <a:bodyPr/>
                    <a:lstStyle/>
                    <a:p>
                      <a:pPr algn="ctr">
                        <a:defRPr sz="600">
                          <a:latin typeface="Nexa Book"/>
                        </a:defRPr>
                      </a:pPr>
                      <a:r>
                        <a:rPr sz="600">
                          <a:latin typeface="Nexa Book"/>
                        </a:rPr>
                        <a:t>-69%</a:t>
                      </a:r>
                    </a:p>
                  </a:txBody>
                  <a:tcPr marL="2858" marR="2858" marT="2858" marB="0" anchor="ctr">
                    <a:noFill/>
                  </a:tcPr>
                </a:tc>
                <a:tc>
                  <a:txBody>
                    <a:bodyPr/>
                    <a:lstStyle/>
                    <a:p>
                      <a:pPr algn="ctr">
                        <a:defRPr sz="600">
                          <a:latin typeface="Nexa Book"/>
                        </a:defRPr>
                      </a:pPr>
                      <a:r>
                        <a:rPr sz="600">
                          <a:latin typeface="Nexa Book"/>
                        </a:rPr>
                        <a:t>69%</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810330">
                <a:tc>
                  <a:txBody>
                    <a:bodyPr/>
                    <a:lstStyle/>
                    <a:p>
                      <a:pPr algn="l">
                        <a:defRPr sz="600">
                          <a:latin typeface="Nexa Book"/>
                        </a:defRPr>
                      </a:pPr>
                      <a:r>
                        <a:rPr sz="600">
                          <a:latin typeface="Nexa Book"/>
                        </a:rPr>
                        <a:t>Gillette</a:t>
                      </a:r>
                    </a:p>
                  </a:txBody>
                  <a:tcPr marL="2858" marR="2858" marT="2858" marB="0" anchor="ctr">
                    <a:noFill/>
                  </a:tcPr>
                </a:tc>
                <a:tc>
                  <a:txBody>
                    <a:bodyPr/>
                    <a:lstStyle/>
                    <a:p>
                      <a:pPr algn="l">
                        <a:defRPr sz="600">
                          <a:latin typeface="Nexa Book"/>
                        </a:defRPr>
                      </a:pPr>
                      <a:r>
                        <a:rPr sz="600">
                          <a:latin typeface="Nexa Book"/>
                        </a:rPr>
                        <a:t>GILLETTE FUSION 5 PROGLIDE 5 BLADE REFILL NORMAL 12CT</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37%</a:t>
                      </a:r>
                    </a:p>
                  </a:txBody>
                  <a:tcPr marL="2858" marR="2858" marT="2858" marB="0" anchor="ctr">
                    <a:noFill/>
                  </a:tcPr>
                </a:tc>
                <a:tc>
                  <a:txBody>
                    <a:bodyPr/>
                    <a:lstStyle/>
                    <a:p>
                      <a:pPr algn="ctr">
                        <a:defRPr sz="600">
                          <a:latin typeface="Nexa Book"/>
                        </a:defRPr>
                      </a:pPr>
                      <a:r>
                        <a:rPr sz="600">
                          <a:latin typeface="Nexa Book"/>
                        </a:rPr>
                        <a:t> 45.14</a:t>
                      </a:r>
                    </a:p>
                  </a:txBody>
                  <a:tcPr marL="2858" marR="2858" marT="2858" marB="0" anchor="ctr">
                    <a:noFill/>
                  </a:tcPr>
                </a:tc>
                <a:tc>
                  <a:txBody>
                    <a:bodyPr/>
                    <a:lstStyle/>
                    <a:p>
                      <a:pPr algn="ctr">
                        <a:defRPr sz="600">
                          <a:latin typeface="Nexa Book"/>
                        </a:defRPr>
                      </a:pPr>
                      <a:r>
                        <a:rPr sz="600">
                          <a:latin typeface="Nexa Book"/>
                        </a:rPr>
                        <a:t> 41.03</a:t>
                      </a:r>
                    </a:p>
                  </a:txBody>
                  <a:tcPr marL="2858" marR="2858" marT="2858" marB="0" anchor="ctr">
                    <a:noFill/>
                  </a:tcPr>
                </a:tc>
                <a:tc>
                  <a:txBody>
                    <a:bodyPr/>
                    <a:lstStyle/>
                    <a:p>
                      <a:pPr algn="ctr">
                        <a:defRPr sz="600">
                          <a:latin typeface="Nexa Book"/>
                        </a:defRPr>
                      </a:pPr>
                      <a:r>
                        <a:rPr sz="600">
                          <a:latin typeface="Nexa Book"/>
                        </a:rPr>
                        <a:t>1'539'499</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178664</a:t>
                      </a:r>
                    </a:p>
                  </a:txBody>
                  <a:tcPr marL="2858" marR="2858" marT="2858" marB="0" anchor="ctr">
                    <a:noFill/>
                  </a:tcPr>
                </a:tc>
                <a:tc>
                  <a:txBody>
                    <a:bodyPr/>
                    <a:lstStyle/>
                    <a:p>
                      <a:pPr algn="ctr">
                        <a:defRPr sz="600">
                          <a:latin typeface="Nexa Book"/>
                        </a:defRPr>
                      </a:pPr>
                      <a:r>
                        <a:rPr sz="600">
                          <a:latin typeface="Nexa Book"/>
                        </a:rPr>
                        <a:t>-109%</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810330">
                <a:tc>
                  <a:txBody>
                    <a:bodyPr/>
                    <a:lstStyle/>
                    <a:p>
                      <a:pPr algn="l">
                        <a:defRPr sz="600">
                          <a:latin typeface="Nexa Book"/>
                        </a:defRPr>
                      </a:pPr>
                      <a:r>
                        <a:rPr sz="600">
                          <a:latin typeface="Nexa Book"/>
                        </a:rPr>
                        <a:t>Gillette</a:t>
                      </a:r>
                    </a:p>
                  </a:txBody>
                  <a:tcPr marL="2858" marR="2858" marT="2858" marB="0" anchor="ctr">
                    <a:noFill/>
                  </a:tcPr>
                </a:tc>
                <a:tc>
                  <a:txBody>
                    <a:bodyPr/>
                    <a:lstStyle/>
                    <a:p>
                      <a:pPr algn="l">
                        <a:defRPr sz="600">
                          <a:latin typeface="Nexa Book"/>
                        </a:defRPr>
                      </a:pPr>
                      <a:r>
                        <a:rPr sz="600">
                          <a:latin typeface="Nexa Book"/>
                        </a:rPr>
                        <a:t>GILLETTE FUSION 5 PROGLIDE 5 BLADE REFILL NORMAL 8CT</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28%</a:t>
                      </a:r>
                    </a:p>
                  </a:txBody>
                  <a:tcPr marL="2858" marR="2858" marT="2858" marB="0" anchor="ctr">
                    <a:noFill/>
                  </a:tcPr>
                </a:tc>
                <a:tc>
                  <a:txBody>
                    <a:bodyPr/>
                    <a:lstStyle/>
                    <a:p>
                      <a:pPr algn="ctr">
                        <a:defRPr sz="600">
                          <a:latin typeface="Nexa Book"/>
                        </a:defRPr>
                      </a:pPr>
                      <a:r>
                        <a:rPr sz="600">
                          <a:latin typeface="Nexa Book"/>
                        </a:rPr>
                        <a:t> 34.63</a:t>
                      </a:r>
                    </a:p>
                  </a:txBody>
                  <a:tcPr marL="2858" marR="2858" marT="2858" marB="0" anchor="ctr">
                    <a:noFill/>
                  </a:tcPr>
                </a:tc>
                <a:tc>
                  <a:txBody>
                    <a:bodyPr/>
                    <a:lstStyle/>
                    <a:p>
                      <a:pPr algn="ctr">
                        <a:defRPr sz="600">
                          <a:latin typeface="Nexa Book"/>
                        </a:defRPr>
                      </a:pPr>
                      <a:r>
                        <a:rPr sz="600">
                          <a:latin typeface="Nexa Book"/>
                        </a:rPr>
                        <a:t> 29.96</a:t>
                      </a:r>
                    </a:p>
                  </a:txBody>
                  <a:tcPr marL="2858" marR="2858" marT="2858" marB="0" anchor="ctr">
                    <a:noFill/>
                  </a:tcPr>
                </a:tc>
                <a:tc>
                  <a:txBody>
                    <a:bodyPr/>
                    <a:lstStyle/>
                    <a:p>
                      <a:pPr algn="ctr">
                        <a:defRPr sz="600">
                          <a:latin typeface="Nexa Book"/>
                        </a:defRPr>
                      </a:pPr>
                      <a:r>
                        <a:rPr sz="600">
                          <a:latin typeface="Nexa Book"/>
                        </a:rPr>
                        <a:t>1'162'498</a:t>
                      </a:r>
                    </a:p>
                  </a:txBody>
                  <a:tcPr marL="2858" marR="2858" marT="2858" marB="0" anchor="ctr">
                    <a:noFill/>
                  </a:tcPr>
                </a:tc>
                <a:tc>
                  <a:txBody>
                    <a:bodyPr/>
                    <a:lstStyle/>
                    <a:p>
                      <a:pPr algn="ctr">
                        <a:defRPr sz="600">
                          <a:latin typeface="Nexa Book"/>
                        </a:defRPr>
                      </a:pPr>
                      <a:r>
                        <a:rPr sz="600">
                          <a:latin typeface="Nexa Book"/>
                        </a:rPr>
                        <a:t>-15%</a:t>
                      </a:r>
                    </a:p>
                  </a:txBody>
                  <a:tcPr marL="2858" marR="2858" marT="2858" marB="0" anchor="ctr">
                    <a:noFill/>
                  </a:tcPr>
                </a:tc>
                <a:tc>
                  <a:txBody>
                    <a:bodyPr/>
                    <a:lstStyle/>
                    <a:p>
                      <a:pPr algn="ctr">
                        <a:defRPr sz="600">
                          <a:latin typeface="Nexa Book"/>
                        </a:defRPr>
                      </a:pPr>
                      <a:r>
                        <a:rPr sz="600">
                          <a:latin typeface="Nexa Book"/>
                        </a:rPr>
                        <a:t>1%</a:t>
                      </a:r>
                    </a:p>
                  </a:txBody>
                  <a:tcPr marL="2858" marR="2858" marT="2858" marB="0" anchor="ctr">
                    <a:noFill/>
                  </a:tcPr>
                </a:tc>
                <a:tc>
                  <a:txBody>
                    <a:bodyPr/>
                    <a:lstStyle/>
                    <a:p>
                      <a:pPr algn="ctr">
                        <a:defRPr sz="600">
                          <a:latin typeface="Nexa Book"/>
                        </a:defRPr>
                      </a:pPr>
                      <a:r>
                        <a:rPr sz="600">
                          <a:latin typeface="Nexa Book"/>
                        </a:rPr>
                        <a:t>-188721</a:t>
                      </a:r>
                    </a:p>
                  </a:txBody>
                  <a:tcPr marL="2858" marR="2858" marT="2858" marB="0" anchor="ctr">
                    <a:noFill/>
                  </a:tcPr>
                </a:tc>
                <a:tc>
                  <a:txBody>
                    <a:bodyPr/>
                    <a:lstStyle/>
                    <a:p>
                      <a:pPr algn="ctr">
                        <a:defRPr sz="600">
                          <a:latin typeface="Nexa Book"/>
                        </a:defRPr>
                      </a:pPr>
                      <a:r>
                        <a:rPr sz="600">
                          <a:latin typeface="Nexa Book"/>
                        </a:rPr>
                        <a:t>-99%</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360152474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8BC4F6D-5EE8-8034-53AD-0E49AE2C0CC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B8BC4F6D-5EE8-8034-53AD-0E49AE2C0CC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17D2688C-259E-4553-8974-97B95EE45DEE}" type="datetime1">
              <a:rPr lang="en-US"/>
              <a:pPr/>
              <a:t>8/18/2025</a:t>
            </a:fld>
            <a:endParaRPr lang="en-US"/>
          </a:p>
        </p:txBody>
      </p:sp>
      <p:sp>
        <p:nvSpPr>
          <p:cNvPr id="12" name="Footer Placeholder 11">
            <a:extLst>
              <a:ext uri="{FF2B5EF4-FFF2-40B4-BE49-F238E27FC236}">
                <a16:creationId xmlns:a16="http://schemas.microsoft.com/office/drawing/2014/main" id="{470AC834-4931-8E51-BADA-9AEDE6C820DB}"/>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78DAE09-5169-5767-CE1B-DB92CBC184BE}"/>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Manual Shave Men  |  Bj's And Sam'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3556"/>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9DC869AC-8CCE-42D7-61B5-4DFA17C0718B}"/>
              </a:ext>
            </a:extLst>
          </p:cNvPr>
          <p:cNvGraphicFramePr>
            <a:graphicFrameLocks noGrp="1"/>
          </p:cNvGraphicFramePr>
          <p:nvPr>
            <p:extLst>
              <p:ext uri="{D42A27DB-BD31-4B8C-83A1-F6EECF244321}">
                <p14:modId xmlns:p14="http://schemas.microsoft.com/office/powerpoint/2010/main" val="3242603753"/>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810330">
                <a:tc>
                  <a:txBody>
                    <a:bodyPr/>
                    <a:lstStyle/>
                    <a:p>
                      <a:pPr algn="l">
                        <a:defRPr sz="600">
                          <a:latin typeface="Nexa Book"/>
                        </a:defRPr>
                      </a:pPr>
                      <a:r>
                        <a:rPr sz="600">
                          <a:latin typeface="Nexa Book"/>
                        </a:rPr>
                        <a:t>Schick</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SCHICK XTREME 3 SENSITIVE BLACK GREEN 3 BLADE DISPOSABLE SENSITIVE 20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20.24</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6.4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674'74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4%</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3%</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09386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8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2361446966"/>
                  </a:ext>
                </a:extLst>
              </a:tr>
              <a:tr h="81033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BLACK 3 BLADE DISPOSABLE SENSITIVE 20CT</a:t>
                      </a:r>
                    </a:p>
                  </a:txBody>
                  <a:tcPr marL="2858" marR="2858" marT="2858" marB="0" anchor="ctr">
                    <a:noFill/>
                  </a:tcPr>
                </a:tc>
                <a:tc>
                  <a:txBody>
                    <a:bodyPr/>
                    <a:lstStyle/>
                    <a:p>
                      <a:pPr algn="ctr">
                        <a:defRPr sz="600">
                          <a:latin typeface="Nexa Book"/>
                        </a:defRPr>
                      </a:pPr>
                      <a:r>
                        <a:rPr sz="600">
                          <a:latin typeface="Nexa Book"/>
                        </a:rPr>
                        <a:t>13%</a:t>
                      </a:r>
                    </a:p>
                  </a:txBody>
                  <a:tcPr marL="2858" marR="2858" marT="2858" marB="0" anchor="ctr">
                    <a:noFill/>
                  </a:tcPr>
                </a:tc>
                <a:tc>
                  <a:txBody>
                    <a:bodyPr/>
                    <a:lstStyle/>
                    <a:p>
                      <a:pPr algn="ctr">
                        <a:defRPr sz="600">
                          <a:latin typeface="Nexa Book"/>
                        </a:defRPr>
                      </a:pPr>
                      <a:r>
                        <a:rPr sz="600">
                          <a:latin typeface="Nexa Book"/>
                        </a:rPr>
                        <a:t>80%</a:t>
                      </a:r>
                    </a:p>
                  </a:txBody>
                  <a:tcPr marL="2858" marR="2858" marT="2858" marB="0" anchor="ctr">
                    <a:noFill/>
                  </a:tcPr>
                </a:tc>
                <a:tc>
                  <a:txBody>
                    <a:bodyPr/>
                    <a:lstStyle/>
                    <a:p>
                      <a:pPr algn="ctr">
                        <a:defRPr sz="600">
                          <a:latin typeface="Nexa Book"/>
                        </a:defRPr>
                      </a:pPr>
                      <a:r>
                        <a:rPr sz="600">
                          <a:latin typeface="Nexa Book"/>
                        </a:rPr>
                        <a:t> 22.68</a:t>
                      </a:r>
                    </a:p>
                  </a:txBody>
                  <a:tcPr marL="2858" marR="2858" marT="2858" marB="0" anchor="ctr">
                    <a:noFill/>
                  </a:tcPr>
                </a:tc>
                <a:tc>
                  <a:txBody>
                    <a:bodyPr/>
                    <a:lstStyle/>
                    <a:p>
                      <a:pPr algn="ctr">
                        <a:defRPr sz="600">
                          <a:latin typeface="Nexa Book"/>
                        </a:defRPr>
                      </a:pPr>
                      <a:r>
                        <a:rPr sz="600">
                          <a:latin typeface="Nexa Book"/>
                        </a:rPr>
                        <a:t> 19.72</a:t>
                      </a:r>
                    </a:p>
                  </a:txBody>
                  <a:tcPr marL="2858" marR="2858" marT="2858" marB="0" anchor="ctr">
                    <a:noFill/>
                  </a:tcPr>
                </a:tc>
                <a:tc>
                  <a:txBody>
                    <a:bodyPr/>
                    <a:lstStyle/>
                    <a:p>
                      <a:pPr algn="ctr">
                        <a:defRPr sz="600">
                          <a:latin typeface="Nexa Book"/>
                        </a:defRPr>
                      </a:pPr>
                      <a:r>
                        <a:rPr sz="600">
                          <a:latin typeface="Nexa Book"/>
                        </a:rPr>
                        <a:t>560'410</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26%</a:t>
                      </a:r>
                    </a:p>
                  </a:txBody>
                  <a:tcPr marL="2858" marR="2858" marT="2858" marB="0" anchor="ctr">
                    <a:noFill/>
                  </a:tcPr>
                </a:tc>
                <a:tc>
                  <a:txBody>
                    <a:bodyPr/>
                    <a:lstStyle/>
                    <a:p>
                      <a:pPr algn="ctr">
                        <a:defRPr sz="600">
                          <a:latin typeface="Nexa Book"/>
                        </a:defRPr>
                      </a:pPr>
                      <a:r>
                        <a:rPr sz="600">
                          <a:latin typeface="Nexa Book"/>
                        </a:rPr>
                        <a:t>46156</a:t>
                      </a:r>
                    </a:p>
                  </a:txBody>
                  <a:tcPr marL="2858" marR="2858" marT="2858" marB="0" anchor="ctr">
                    <a:noFill/>
                  </a:tcPr>
                </a:tc>
                <a:tc>
                  <a:txBody>
                    <a:bodyPr/>
                    <a:lstStyle/>
                    <a:p>
                      <a:pPr algn="ctr">
                        <a:defRPr sz="600">
                          <a:latin typeface="Nexa Book"/>
                        </a:defRPr>
                      </a:pPr>
                      <a:r>
                        <a:rPr sz="600">
                          <a:latin typeface="Nexa Book"/>
                        </a:rPr>
                        <a:t>55%</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81033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3 BLADE DISPOSABLE SENSITIVE 25CT</a:t>
                      </a:r>
                    </a:p>
                  </a:txBody>
                  <a:tcPr marL="2858" marR="2858" marT="2858" marB="0" anchor="ctr">
                    <a:noFill/>
                  </a:tcPr>
                </a:tc>
                <a:tc>
                  <a:txBody>
                    <a:bodyPr/>
                    <a:lstStyle/>
                    <a:p>
                      <a:pPr algn="ctr">
                        <a:defRPr sz="600">
                          <a:latin typeface="Nexa Book"/>
                        </a:defRPr>
                      </a:pPr>
                      <a:r>
                        <a:rPr sz="600">
                          <a:latin typeface="Nexa Book"/>
                        </a:rPr>
                        <a:t>17%</a:t>
                      </a:r>
                    </a:p>
                  </a:txBody>
                  <a:tcPr marL="2858" marR="2858" marT="2858" marB="0" anchor="ctr">
                    <a:noFill/>
                  </a:tcPr>
                </a:tc>
                <a:tc>
                  <a:txBody>
                    <a:bodyPr/>
                    <a:lstStyle/>
                    <a:p>
                      <a:pPr algn="ctr">
                        <a:defRPr sz="600">
                          <a:latin typeface="Nexa Book"/>
                        </a:defRPr>
                      </a:pPr>
                      <a:r>
                        <a:rPr sz="600">
                          <a:latin typeface="Nexa Book"/>
                        </a:rPr>
                        <a:t>83%</a:t>
                      </a:r>
                    </a:p>
                  </a:txBody>
                  <a:tcPr marL="2858" marR="2858" marT="2858" marB="0" anchor="ctr">
                    <a:noFill/>
                  </a:tcPr>
                </a:tc>
                <a:tc>
                  <a:txBody>
                    <a:bodyPr/>
                    <a:lstStyle/>
                    <a:p>
                      <a:pPr algn="ctr">
                        <a:defRPr sz="600">
                          <a:latin typeface="Nexa Book"/>
                        </a:defRPr>
                      </a:pPr>
                      <a:r>
                        <a:rPr sz="600">
                          <a:latin typeface="Nexa Book"/>
                        </a:rPr>
                        <a:t> 25.24</a:t>
                      </a:r>
                    </a:p>
                  </a:txBody>
                  <a:tcPr marL="2858" marR="2858" marT="2858" marB="0" anchor="ctr">
                    <a:noFill/>
                  </a:tcPr>
                </a:tc>
                <a:tc>
                  <a:txBody>
                    <a:bodyPr/>
                    <a:lstStyle/>
                    <a:p>
                      <a:pPr algn="ctr">
                        <a:defRPr sz="600">
                          <a:latin typeface="Nexa Book"/>
                        </a:defRPr>
                      </a:pPr>
                      <a:r>
                        <a:rPr sz="600">
                          <a:latin typeface="Nexa Book"/>
                        </a:rPr>
                        <a:t> 20.91</a:t>
                      </a:r>
                    </a:p>
                  </a:txBody>
                  <a:tcPr marL="2858" marR="2858" marT="2858" marB="0" anchor="ctr">
                    <a:noFill/>
                  </a:tcPr>
                </a:tc>
                <a:tc>
                  <a:txBody>
                    <a:bodyPr/>
                    <a:lstStyle/>
                    <a:p>
                      <a:pPr algn="ctr">
                        <a:defRPr sz="600">
                          <a:latin typeface="Nexa Book"/>
                        </a:defRPr>
                      </a:pPr>
                      <a:r>
                        <a:rPr sz="600">
                          <a:latin typeface="Nexa Book"/>
                        </a:rPr>
                        <a:t>17'686</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28%</a:t>
                      </a:r>
                    </a:p>
                  </a:txBody>
                  <a:tcPr marL="2858" marR="2858" marT="2858" marB="0" anchor="ctr">
                    <a:noFill/>
                  </a:tcPr>
                </a:tc>
                <a:tc>
                  <a:txBody>
                    <a:bodyPr/>
                    <a:lstStyle/>
                    <a:p>
                      <a:pPr algn="ctr">
                        <a:defRPr sz="600">
                          <a:latin typeface="Nexa Book"/>
                        </a:defRPr>
                      </a:pPr>
                      <a:r>
                        <a:rPr sz="600">
                          <a:latin typeface="Nexa Book"/>
                        </a:rPr>
                        <a:t>1081</a:t>
                      </a:r>
                    </a:p>
                  </a:txBody>
                  <a:tcPr marL="2858" marR="2858" marT="2858" marB="0" anchor="ctr">
                    <a:noFill/>
                  </a:tcPr>
                </a:tc>
                <a:tc>
                  <a:txBody>
                    <a:bodyPr/>
                    <a:lstStyle/>
                    <a:p>
                      <a:pPr algn="ctr">
                        <a:defRPr sz="600">
                          <a:latin typeface="Nexa Book"/>
                        </a:defRPr>
                      </a:pPr>
                      <a:r>
                        <a:rPr sz="600">
                          <a:latin typeface="Nexa Book"/>
                        </a:rPr>
                        <a:t>3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810330">
                <a:tc>
                  <a:txBody>
                    <a:bodyPr/>
                    <a:lstStyle/>
                    <a:p>
                      <a:pPr algn="l">
                        <a:defRPr sz="600">
                          <a:latin typeface="Nexa Book"/>
                        </a:defRPr>
                      </a:pPr>
                      <a:r>
                        <a:rPr sz="600">
                          <a:latin typeface="Nexa Book"/>
                        </a:rPr>
                        <a:t>Cremo</a:t>
                      </a:r>
                    </a:p>
                  </a:txBody>
                  <a:tcPr marL="2858" marR="2858" marT="2858" marB="0" anchor="ctr">
                    <a:noFill/>
                  </a:tcPr>
                </a:tc>
                <a:tc>
                  <a:txBody>
                    <a:bodyPr/>
                    <a:lstStyle/>
                    <a:p>
                      <a:pPr algn="l">
                        <a:defRPr sz="600">
                          <a:latin typeface="Nexa Book"/>
                        </a:defRPr>
                      </a:pPr>
                      <a:r>
                        <a:rPr sz="600">
                          <a:latin typeface="Nexa Book"/>
                        </a:rPr>
                        <a:t>CREMO HERITAGE BLACK HOLIDAY GIFT PACK REM BLADES RAZOR 5CT</a:t>
                      </a:r>
                    </a:p>
                  </a:txBody>
                  <a:tcPr marL="2858" marR="2858" marT="2858" marB="0" anchor="ctr">
                    <a:noFill/>
                  </a:tcPr>
                </a:tc>
                <a:tc>
                  <a:txBody>
                    <a:bodyPr/>
                    <a:lstStyle/>
                    <a:p>
                      <a:pPr algn="ctr">
                        <a:defRPr sz="600">
                          <a:latin typeface="Nexa Book"/>
                        </a:defRPr>
                      </a:pPr>
                      <a:r>
                        <a:rPr sz="600">
                          <a:latin typeface="Nexa Book"/>
                        </a:rPr>
                        <a:t>38%</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4.32</a:t>
                      </a:r>
                    </a:p>
                  </a:txBody>
                  <a:tcPr marL="2858" marR="2858" marT="2858" marB="0" anchor="ctr">
                    <a:noFill/>
                  </a:tcPr>
                </a:tc>
                <a:tc>
                  <a:txBody>
                    <a:bodyPr/>
                    <a:lstStyle/>
                    <a:p>
                      <a:pPr algn="ctr">
                        <a:defRPr sz="600">
                          <a:latin typeface="Nexa Book"/>
                        </a:defRPr>
                      </a:pPr>
                      <a:r>
                        <a:rPr sz="600">
                          <a:latin typeface="Nexa Book"/>
                        </a:rPr>
                        <a:t> 8.85</a:t>
                      </a:r>
                    </a:p>
                  </a:txBody>
                  <a:tcPr marL="2858" marR="2858" marT="2858" marB="0" anchor="ctr">
                    <a:noFill/>
                  </a:tcPr>
                </a:tc>
                <a:tc>
                  <a:txBody>
                    <a:bodyPr/>
                    <a:lstStyle/>
                    <a:p>
                      <a:pPr algn="ctr">
                        <a:defRPr sz="600">
                          <a:latin typeface="Nexa Book"/>
                        </a:defRPr>
                      </a:pPr>
                      <a:r>
                        <a:rPr sz="600">
                          <a:latin typeface="Nexa Book"/>
                        </a:rPr>
                        <a:t>301</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185</a:t>
                      </a:r>
                    </a:p>
                  </a:txBody>
                  <a:tcPr marL="2858" marR="2858" marT="2858" marB="0" anchor="ctr">
                    <a:noFill/>
                  </a:tcPr>
                </a:tc>
                <a:tc>
                  <a:txBody>
                    <a:bodyPr/>
                    <a:lstStyle/>
                    <a:p>
                      <a:pPr algn="ctr">
                        <a:defRPr sz="600">
                          <a:latin typeface="Nexa Book"/>
                        </a:defRPr>
                      </a:pPr>
                      <a:r>
                        <a:rPr sz="600">
                          <a:latin typeface="Nexa Book"/>
                        </a:rPr>
                        <a:t>-99%</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28467624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8/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Walmart | Disposables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7"/>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809941">
                <a:tc>
                  <a:txBody>
                    <a:bodyPr/>
                    <a:lstStyle/>
                    <a:p>
                      <a:pPr algn="ctr">
                        <a:defRPr sz="800">
                          <a:latin typeface="Nexa Bold"/>
                        </a:defRPr>
                      </a:pPr>
                      <a:r>
                        <a:t>Schick</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38,31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809941">
                <a:tc>
                  <a:txBody>
                    <a:bodyPr/>
                    <a:lstStyle/>
                    <a:p>
                      <a:pPr algn="ctr">
                        <a:defRPr sz="800">
                          <a:latin typeface="Nexa Bold"/>
                        </a:defRPr>
                      </a:pPr>
                      <a:r>
                        <a:t>Bic</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16,10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809941">
                <a:tc>
                  <a:txBody>
                    <a:bodyPr/>
                    <a:lstStyle/>
                    <a:p>
                      <a:pPr algn="ctr">
                        <a:defRPr sz="800">
                          <a:latin typeface="Nexa Bold"/>
                        </a:defRPr>
                      </a:pPr>
                      <a:r>
                        <a:t>Equa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1,17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809941">
                <a:tc>
                  <a:txBody>
                    <a:bodyPr/>
                    <a:lstStyle/>
                    <a:p>
                      <a:pPr algn="ctr">
                        <a:defRPr sz="800">
                          <a:latin typeface="Nexa Bold"/>
                        </a:defRPr>
                      </a:pPr>
                      <a:r>
                        <a:t>Gille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5,49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29288222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8BC4F6D-5EE8-8034-53AD-0E49AE2C0CC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B8BC4F6D-5EE8-8034-53AD-0E49AE2C0CC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17D2688C-259E-4553-8974-97B95EE45DEE}" type="datetime1">
              <a:rPr lang="en-US"/>
              <a:pPr/>
              <a:t>8/18/2025</a:t>
            </a:fld>
            <a:endParaRPr lang="en-US"/>
          </a:p>
        </p:txBody>
      </p:sp>
      <p:sp>
        <p:nvSpPr>
          <p:cNvPr id="12" name="Footer Placeholder 11">
            <a:extLst>
              <a:ext uri="{FF2B5EF4-FFF2-40B4-BE49-F238E27FC236}">
                <a16:creationId xmlns:a16="http://schemas.microsoft.com/office/drawing/2014/main" id="{470AC834-4931-8E51-BADA-9AEDE6C820DB}"/>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78DAE09-5169-5767-CE1B-DB92CBC184BE}"/>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Manual Shave Men  |  Walmart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3556"/>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9DC869AC-8CCE-42D7-61B5-4DFA17C0718B}"/>
              </a:ext>
            </a:extLst>
          </p:cNvPr>
          <p:cNvGraphicFramePr>
            <a:graphicFrameLocks noGrp="1"/>
          </p:cNvGraphicFramePr>
          <p:nvPr>
            <p:extLst>
              <p:ext uri="{D42A27DB-BD31-4B8C-83A1-F6EECF244321}">
                <p14:modId xmlns:p14="http://schemas.microsoft.com/office/powerpoint/2010/main" val="3242603753"/>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a:defRPr sz="600">
                          <a:latin typeface="Nexa Book"/>
                        </a:defRPr>
                      </a:pPr>
                      <a:r>
                        <a:rPr sz="600">
                          <a:latin typeface="Nexa Book"/>
                        </a:rPr>
                        <a:t>Schick</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HYDRO 5 SENSITIVE GRAY HOLIDAY GIFT PACK 5 BLADE RAZOR SENSITIVE 3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4%</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0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0.0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8.5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356'20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8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3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39197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7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5%</a:t>
                      </a: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GREEN HOLIDAY GIFT PACK 3 BLADE DISPOSABLE SENSITIVE 8CT</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0.00</a:t>
                      </a:r>
                    </a:p>
                  </a:txBody>
                  <a:tcPr marL="2858" marR="2858" marT="2858" marB="0" anchor="ctr">
                    <a:noFill/>
                  </a:tcPr>
                </a:tc>
                <a:tc>
                  <a:txBody>
                    <a:bodyPr/>
                    <a:lstStyle/>
                    <a:p>
                      <a:pPr algn="ctr">
                        <a:defRPr sz="600">
                          <a:latin typeface="Nexa Book"/>
                        </a:defRPr>
                      </a:pPr>
                      <a:r>
                        <a:rPr sz="600">
                          <a:latin typeface="Nexa Book"/>
                        </a:rPr>
                        <a:t> 8.92</a:t>
                      </a:r>
                    </a:p>
                  </a:txBody>
                  <a:tcPr marL="2858" marR="2858" marT="2858" marB="0" anchor="ctr">
                    <a:noFill/>
                  </a:tcPr>
                </a:tc>
                <a:tc>
                  <a:txBody>
                    <a:bodyPr/>
                    <a:lstStyle/>
                    <a:p>
                      <a:pPr algn="ctr">
                        <a:defRPr sz="600">
                          <a:latin typeface="Nexa Book"/>
                        </a:defRPr>
                      </a:pPr>
                      <a:r>
                        <a:rPr sz="600">
                          <a:latin typeface="Nexa Book"/>
                        </a:rPr>
                        <a:t>1'128'687</a:t>
                      </a:r>
                    </a:p>
                  </a:txBody>
                  <a:tcPr marL="2858" marR="2858" marT="2858" marB="0" anchor="ctr">
                    <a:noFill/>
                  </a:tcPr>
                </a:tc>
                <a:tc>
                  <a:txBody>
                    <a:bodyPr/>
                    <a:lstStyle/>
                    <a:p>
                      <a:pPr algn="ctr">
                        <a:defRPr sz="600">
                          <a:latin typeface="Nexa Book"/>
                        </a:defRPr>
                      </a:pPr>
                      <a:r>
                        <a:rPr sz="600">
                          <a:latin typeface="Nexa Book"/>
                        </a:rPr>
                        <a:t>49%</a:t>
                      </a:r>
                    </a:p>
                  </a:txBody>
                  <a:tcPr marL="2858" marR="2858" marT="2858" marB="0" anchor="ctr">
                    <a:noFill/>
                  </a:tcPr>
                </a:tc>
                <a:tc>
                  <a:txBody>
                    <a:bodyPr/>
                    <a:lstStyle/>
                    <a:p>
                      <a:pPr algn="ctr">
                        <a:defRPr sz="600">
                          <a:latin typeface="Nexa Book"/>
                        </a:defRPr>
                      </a:pPr>
                      <a:r>
                        <a:rPr sz="600">
                          <a:latin typeface="Nexa Book"/>
                        </a:rPr>
                        <a:t>78%</a:t>
                      </a:r>
                    </a:p>
                  </a:txBody>
                  <a:tcPr marL="2858" marR="2858" marT="2858" marB="0" anchor="ctr">
                    <a:noFill/>
                  </a:tcPr>
                </a:tc>
                <a:tc>
                  <a:txBody>
                    <a:bodyPr/>
                    <a:lstStyle/>
                    <a:p>
                      <a:pPr algn="ctr">
                        <a:defRPr sz="600">
                          <a:latin typeface="Nexa Book"/>
                        </a:defRPr>
                      </a:pPr>
                      <a:r>
                        <a:rPr sz="600">
                          <a:latin typeface="Nexa Book"/>
                        </a:rPr>
                        <a:t>220533</a:t>
                      </a:r>
                    </a:p>
                  </a:txBody>
                  <a:tcPr marL="2858" marR="2858" marT="2858" marB="0" anchor="ctr">
                    <a:noFill/>
                  </a:tcPr>
                </a:tc>
                <a:tc>
                  <a:txBody>
                    <a:bodyPr/>
                    <a:lstStyle/>
                    <a:p>
                      <a:pPr algn="ctr">
                        <a:defRPr sz="600">
                          <a:latin typeface="Nexa Book"/>
                        </a:defRPr>
                      </a:pPr>
                      <a:r>
                        <a:rPr sz="600">
                          <a:latin typeface="Nexa Book"/>
                        </a:rPr>
                        <a:t>162%</a:t>
                      </a:r>
                    </a:p>
                  </a:txBody>
                  <a:tcPr marL="2858" marR="2858" marT="2858" marB="0" anchor="ctr">
                    <a:noFill/>
                  </a:tcPr>
                </a:tc>
                <a:tc>
                  <a:txBody>
                    <a:bodyPr/>
                    <a:lstStyle/>
                    <a:p>
                      <a:pPr algn="ctr">
                        <a:defRPr sz="600">
                          <a:latin typeface="Nexa Book"/>
                        </a:defRPr>
                      </a:pPr>
                      <a:r>
                        <a:rPr sz="600">
                          <a:latin typeface="Nexa Book"/>
                        </a:rPr>
                        <a:t>34%</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a:defRPr sz="600">
                          <a:latin typeface="Nexa Book"/>
                        </a:defRPr>
                      </a:pPr>
                      <a:r>
                        <a:rPr sz="600">
                          <a:latin typeface="Nexa Book"/>
                        </a:rPr>
                        <a:t>Equate</a:t>
                      </a:r>
                    </a:p>
                  </a:txBody>
                  <a:tcPr marL="2858" marR="2858" marT="2858" marB="0" anchor="ctr">
                    <a:noFill/>
                  </a:tcPr>
                </a:tc>
                <a:tc>
                  <a:txBody>
                    <a:bodyPr/>
                    <a:lstStyle/>
                    <a:p>
                      <a:pPr algn="l">
                        <a:defRPr sz="600">
                          <a:latin typeface="Nexa Book"/>
                        </a:defRPr>
                      </a:pPr>
                      <a:r>
                        <a:rPr sz="600">
                          <a:latin typeface="Nexa Book"/>
                        </a:rPr>
                        <a:t>EQUATE EASY FIT 5 5 BLADE REFILL NORMAL 12CT</a:t>
                      </a:r>
                    </a:p>
                  </a:txBody>
                  <a:tcPr marL="2858" marR="2858" marT="2858" marB="0" anchor="ctr">
                    <a:noFill/>
                  </a:tcPr>
                </a:tc>
                <a:tc>
                  <a:txBody>
                    <a:bodyPr/>
                    <a:lstStyle/>
                    <a:p>
                      <a:pPr algn="ctr">
                        <a:defRPr sz="600">
                          <a:latin typeface="Nexa Book"/>
                        </a:defRPr>
                      </a:pPr>
                      <a:r>
                        <a:rPr sz="600">
                          <a:latin typeface="Nexa Book"/>
                        </a:rPr>
                        <a:t>20%</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 20.00</a:t>
                      </a:r>
                    </a:p>
                  </a:txBody>
                  <a:tcPr marL="2858" marR="2858" marT="2858" marB="0" anchor="ctr">
                    <a:noFill/>
                  </a:tcPr>
                </a:tc>
                <a:tc>
                  <a:txBody>
                    <a:bodyPr/>
                    <a:lstStyle/>
                    <a:p>
                      <a:pPr algn="ctr">
                        <a:defRPr sz="600">
                          <a:latin typeface="Nexa Book"/>
                        </a:defRPr>
                      </a:pPr>
                      <a:r>
                        <a:rPr sz="600">
                          <a:latin typeface="Nexa Book"/>
                        </a:rPr>
                        <a:t> 15.99</a:t>
                      </a:r>
                    </a:p>
                  </a:txBody>
                  <a:tcPr marL="2858" marR="2858" marT="2858" marB="0" anchor="ctr">
                    <a:noFill/>
                  </a:tcPr>
                </a:tc>
                <a:tc>
                  <a:txBody>
                    <a:bodyPr/>
                    <a:lstStyle/>
                    <a:p>
                      <a:pPr algn="ctr">
                        <a:defRPr sz="600">
                          <a:latin typeface="Nexa Book"/>
                        </a:defRPr>
                      </a:pPr>
                      <a:r>
                        <a:rPr sz="600">
                          <a:latin typeface="Nexa Book"/>
                        </a:rPr>
                        <a:t>53'486</a:t>
                      </a:r>
                    </a:p>
                  </a:txBody>
                  <a:tcPr marL="2858" marR="2858" marT="2858" marB="0" anchor="ctr">
                    <a:noFill/>
                  </a:tcPr>
                </a:tc>
                <a:tc>
                  <a:txBody>
                    <a:bodyPr/>
                    <a:lstStyle/>
                    <a:p>
                      <a:pPr algn="ctr">
                        <a:defRPr sz="600">
                          <a:latin typeface="Nexa Book"/>
                        </a:defRPr>
                      </a:pPr>
                      <a:r>
                        <a:rPr sz="600">
                          <a:latin typeface="Nexa Book"/>
                        </a:rPr>
                        <a:t>16%</a:t>
                      </a:r>
                    </a:p>
                  </a:txBody>
                  <a:tcPr marL="2858" marR="2858" marT="2858" marB="0" anchor="ctr">
                    <a:noFill/>
                  </a:tcPr>
                </a:tc>
                <a:tc>
                  <a:txBody>
                    <a:bodyPr/>
                    <a:lstStyle/>
                    <a:p>
                      <a:pPr algn="ctr">
                        <a:defRPr sz="600">
                          <a:latin typeface="Nexa Book"/>
                        </a:defRPr>
                      </a:pPr>
                      <a:r>
                        <a:rPr sz="600">
                          <a:latin typeface="Nexa Book"/>
                        </a:rPr>
                        <a:t>44%</a:t>
                      </a:r>
                    </a:p>
                  </a:txBody>
                  <a:tcPr marL="2858" marR="2858" marT="2858" marB="0" anchor="ctr">
                    <a:noFill/>
                  </a:tcPr>
                </a:tc>
                <a:tc>
                  <a:txBody>
                    <a:bodyPr/>
                    <a:lstStyle/>
                    <a:p>
                      <a:pPr algn="ctr">
                        <a:defRPr sz="600">
                          <a:latin typeface="Nexa Book"/>
                        </a:defRPr>
                      </a:pPr>
                      <a:r>
                        <a:rPr sz="600">
                          <a:latin typeface="Nexa Book"/>
                        </a:rPr>
                        <a:t>6967</a:t>
                      </a:r>
                    </a:p>
                  </a:txBody>
                  <a:tcPr marL="2858" marR="2858" marT="2858" marB="0" anchor="ctr">
                    <a:noFill/>
                  </a:tcPr>
                </a:tc>
                <a:tc>
                  <a:txBody>
                    <a:bodyPr/>
                    <a:lstStyle/>
                    <a:p>
                      <a:pPr algn="ctr">
                        <a:defRPr sz="600">
                          <a:latin typeface="Nexa Book"/>
                        </a:defRPr>
                      </a:pPr>
                      <a:r>
                        <a:rPr sz="600">
                          <a:latin typeface="Nexa Book"/>
                        </a:rPr>
                        <a:t>52%</a:t>
                      </a:r>
                    </a:p>
                  </a:txBody>
                  <a:tcPr marL="2858" marR="2858" marT="2858" marB="0" anchor="ctr">
                    <a:noFill/>
                  </a:tcPr>
                </a:tc>
                <a:tc>
                  <a:txBody>
                    <a:bodyPr/>
                    <a:lstStyle/>
                    <a:p>
                      <a:pPr algn="ctr">
                        <a:defRPr sz="600">
                          <a:latin typeface="Nexa Book"/>
                        </a:defRPr>
                      </a:pPr>
                      <a:r>
                        <a:rPr sz="600">
                          <a:latin typeface="Nexa Book"/>
                        </a:rPr>
                        <a:t>68%</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5 BLADE REFILL SENSITIVE 4CT</a:t>
                      </a:r>
                    </a:p>
                  </a:txBody>
                  <a:tcPr marL="2858" marR="2858" marT="2858" marB="0" anchor="ctr">
                    <a:noFill/>
                  </a:tcPr>
                </a:tc>
                <a:tc>
                  <a:txBody>
                    <a:bodyPr/>
                    <a:lstStyle/>
                    <a:p>
                      <a:pPr algn="ctr">
                        <a:defRPr sz="600">
                          <a:latin typeface="Nexa Book"/>
                        </a:defRPr>
                      </a:pPr>
                      <a:r>
                        <a:rPr sz="600">
                          <a:latin typeface="Nexa Book"/>
                        </a:rPr>
                        <a:t>23%</a:t>
                      </a:r>
                    </a:p>
                  </a:txBody>
                  <a:tcPr marL="2858" marR="2858" marT="2858" marB="0" anchor="ctr">
                    <a:noFill/>
                  </a:tcPr>
                </a:tc>
                <a:tc>
                  <a:txBody>
                    <a:bodyPr/>
                    <a:lstStyle/>
                    <a:p>
                      <a:pPr algn="ctr">
                        <a:defRPr sz="600">
                          <a:latin typeface="Nexa Book"/>
                        </a:defRPr>
                      </a:pPr>
                      <a:r>
                        <a:rPr sz="600">
                          <a:latin typeface="Nexa Book"/>
                        </a:rPr>
                        <a:t>51%</a:t>
                      </a:r>
                    </a:p>
                  </a:txBody>
                  <a:tcPr marL="2858" marR="2858" marT="2858" marB="0" anchor="ctr">
                    <a:noFill/>
                  </a:tcPr>
                </a:tc>
                <a:tc>
                  <a:txBody>
                    <a:bodyPr/>
                    <a:lstStyle/>
                    <a:p>
                      <a:pPr algn="ctr">
                        <a:defRPr sz="600">
                          <a:latin typeface="Nexa Book"/>
                        </a:defRPr>
                      </a:pPr>
                      <a:r>
                        <a:rPr sz="600">
                          <a:latin typeface="Nexa Book"/>
                        </a:rPr>
                        <a:t> 7.72</a:t>
                      </a:r>
                    </a:p>
                  </a:txBody>
                  <a:tcPr marL="2858" marR="2858" marT="2858" marB="0" anchor="ctr">
                    <a:noFill/>
                  </a:tcPr>
                </a:tc>
                <a:tc>
                  <a:txBody>
                    <a:bodyPr/>
                    <a:lstStyle/>
                    <a:p>
                      <a:pPr algn="ctr">
                        <a:defRPr sz="600">
                          <a:latin typeface="Nexa Book"/>
                        </a:defRPr>
                      </a:pPr>
                      <a:r>
                        <a:rPr sz="600">
                          <a:latin typeface="Nexa Book"/>
                        </a:rPr>
                        <a:t> 5.60</a:t>
                      </a:r>
                    </a:p>
                  </a:txBody>
                  <a:tcPr marL="2858" marR="2858" marT="2858" marB="0" anchor="ctr">
                    <a:noFill/>
                  </a:tcPr>
                </a:tc>
                <a:tc>
                  <a:txBody>
                    <a:bodyPr/>
                    <a:lstStyle/>
                    <a:p>
                      <a:pPr algn="ctr">
                        <a:defRPr sz="600">
                          <a:latin typeface="Nexa Book"/>
                        </a:defRPr>
                      </a:pPr>
                      <a:r>
                        <a:rPr sz="600">
                          <a:latin typeface="Nexa Book"/>
                        </a:rPr>
                        <a:t>2'699</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r>
                        <a:rPr sz="600">
                          <a:latin typeface="Nexa Book"/>
                        </a:rPr>
                        <a:t>1%</a:t>
                      </a:r>
                    </a:p>
                  </a:txBody>
                  <a:tcPr marL="2858" marR="2858" marT="2858" marB="0" anchor="ctr">
                    <a:noFill/>
                  </a:tcPr>
                </a:tc>
                <a:tc>
                  <a:txBody>
                    <a:bodyPr/>
                    <a:lstStyle/>
                    <a:p>
                      <a:pPr algn="ctr">
                        <a:defRPr sz="600">
                          <a:latin typeface="Nexa Book"/>
                        </a:defRPr>
                      </a:pPr>
                      <a:r>
                        <a:rPr sz="600">
                          <a:latin typeface="Nexa Book"/>
                        </a:rPr>
                        <a:t>79%</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BLACK 3 BLADE DISPOSABLE SENSITIVE 4CT</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 6.50</a:t>
                      </a:r>
                    </a:p>
                  </a:txBody>
                  <a:tcPr marL="2858" marR="2858" marT="2858" marB="0" anchor="ctr">
                    <a:noFill/>
                  </a:tcPr>
                </a:tc>
                <a:tc>
                  <a:txBody>
                    <a:bodyPr/>
                    <a:lstStyle/>
                    <a:p>
                      <a:pPr algn="ctr">
                        <a:defRPr sz="600">
                          <a:latin typeface="Nexa Book"/>
                        </a:defRPr>
                      </a:pPr>
                      <a:r>
                        <a:rPr sz="600">
                          <a:latin typeface="Nexa Book"/>
                        </a:rPr>
                        <a:t> 6.01</a:t>
                      </a:r>
                    </a:p>
                  </a:txBody>
                  <a:tcPr marL="2858" marR="2858" marT="2858" marB="0" anchor="ctr">
                    <a:noFill/>
                  </a:tcPr>
                </a:tc>
                <a:tc>
                  <a:txBody>
                    <a:bodyPr/>
                    <a:lstStyle/>
                    <a:p>
                      <a:pPr algn="ctr">
                        <a:defRPr sz="600">
                          <a:latin typeface="Nexa Book"/>
                        </a:defRPr>
                      </a:pPr>
                      <a:r>
                        <a:rPr sz="600">
                          <a:latin typeface="Nexa Book"/>
                        </a:rPr>
                        <a:t>287'346</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62%</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2 SENSITIVE 2 BLADE DISPOSABLE NORMAL 12CT</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 6.50</a:t>
                      </a:r>
                    </a:p>
                  </a:txBody>
                  <a:tcPr marL="2858" marR="2858" marT="2858" marB="0" anchor="ctr">
                    <a:noFill/>
                  </a:tcPr>
                </a:tc>
                <a:tc>
                  <a:txBody>
                    <a:bodyPr/>
                    <a:lstStyle/>
                    <a:p>
                      <a:pPr algn="ctr">
                        <a:defRPr sz="600">
                          <a:latin typeface="Nexa Book"/>
                        </a:defRPr>
                      </a:pPr>
                      <a:r>
                        <a:rPr sz="600">
                          <a:latin typeface="Nexa Book"/>
                        </a:rPr>
                        <a:t> 6.06</a:t>
                      </a:r>
                    </a:p>
                  </a:txBody>
                  <a:tcPr marL="2858" marR="2858" marT="2858" marB="0" anchor="ctr">
                    <a:noFill/>
                  </a:tcPr>
                </a:tc>
                <a:tc>
                  <a:txBody>
                    <a:bodyPr/>
                    <a:lstStyle/>
                    <a:p>
                      <a:pPr algn="ctr">
                        <a:defRPr sz="600">
                          <a:latin typeface="Nexa Book"/>
                        </a:defRPr>
                      </a:pPr>
                      <a:r>
                        <a:rPr sz="600">
                          <a:latin typeface="Nexa Book"/>
                        </a:rPr>
                        <a:t>283'39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77%</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GREEN 3 BLADE DISPOSABLE SENSITIVE 8CT</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 11.01</a:t>
                      </a:r>
                    </a:p>
                  </a:txBody>
                  <a:tcPr marL="2858" marR="2858" marT="2858" marB="0" anchor="ctr">
                    <a:noFill/>
                  </a:tcPr>
                </a:tc>
                <a:tc>
                  <a:txBody>
                    <a:bodyPr/>
                    <a:lstStyle/>
                    <a:p>
                      <a:pPr algn="ctr">
                        <a:defRPr sz="600">
                          <a:latin typeface="Nexa Book"/>
                        </a:defRPr>
                      </a:pPr>
                      <a:r>
                        <a:rPr sz="600">
                          <a:latin typeface="Nexa Book"/>
                        </a:rPr>
                        <a:t> 9.88</a:t>
                      </a:r>
                    </a:p>
                  </a:txBody>
                  <a:tcPr marL="2858" marR="2858" marT="2858" marB="0" anchor="ctr">
                    <a:noFill/>
                  </a:tcPr>
                </a:tc>
                <a:tc>
                  <a:txBody>
                    <a:bodyPr/>
                    <a:lstStyle/>
                    <a:p>
                      <a:pPr algn="ctr">
                        <a:defRPr sz="600">
                          <a:latin typeface="Nexa Book"/>
                        </a:defRPr>
                      </a:pPr>
                      <a:r>
                        <a:rPr sz="600">
                          <a:latin typeface="Nexa Book"/>
                        </a:rPr>
                        <a:t>350'447</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65%</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5 BLADE RAZOR SENSITIVE 3CT</a:t>
                      </a:r>
                    </a:p>
                  </a:txBody>
                  <a:tcPr marL="2858" marR="2858" marT="2858" marB="0" anchor="ctr">
                    <a:noFill/>
                  </a:tcPr>
                </a:tc>
                <a:tc>
                  <a:txBody>
                    <a:bodyPr/>
                    <a:lstStyle/>
                    <a:p>
                      <a:pPr algn="ctr">
                        <a:defRPr sz="600">
                          <a:latin typeface="Nexa Book"/>
                        </a:defRPr>
                      </a:pPr>
                      <a:r>
                        <a:rPr sz="600">
                          <a:latin typeface="Nexa Book"/>
                        </a:rPr>
                        <a:t>12%</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 9.96</a:t>
                      </a:r>
                    </a:p>
                  </a:txBody>
                  <a:tcPr marL="2858" marR="2858" marT="2858" marB="0" anchor="ctr">
                    <a:noFill/>
                  </a:tcPr>
                </a:tc>
                <a:tc>
                  <a:txBody>
                    <a:bodyPr/>
                    <a:lstStyle/>
                    <a:p>
                      <a:pPr algn="ctr">
                        <a:defRPr sz="600">
                          <a:latin typeface="Nexa Book"/>
                        </a:defRPr>
                      </a:pPr>
                      <a:r>
                        <a:rPr sz="600">
                          <a:latin typeface="Nexa Book"/>
                        </a:rPr>
                        <a:t> 8.72</a:t>
                      </a:r>
                    </a:p>
                  </a:txBody>
                  <a:tcPr marL="2858" marR="2858" marT="2858" marB="0" anchor="ctr">
                    <a:noFill/>
                  </a:tcPr>
                </a:tc>
                <a:tc>
                  <a:txBody>
                    <a:bodyPr/>
                    <a:lstStyle/>
                    <a:p>
                      <a:pPr algn="ctr">
                        <a:defRPr sz="600">
                          <a:latin typeface="Nexa Book"/>
                        </a:defRPr>
                      </a:pPr>
                      <a:r>
                        <a:rPr sz="600">
                          <a:latin typeface="Nexa Book"/>
                        </a:rPr>
                        <a:t>306'489</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53%</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BLACK GREEN 3 BLADE DISPOSABLE SENSITIVE 12CT</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 15.03</a:t>
                      </a:r>
                    </a:p>
                  </a:txBody>
                  <a:tcPr marL="2858" marR="2858" marT="2858" marB="0" anchor="ctr">
                    <a:noFill/>
                  </a:tcPr>
                </a:tc>
                <a:tc>
                  <a:txBody>
                    <a:bodyPr/>
                    <a:lstStyle/>
                    <a:p>
                      <a:pPr algn="ctr">
                        <a:defRPr sz="600">
                          <a:latin typeface="Nexa Book"/>
                        </a:defRPr>
                      </a:pPr>
                      <a:r>
                        <a:rPr sz="600">
                          <a:latin typeface="Nexa Book"/>
                        </a:rPr>
                        <a:t> 12.89</a:t>
                      </a:r>
                    </a:p>
                  </a:txBody>
                  <a:tcPr marL="2858" marR="2858" marT="2858" marB="0" anchor="ctr">
                    <a:noFill/>
                  </a:tcPr>
                </a:tc>
                <a:tc>
                  <a:txBody>
                    <a:bodyPr/>
                    <a:lstStyle/>
                    <a:p>
                      <a:pPr algn="ctr">
                        <a:defRPr sz="600">
                          <a:latin typeface="Nexa Book"/>
                        </a:defRPr>
                      </a:pPr>
                      <a:r>
                        <a:rPr sz="600">
                          <a:latin typeface="Nexa Book"/>
                        </a:rPr>
                        <a:t>161'245</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52%</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ORIGINAL HOLIDAY GIFT PACK 4 BLADE DISPOSABLE 8CT</a:t>
                      </a:r>
                    </a:p>
                  </a:txBody>
                  <a:tcPr marL="2858" marR="2858" marT="2858" marB="0" anchor="ctr">
                    <a:noFill/>
                  </a:tcPr>
                </a:tc>
                <a:tc>
                  <a:txBody>
                    <a:bodyPr/>
                    <a:lstStyle/>
                    <a:p>
                      <a:pPr algn="ctr">
                        <a:defRPr sz="600">
                          <a:latin typeface="Nexa Book"/>
                        </a:defRPr>
                      </a:pPr>
                      <a:r>
                        <a:rPr sz="600">
                          <a:latin typeface="Nexa Book"/>
                        </a:rPr>
                        <a:t>1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0.00</a:t>
                      </a:r>
                    </a:p>
                  </a:txBody>
                  <a:tcPr marL="2858" marR="2858" marT="2858" marB="0" anchor="ctr">
                    <a:noFill/>
                  </a:tcPr>
                </a:tc>
                <a:tc>
                  <a:txBody>
                    <a:bodyPr/>
                    <a:lstStyle/>
                    <a:p>
                      <a:pPr algn="ctr">
                        <a:defRPr sz="600">
                          <a:latin typeface="Nexa Book"/>
                        </a:defRPr>
                      </a:pPr>
                      <a:r>
                        <a:rPr sz="600">
                          <a:latin typeface="Nexa Book"/>
                        </a:rPr>
                        <a:t> 8.50</a:t>
                      </a:r>
                    </a:p>
                  </a:txBody>
                  <a:tcPr marL="2858" marR="2858" marT="2858" marB="0" anchor="ctr">
                    <a:noFill/>
                  </a:tcPr>
                </a:tc>
                <a:tc>
                  <a:txBody>
                    <a:bodyPr/>
                    <a:lstStyle/>
                    <a:p>
                      <a:pPr algn="ctr">
                        <a:defRPr sz="600">
                          <a:latin typeface="Nexa Book"/>
                        </a:defRPr>
                      </a:pPr>
                      <a:r>
                        <a:rPr sz="600">
                          <a:latin typeface="Nexa Book"/>
                        </a:rPr>
                        <a:t>17</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HOLIDAY GIFT PACK 3 BLADE DISPOSABLE NORMAL 8CT</a:t>
                      </a:r>
                    </a:p>
                  </a:txBody>
                  <a:tcPr marL="2858" marR="2858" marT="2858" marB="0" anchor="ctr">
                    <a:noFill/>
                  </a:tcPr>
                </a:tc>
                <a:tc>
                  <a:txBody>
                    <a:bodyPr/>
                    <a:lstStyle/>
                    <a:p>
                      <a:pPr algn="ctr">
                        <a:defRPr sz="600">
                          <a:latin typeface="Nexa Book"/>
                        </a:defRPr>
                      </a:pPr>
                      <a:r>
                        <a:rPr sz="600">
                          <a:latin typeface="Nexa Book"/>
                        </a:rPr>
                        <a:t>30%</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0.00</a:t>
                      </a:r>
                    </a:p>
                  </a:txBody>
                  <a:tcPr marL="2858" marR="2858" marT="2858" marB="0" anchor="ctr">
                    <a:noFill/>
                  </a:tcPr>
                </a:tc>
                <a:tc>
                  <a:txBody>
                    <a:bodyPr/>
                    <a:lstStyle/>
                    <a:p>
                      <a:pPr algn="ctr">
                        <a:defRPr sz="600">
                          <a:latin typeface="Nexa Book"/>
                        </a:defRPr>
                      </a:pPr>
                      <a:r>
                        <a:rPr sz="600">
                          <a:latin typeface="Nexa Book"/>
                        </a:rPr>
                        <a:t> 7.00</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a:defRPr sz="600">
                          <a:latin typeface="Nexa Book"/>
                        </a:defRPr>
                      </a:pPr>
                      <a:r>
                        <a:rPr sz="600">
                          <a:latin typeface="Nexa Book"/>
                        </a:rPr>
                        <a:t>Equate</a:t>
                      </a:r>
                    </a:p>
                  </a:txBody>
                  <a:tcPr marL="2858" marR="2858" marT="2858" marB="0" anchor="ctr">
                    <a:noFill/>
                  </a:tcPr>
                </a:tc>
                <a:tc>
                  <a:txBody>
                    <a:bodyPr/>
                    <a:lstStyle/>
                    <a:p>
                      <a:pPr algn="l">
                        <a:defRPr sz="600">
                          <a:latin typeface="Nexa Book"/>
                        </a:defRPr>
                      </a:pPr>
                      <a:r>
                        <a:rPr sz="600">
                          <a:latin typeface="Nexa Book"/>
                        </a:rPr>
                        <a:t>EQUATE EASY FIT 3 3 BLADE REFILL NORMAL 5CT</a:t>
                      </a:r>
                    </a:p>
                  </a:txBody>
                  <a:tcPr marL="2858" marR="2858" marT="2858" marB="0" anchor="ctr">
                    <a:noFill/>
                  </a:tcPr>
                </a:tc>
                <a:tc>
                  <a:txBody>
                    <a:bodyPr/>
                    <a:lstStyle/>
                    <a:p>
                      <a:pPr algn="ctr">
                        <a:defRPr sz="600">
                          <a:latin typeface="Nexa Book"/>
                        </a:defRPr>
                      </a:pPr>
                      <a:r>
                        <a:rPr sz="600">
                          <a:latin typeface="Nexa Book"/>
                        </a:rPr>
                        <a:t>67%</a:t>
                      </a:r>
                    </a:p>
                  </a:txBody>
                  <a:tcPr marL="2858" marR="2858" marT="2858" marB="0" anchor="ctr">
                    <a:noFill/>
                  </a:tcPr>
                </a:tc>
                <a:tc>
                  <a:txBody>
                    <a:bodyPr/>
                    <a:lstStyle/>
                    <a:p>
                      <a:pPr algn="ctr">
                        <a:defRPr sz="600">
                          <a:latin typeface="Nexa Book"/>
                        </a:defRPr>
                      </a:pPr>
                      <a:r>
                        <a:rPr sz="600">
                          <a:latin typeface="Nexa Book"/>
                        </a:rPr>
                        <a:t>20%</a:t>
                      </a:r>
                    </a:p>
                  </a:txBody>
                  <a:tcPr marL="2858" marR="2858" marT="2858" marB="0" anchor="ctr">
                    <a:noFill/>
                  </a:tcPr>
                </a:tc>
                <a:tc>
                  <a:txBody>
                    <a:bodyPr/>
                    <a:lstStyle/>
                    <a:p>
                      <a:pPr algn="ctr">
                        <a:defRPr sz="600">
                          <a:latin typeface="Nexa Book"/>
                        </a:defRPr>
                      </a:pPr>
                      <a:r>
                        <a:rPr sz="600">
                          <a:latin typeface="Nexa Book"/>
                        </a:rPr>
                        <a:t> 6.00</a:t>
                      </a:r>
                    </a:p>
                  </a:txBody>
                  <a:tcPr marL="2858" marR="2858" marT="2858" marB="0" anchor="ctr">
                    <a:noFill/>
                  </a:tcPr>
                </a:tc>
                <a:tc>
                  <a:txBody>
                    <a:bodyPr/>
                    <a:lstStyle/>
                    <a:p>
                      <a:pPr algn="ctr">
                        <a:defRPr sz="600">
                          <a:latin typeface="Nexa Book"/>
                        </a:defRPr>
                      </a:pPr>
                      <a:r>
                        <a:rPr sz="600">
                          <a:latin typeface="Nexa Book"/>
                        </a:rPr>
                        <a:t> 2.00</a:t>
                      </a:r>
                    </a:p>
                  </a:txBody>
                  <a:tcPr marL="2858" marR="2858" marT="2858" marB="0" anchor="ctr">
                    <a:noFill/>
                  </a:tcPr>
                </a:tc>
                <a:tc>
                  <a:txBody>
                    <a:bodyPr/>
                    <a:lstStyle/>
                    <a:p>
                      <a:pPr algn="ctr">
                        <a:defRPr sz="600">
                          <a:latin typeface="Nexa Book"/>
                        </a:defRPr>
                      </a:pPr>
                      <a:r>
                        <a:rPr sz="600">
                          <a:latin typeface="Nexa Book"/>
                        </a:rPr>
                        <a:t>2</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4</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5 BLADE RAZOR SENSITIVE 3CT</a:t>
                      </a:r>
                    </a:p>
                  </a:txBody>
                  <a:tcPr marL="2858" marR="2858" marT="2858" marB="0" anchor="ctr">
                    <a:noFill/>
                  </a:tcPr>
                </a:tc>
                <a:tc>
                  <a:txBody>
                    <a:bodyPr/>
                    <a:lstStyle/>
                    <a:p>
                      <a:pPr algn="ctr">
                        <a:defRPr sz="600">
                          <a:latin typeface="Nexa Book"/>
                        </a:defRPr>
                      </a:pPr>
                      <a:r>
                        <a:rPr sz="600">
                          <a:latin typeface="Nexa Book"/>
                        </a:rPr>
                        <a:t>57%</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7.00</a:t>
                      </a:r>
                    </a:p>
                  </a:txBody>
                  <a:tcPr marL="2858" marR="2858" marT="2858" marB="0" anchor="ctr">
                    <a:noFill/>
                  </a:tcPr>
                </a:tc>
                <a:tc>
                  <a:txBody>
                    <a:bodyPr/>
                    <a:lstStyle/>
                    <a:p>
                      <a:pPr algn="ctr">
                        <a:defRPr sz="600">
                          <a:latin typeface="Nexa Book"/>
                        </a:defRPr>
                      </a:pPr>
                      <a:r>
                        <a:rPr sz="600">
                          <a:latin typeface="Nexa Book"/>
                        </a:rPr>
                        <a:t> 3.00</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4</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RELOAD 3 BLADE HYBRID NORMAL 5CT</a:t>
                      </a:r>
                    </a:p>
                  </a:txBody>
                  <a:tcPr marL="2858" marR="2858" marT="2858" marB="0" anchor="ctr">
                    <a:noFill/>
                  </a:tcPr>
                </a:tc>
                <a:tc>
                  <a:txBody>
                    <a:bodyPr/>
                    <a:lstStyle/>
                    <a:p>
                      <a:pPr algn="ctr">
                        <a:defRPr sz="600">
                          <a:latin typeface="Nexa Book"/>
                        </a:defRPr>
                      </a:pPr>
                      <a:r>
                        <a:rPr sz="600">
                          <a:latin typeface="Nexa Book"/>
                        </a:rPr>
                        <a:t>65%</a:t>
                      </a:r>
                    </a:p>
                  </a:txBody>
                  <a:tcPr marL="2858" marR="2858" marT="2858" marB="0" anchor="ctr">
                    <a:noFill/>
                  </a:tcPr>
                </a:tc>
                <a:tc>
                  <a:txBody>
                    <a:bodyPr/>
                    <a:lstStyle/>
                    <a:p>
                      <a:pPr algn="ctr">
                        <a:defRPr sz="600">
                          <a:latin typeface="Nexa Book"/>
                        </a:defRPr>
                      </a:pPr>
                      <a:r>
                        <a:rPr sz="600">
                          <a:latin typeface="Nexa Book"/>
                        </a:rPr>
                        <a:t>42%</a:t>
                      </a:r>
                    </a:p>
                  </a:txBody>
                  <a:tcPr marL="2858" marR="2858" marT="2858" marB="0" anchor="ctr">
                    <a:noFill/>
                  </a:tcPr>
                </a:tc>
                <a:tc>
                  <a:txBody>
                    <a:bodyPr/>
                    <a:lstStyle/>
                    <a:p>
                      <a:pPr algn="ctr">
                        <a:defRPr sz="600">
                          <a:latin typeface="Nexa Book"/>
                        </a:defRPr>
                      </a:pPr>
                      <a:r>
                        <a:rPr sz="600">
                          <a:latin typeface="Nexa Book"/>
                        </a:rPr>
                        <a:t> 9.94</a:t>
                      </a:r>
                    </a:p>
                  </a:txBody>
                  <a:tcPr marL="2858" marR="2858" marT="2858" marB="0" anchor="ctr">
                    <a:noFill/>
                  </a:tcPr>
                </a:tc>
                <a:tc>
                  <a:txBody>
                    <a:bodyPr/>
                    <a:lstStyle/>
                    <a:p>
                      <a:pPr algn="ctr">
                        <a:defRPr sz="600">
                          <a:latin typeface="Nexa Book"/>
                        </a:defRPr>
                      </a:pPr>
                      <a:r>
                        <a:rPr sz="600">
                          <a:latin typeface="Nexa Book"/>
                        </a:rPr>
                        <a:t> 3.40</a:t>
                      </a:r>
                    </a:p>
                  </a:txBody>
                  <a:tcPr marL="2858" marR="2858" marT="2858" marB="0" anchor="ctr">
                    <a:noFill/>
                  </a:tcPr>
                </a:tc>
                <a:tc>
                  <a:txBody>
                    <a:bodyPr/>
                    <a:lstStyle/>
                    <a:p>
                      <a:pPr algn="ctr">
                        <a:defRPr sz="600">
                          <a:latin typeface="Nexa Book"/>
                        </a:defRPr>
                      </a:pPr>
                      <a:r>
                        <a:rPr sz="600">
                          <a:latin typeface="Nexa Book"/>
                        </a:rPr>
                        <a:t>34</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HOLIDAY GIFT PACK REM BLADES RAZOR SENSITIVE 2CT</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0.00</a:t>
                      </a:r>
                    </a:p>
                  </a:txBody>
                  <a:tcPr marL="2858" marR="2858" marT="2858" marB="0" anchor="ctr">
                    <a:noFill/>
                  </a:tcPr>
                </a:tc>
                <a:tc>
                  <a:txBody>
                    <a:bodyPr/>
                    <a:lstStyle/>
                    <a:p>
                      <a:pPr algn="ctr">
                        <a:defRPr sz="600">
                          <a:latin typeface="Nexa Book"/>
                        </a:defRPr>
                      </a:pPr>
                      <a:r>
                        <a:rPr sz="600">
                          <a:latin typeface="Nexa Book"/>
                        </a:rPr>
                        <a:t> 7.50</a:t>
                      </a:r>
                    </a:p>
                  </a:txBody>
                  <a:tcPr marL="2858" marR="2858" marT="2858" marB="0" anchor="ctr">
                    <a:noFill/>
                  </a:tcPr>
                </a:tc>
                <a:tc>
                  <a:txBody>
                    <a:bodyPr/>
                    <a:lstStyle/>
                    <a:p>
                      <a:pPr algn="ctr">
                        <a:defRPr sz="600">
                          <a:latin typeface="Nexa Book"/>
                        </a:defRPr>
                      </a:pPr>
                      <a:r>
                        <a:rPr sz="600">
                          <a:latin typeface="Nexa Book"/>
                        </a:rPr>
                        <a:t>15</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4 OUTLAST 4 BLADE DISPOSABLE NORMAL 3CT</a:t>
                      </a:r>
                    </a:p>
                  </a:txBody>
                  <a:tcPr marL="2858" marR="2858" marT="2858" marB="0" anchor="ctr">
                    <a:noFill/>
                  </a:tcPr>
                </a:tc>
                <a:tc>
                  <a:txBody>
                    <a:bodyPr/>
                    <a:lstStyle/>
                    <a:p>
                      <a:pPr algn="ctr">
                        <a:defRPr sz="600">
                          <a:latin typeface="Nexa Book"/>
                        </a:defRPr>
                      </a:pPr>
                      <a:r>
                        <a:rPr sz="600">
                          <a:latin typeface="Nexa Book"/>
                        </a:rPr>
                        <a:t>86%</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 6.94</a:t>
                      </a:r>
                    </a:p>
                  </a:txBody>
                  <a:tcPr marL="2858" marR="2858" marT="2858" marB="0" anchor="ctr">
                    <a:noFill/>
                  </a:tcPr>
                </a:tc>
                <a:tc>
                  <a:txBody>
                    <a:bodyPr/>
                    <a:lstStyle/>
                    <a:p>
                      <a:pPr algn="ctr">
                        <a:defRPr sz="600">
                          <a:latin typeface="Nexa Book"/>
                        </a:defRPr>
                      </a:pPr>
                      <a:r>
                        <a:rPr sz="600">
                          <a:latin typeface="Nexa Book"/>
                        </a:rPr>
                        <a:t> 1.00</a:t>
                      </a:r>
                    </a:p>
                  </a:txBody>
                  <a:tcPr marL="2858" marR="2858" marT="2858" marB="0" anchor="ctr">
                    <a:noFill/>
                  </a:tcPr>
                </a:tc>
                <a:tc>
                  <a:txBody>
                    <a:bodyPr/>
                    <a:lstStyle/>
                    <a:p>
                      <a:pPr algn="ctr">
                        <a:defRPr sz="600">
                          <a:latin typeface="Nexa Book"/>
                        </a:defRPr>
                      </a:pPr>
                      <a:r>
                        <a:rPr sz="600">
                          <a:latin typeface="Nexa Book"/>
                        </a:rPr>
                        <a:t>1</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HOLIDAY GIFT PACK REM BLADES DISPOSABLE 8CT</a:t>
                      </a:r>
                    </a:p>
                  </a:txBody>
                  <a:tcPr marL="2858" marR="2858" marT="2858" marB="0" anchor="ctr">
                    <a:noFill/>
                  </a:tcPr>
                </a:tc>
                <a:tc>
                  <a:txBody>
                    <a:bodyPr/>
                    <a:lstStyle/>
                    <a:p>
                      <a:pPr algn="ctr">
                        <a:defRPr sz="600">
                          <a:latin typeface="Nexa Book"/>
                        </a:defRPr>
                      </a:pPr>
                      <a:r>
                        <a:rPr sz="600">
                          <a:latin typeface="Nexa Book"/>
                        </a:rPr>
                        <a:t>24%</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1.00</a:t>
                      </a:r>
                    </a:p>
                  </a:txBody>
                  <a:tcPr marL="2858" marR="2858" marT="2858" marB="0" anchor="ctr">
                    <a:noFill/>
                  </a:tcPr>
                </a:tc>
                <a:tc>
                  <a:txBody>
                    <a:bodyPr/>
                    <a:lstStyle/>
                    <a:p>
                      <a:pPr algn="ctr">
                        <a:defRPr sz="600">
                          <a:latin typeface="Nexa Book"/>
                        </a:defRPr>
                      </a:pPr>
                      <a:r>
                        <a:rPr sz="600">
                          <a:latin typeface="Nexa Book"/>
                        </a:rPr>
                        <a:t> 8.33</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a:defRPr sz="600">
                          <a:latin typeface="Nexa Book"/>
                        </a:defRPr>
                      </a:pPr>
                      <a:r>
                        <a:rPr sz="600">
                          <a:latin typeface="Nexa Book"/>
                        </a:rPr>
                        <a:t>Equate</a:t>
                      </a:r>
                    </a:p>
                  </a:txBody>
                  <a:tcPr marL="2858" marR="2858" marT="2858" marB="0" anchor="ctr">
                    <a:noFill/>
                  </a:tcPr>
                </a:tc>
                <a:tc>
                  <a:txBody>
                    <a:bodyPr/>
                    <a:lstStyle/>
                    <a:p>
                      <a:pPr algn="l">
                        <a:defRPr sz="600">
                          <a:latin typeface="Nexa Book"/>
                        </a:defRPr>
                      </a:pPr>
                      <a:r>
                        <a:rPr sz="600">
                          <a:latin typeface="Nexa Book"/>
                        </a:rPr>
                        <a:t>EQUATE CALIBER 5 BLACK 5 BLADE RAZOR NORMAL 2CT</a:t>
                      </a:r>
                    </a:p>
                  </a:txBody>
                  <a:tcPr marL="2858" marR="2858" marT="2858" marB="0" anchor="ctr">
                    <a:noFill/>
                  </a:tcPr>
                </a:tc>
                <a:tc>
                  <a:txBody>
                    <a:bodyPr/>
                    <a:lstStyle/>
                    <a:p>
                      <a:pPr algn="ctr">
                        <a:defRPr sz="600">
                          <a:latin typeface="Nexa Book"/>
                        </a:defRPr>
                      </a:pPr>
                      <a:r>
                        <a:rPr sz="600">
                          <a:latin typeface="Nexa Book"/>
                        </a:rPr>
                        <a:t>60%</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 5.15</a:t>
                      </a:r>
                    </a:p>
                  </a:txBody>
                  <a:tcPr marL="2858" marR="2858" marT="2858" marB="0" anchor="ctr">
                    <a:noFill/>
                  </a:tcPr>
                </a:tc>
                <a:tc>
                  <a:txBody>
                    <a:bodyPr/>
                    <a:lstStyle/>
                    <a:p>
                      <a:pPr algn="ctr">
                        <a:defRPr sz="600">
                          <a:latin typeface="Nexa Book"/>
                        </a:defRPr>
                      </a:pPr>
                      <a:r>
                        <a:rPr sz="600">
                          <a:latin typeface="Nexa Book"/>
                        </a:rPr>
                        <a:t> 2.00</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QUATTRO FOR MEN 4 BLADE REFILL NORMAL 4CT</a:t>
                      </a:r>
                    </a:p>
                  </a:txBody>
                  <a:tcPr marL="2858" marR="2858" marT="2858" marB="0" anchor="ctr">
                    <a:noFill/>
                  </a:tcPr>
                </a:tc>
                <a:tc>
                  <a:txBody>
                    <a:bodyPr/>
                    <a:lstStyle/>
                    <a:p>
                      <a:pPr algn="ctr">
                        <a:defRPr sz="600">
                          <a:latin typeface="Nexa Book"/>
                        </a:defRPr>
                      </a:pPr>
                      <a:r>
                        <a:rPr sz="600">
                          <a:latin typeface="Nexa Book"/>
                        </a:rPr>
                        <a:t>90%</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 10.33</a:t>
                      </a:r>
                    </a:p>
                  </a:txBody>
                  <a:tcPr marL="2858" marR="2858" marT="2858" marB="0" anchor="ctr">
                    <a:noFill/>
                  </a:tcPr>
                </a:tc>
                <a:tc>
                  <a:txBody>
                    <a:bodyPr/>
                    <a:lstStyle/>
                    <a:p>
                      <a:pPr algn="ctr">
                        <a:defRPr sz="600">
                          <a:latin typeface="Nexa Book"/>
                        </a:defRPr>
                      </a:pPr>
                      <a:r>
                        <a:rPr sz="600">
                          <a:latin typeface="Nexa Book"/>
                        </a:rPr>
                        <a:t> 1.00</a:t>
                      </a:r>
                    </a:p>
                  </a:txBody>
                  <a:tcPr marL="2858" marR="2858" marT="2858" marB="0" anchor="ctr">
                    <a:noFill/>
                  </a:tcPr>
                </a:tc>
                <a:tc>
                  <a:txBody>
                    <a:bodyPr/>
                    <a:lstStyle/>
                    <a:p>
                      <a:pPr algn="ctr">
                        <a:defRPr sz="600">
                          <a:latin typeface="Nexa Book"/>
                        </a:defRPr>
                      </a:pPr>
                      <a:r>
                        <a:rPr sz="600">
                          <a:latin typeface="Nexa Book"/>
                        </a:rPr>
                        <a:t>1</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QUATTRO FOR MEN 4 BLADE REFILL NORMAL 8CT</a:t>
                      </a:r>
                    </a:p>
                  </a:txBody>
                  <a:tcPr marL="2858" marR="2858" marT="2858" marB="0" anchor="ctr">
                    <a:noFill/>
                  </a:tcPr>
                </a:tc>
                <a:tc>
                  <a:txBody>
                    <a:bodyPr/>
                    <a:lstStyle/>
                    <a:p>
                      <a:pPr algn="ctr">
                        <a:defRPr sz="600">
                          <a:latin typeface="Nexa Book"/>
                        </a:defRPr>
                      </a:pPr>
                      <a:r>
                        <a:rPr sz="600">
                          <a:latin typeface="Nexa Book"/>
                        </a:rPr>
                        <a:t>70%</a:t>
                      </a:r>
                    </a:p>
                  </a:txBody>
                  <a:tcPr marL="2858" marR="2858" marT="2858" marB="0" anchor="ctr">
                    <a:noFill/>
                  </a:tcPr>
                </a:tc>
                <a:tc>
                  <a:txBody>
                    <a:bodyPr/>
                    <a:lstStyle/>
                    <a:p>
                      <a:pPr algn="ctr">
                        <a:defRPr sz="600">
                          <a:latin typeface="Nexa Book"/>
                        </a:defRPr>
                      </a:pPr>
                      <a:r>
                        <a:rPr sz="600">
                          <a:latin typeface="Nexa Book"/>
                        </a:rPr>
                        <a:t>13%</a:t>
                      </a:r>
                    </a:p>
                  </a:txBody>
                  <a:tcPr marL="2858" marR="2858" marT="2858" marB="0" anchor="ctr">
                    <a:noFill/>
                  </a:tcPr>
                </a:tc>
                <a:tc>
                  <a:txBody>
                    <a:bodyPr/>
                    <a:lstStyle/>
                    <a:p>
                      <a:pPr algn="ctr">
                        <a:defRPr sz="600">
                          <a:latin typeface="Nexa Book"/>
                        </a:defRPr>
                      </a:pPr>
                      <a:r>
                        <a:rPr sz="600">
                          <a:latin typeface="Nexa Book"/>
                        </a:rPr>
                        <a:t> 6.87</a:t>
                      </a:r>
                    </a:p>
                  </a:txBody>
                  <a:tcPr marL="2858" marR="2858" marT="2858" marB="0" anchor="ctr">
                    <a:noFill/>
                  </a:tcPr>
                </a:tc>
                <a:tc>
                  <a:txBody>
                    <a:bodyPr/>
                    <a:lstStyle/>
                    <a:p>
                      <a:pPr algn="ctr">
                        <a:defRPr sz="600">
                          <a:latin typeface="Nexa Book"/>
                        </a:defRPr>
                      </a:pPr>
                      <a:r>
                        <a:rPr sz="600">
                          <a:latin typeface="Nexa Book"/>
                        </a:rPr>
                        <a:t> 3.30</a:t>
                      </a:r>
                    </a:p>
                  </a:txBody>
                  <a:tcPr marL="2858" marR="2858" marT="2858" marB="0" anchor="ctr">
                    <a:noFill/>
                  </a:tcPr>
                </a:tc>
                <a:tc>
                  <a:txBody>
                    <a:bodyPr/>
                    <a:lstStyle/>
                    <a:p>
                      <a:pPr algn="ctr">
                        <a:defRPr sz="600">
                          <a:latin typeface="Nexa Book"/>
                        </a:defRPr>
                      </a:pPr>
                      <a:r>
                        <a:rPr sz="600">
                          <a:latin typeface="Nexa Book"/>
                        </a:rPr>
                        <a:t>33</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17</a:t>
                      </a:r>
                    </a:p>
                  </a:txBody>
                  <a:tcPr marL="2858" marR="2858" marT="2858" marB="0" anchor="ctr">
                    <a:noFill/>
                  </a:tcPr>
                </a:tc>
                <a:tc>
                  <a:txBody>
                    <a:bodyPr/>
                    <a:lstStyle/>
                    <a:p>
                      <a:pPr algn="ctr">
                        <a:defRPr sz="600">
                          <a:latin typeface="Nexa Book"/>
                        </a:defRPr>
                      </a:pPr>
                      <a:r>
                        <a:rPr sz="600">
                          <a:latin typeface="Nexa Book"/>
                        </a:rPr>
                        <a:t>-22%</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311657380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8BC4F6D-5EE8-8034-53AD-0E49AE2C0CC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B8BC4F6D-5EE8-8034-53AD-0E49AE2C0CC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17D2688C-259E-4553-8974-97B95EE45DEE}" type="datetime1">
              <a:rPr lang="en-US"/>
              <a:pPr/>
              <a:t>8/18/2025</a:t>
            </a:fld>
            <a:endParaRPr lang="en-US"/>
          </a:p>
        </p:txBody>
      </p:sp>
      <p:sp>
        <p:nvSpPr>
          <p:cNvPr id="12" name="Footer Placeholder 11">
            <a:extLst>
              <a:ext uri="{FF2B5EF4-FFF2-40B4-BE49-F238E27FC236}">
                <a16:creationId xmlns:a16="http://schemas.microsoft.com/office/drawing/2014/main" id="{470AC834-4931-8E51-BADA-9AEDE6C820DB}"/>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78DAE09-5169-5767-CE1B-DB92CBC184BE}"/>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Bj's And Sam's  |  System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3556"/>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9DC869AC-8CCE-42D7-61B5-4DFA17C0718B}"/>
              </a:ext>
            </a:extLst>
          </p:cNvPr>
          <p:cNvGraphicFramePr>
            <a:graphicFrameLocks noGrp="1"/>
          </p:cNvGraphicFramePr>
          <p:nvPr>
            <p:extLst>
              <p:ext uri="{D42A27DB-BD31-4B8C-83A1-F6EECF244321}">
                <p14:modId xmlns:p14="http://schemas.microsoft.com/office/powerpoint/2010/main" val="3242603753"/>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3241320">
                <a:tc>
                  <a:txBody>
                    <a:bodyPr/>
                    <a:lstStyle/>
                    <a:p>
                      <a:pPr algn="l">
                        <a:defRPr sz="600">
                          <a:latin typeface="Nexa Book"/>
                        </a:defRPr>
                      </a:pPr>
                      <a:r>
                        <a:rPr sz="600">
                          <a:latin typeface="Nexa Book"/>
                        </a:rPr>
                        <a:t>Cremo</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CREMO HERITAGE BLACK HOLIDAY GIFT PACK REM BLADES RAZOR 5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3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0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4.3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8.8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30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8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9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135401241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8BC4F6D-5EE8-8034-53AD-0E49AE2C0CC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B8BC4F6D-5EE8-8034-53AD-0E49AE2C0CC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17D2688C-259E-4553-8974-97B95EE45DEE}" type="datetime1">
              <a:rPr lang="en-US"/>
              <a:pPr/>
              <a:t>8/18/2025</a:t>
            </a:fld>
            <a:endParaRPr lang="en-US"/>
          </a:p>
        </p:txBody>
      </p:sp>
      <p:sp>
        <p:nvSpPr>
          <p:cNvPr id="12" name="Footer Placeholder 11">
            <a:extLst>
              <a:ext uri="{FF2B5EF4-FFF2-40B4-BE49-F238E27FC236}">
                <a16:creationId xmlns:a16="http://schemas.microsoft.com/office/drawing/2014/main" id="{470AC834-4931-8E51-BADA-9AEDE6C820DB}"/>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78DAE09-5169-5767-CE1B-DB92CBC184BE}"/>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Bj's And Sam's  |  Disposable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3556"/>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9DC869AC-8CCE-42D7-61B5-4DFA17C0718B}"/>
              </a:ext>
            </a:extLst>
          </p:cNvPr>
          <p:cNvGraphicFramePr>
            <a:graphicFrameLocks noGrp="1"/>
          </p:cNvGraphicFramePr>
          <p:nvPr>
            <p:extLst>
              <p:ext uri="{D42A27DB-BD31-4B8C-83A1-F6EECF244321}">
                <p14:modId xmlns:p14="http://schemas.microsoft.com/office/powerpoint/2010/main" val="3242603753"/>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080440">
                <a:tc>
                  <a:txBody>
                    <a:bodyPr/>
                    <a:lstStyle/>
                    <a:p>
                      <a:pPr algn="l">
                        <a:defRPr sz="600">
                          <a:latin typeface="Nexa Book"/>
                        </a:defRPr>
                      </a:pPr>
                      <a:r>
                        <a:rPr sz="600">
                          <a:latin typeface="Nexa Book"/>
                        </a:rPr>
                        <a:t>Schick</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SCHICK XTREME 3 SENSITIVE BLACK GREEN 3 BLADE DISPOSABLE SENSITIVE 20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20.24</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6.4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674'74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4%</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3%</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09386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8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2682436867"/>
                  </a:ext>
                </a:extLst>
              </a:tr>
              <a:tr h="108044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BLACK 3 BLADE DISPOSABLE SENSITIVE 20CT</a:t>
                      </a:r>
                    </a:p>
                  </a:txBody>
                  <a:tcPr marL="2858" marR="2858" marT="2858" marB="0" anchor="ctr">
                    <a:noFill/>
                  </a:tcPr>
                </a:tc>
                <a:tc>
                  <a:txBody>
                    <a:bodyPr/>
                    <a:lstStyle/>
                    <a:p>
                      <a:pPr algn="ctr">
                        <a:defRPr sz="600">
                          <a:latin typeface="Nexa Book"/>
                        </a:defRPr>
                      </a:pPr>
                      <a:r>
                        <a:rPr sz="600">
                          <a:latin typeface="Nexa Book"/>
                        </a:rPr>
                        <a:t>13%</a:t>
                      </a:r>
                    </a:p>
                  </a:txBody>
                  <a:tcPr marL="2858" marR="2858" marT="2858" marB="0" anchor="ctr">
                    <a:noFill/>
                  </a:tcPr>
                </a:tc>
                <a:tc>
                  <a:txBody>
                    <a:bodyPr/>
                    <a:lstStyle/>
                    <a:p>
                      <a:pPr algn="ctr">
                        <a:defRPr sz="600">
                          <a:latin typeface="Nexa Book"/>
                        </a:defRPr>
                      </a:pPr>
                      <a:r>
                        <a:rPr sz="600">
                          <a:latin typeface="Nexa Book"/>
                        </a:rPr>
                        <a:t>80%</a:t>
                      </a:r>
                    </a:p>
                  </a:txBody>
                  <a:tcPr marL="2858" marR="2858" marT="2858" marB="0" anchor="ctr">
                    <a:noFill/>
                  </a:tcPr>
                </a:tc>
                <a:tc>
                  <a:txBody>
                    <a:bodyPr/>
                    <a:lstStyle/>
                    <a:p>
                      <a:pPr algn="ctr">
                        <a:defRPr sz="600">
                          <a:latin typeface="Nexa Book"/>
                        </a:defRPr>
                      </a:pPr>
                      <a:r>
                        <a:rPr sz="600">
                          <a:latin typeface="Nexa Book"/>
                        </a:rPr>
                        <a:t> 22.68</a:t>
                      </a:r>
                    </a:p>
                  </a:txBody>
                  <a:tcPr marL="2858" marR="2858" marT="2858" marB="0" anchor="ctr">
                    <a:noFill/>
                  </a:tcPr>
                </a:tc>
                <a:tc>
                  <a:txBody>
                    <a:bodyPr/>
                    <a:lstStyle/>
                    <a:p>
                      <a:pPr algn="ctr">
                        <a:defRPr sz="600">
                          <a:latin typeface="Nexa Book"/>
                        </a:defRPr>
                      </a:pPr>
                      <a:r>
                        <a:rPr sz="600">
                          <a:latin typeface="Nexa Book"/>
                        </a:rPr>
                        <a:t> 19.72</a:t>
                      </a:r>
                    </a:p>
                  </a:txBody>
                  <a:tcPr marL="2858" marR="2858" marT="2858" marB="0" anchor="ctr">
                    <a:noFill/>
                  </a:tcPr>
                </a:tc>
                <a:tc>
                  <a:txBody>
                    <a:bodyPr/>
                    <a:lstStyle/>
                    <a:p>
                      <a:pPr algn="ctr">
                        <a:defRPr sz="600">
                          <a:latin typeface="Nexa Book"/>
                        </a:defRPr>
                      </a:pPr>
                      <a:r>
                        <a:rPr sz="600">
                          <a:latin typeface="Nexa Book"/>
                        </a:rPr>
                        <a:t>560'410</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26%</a:t>
                      </a:r>
                    </a:p>
                  </a:txBody>
                  <a:tcPr marL="2858" marR="2858" marT="2858" marB="0" anchor="ctr">
                    <a:noFill/>
                  </a:tcPr>
                </a:tc>
                <a:tc>
                  <a:txBody>
                    <a:bodyPr/>
                    <a:lstStyle/>
                    <a:p>
                      <a:pPr algn="ctr">
                        <a:defRPr sz="600">
                          <a:latin typeface="Nexa Book"/>
                        </a:defRPr>
                      </a:pPr>
                      <a:r>
                        <a:rPr sz="600">
                          <a:latin typeface="Nexa Book"/>
                        </a:rPr>
                        <a:t>46156</a:t>
                      </a:r>
                    </a:p>
                  </a:txBody>
                  <a:tcPr marL="2858" marR="2858" marT="2858" marB="0" anchor="ctr">
                    <a:noFill/>
                  </a:tcPr>
                </a:tc>
                <a:tc>
                  <a:txBody>
                    <a:bodyPr/>
                    <a:lstStyle/>
                    <a:p>
                      <a:pPr algn="ctr">
                        <a:defRPr sz="600">
                          <a:latin typeface="Nexa Book"/>
                        </a:defRPr>
                      </a:pPr>
                      <a:r>
                        <a:rPr sz="600">
                          <a:latin typeface="Nexa Book"/>
                        </a:rPr>
                        <a:t>55%</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08044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3 BLADE DISPOSABLE SENSITIVE 25CT</a:t>
                      </a:r>
                    </a:p>
                  </a:txBody>
                  <a:tcPr marL="2858" marR="2858" marT="2858" marB="0" anchor="ctr">
                    <a:noFill/>
                  </a:tcPr>
                </a:tc>
                <a:tc>
                  <a:txBody>
                    <a:bodyPr/>
                    <a:lstStyle/>
                    <a:p>
                      <a:pPr algn="ctr">
                        <a:defRPr sz="600">
                          <a:latin typeface="Nexa Book"/>
                        </a:defRPr>
                      </a:pPr>
                      <a:r>
                        <a:rPr sz="600">
                          <a:latin typeface="Nexa Book"/>
                        </a:rPr>
                        <a:t>17%</a:t>
                      </a:r>
                    </a:p>
                  </a:txBody>
                  <a:tcPr marL="2858" marR="2858" marT="2858" marB="0" anchor="ctr">
                    <a:noFill/>
                  </a:tcPr>
                </a:tc>
                <a:tc>
                  <a:txBody>
                    <a:bodyPr/>
                    <a:lstStyle/>
                    <a:p>
                      <a:pPr algn="ctr">
                        <a:defRPr sz="600">
                          <a:latin typeface="Nexa Book"/>
                        </a:defRPr>
                      </a:pPr>
                      <a:r>
                        <a:rPr sz="600">
                          <a:latin typeface="Nexa Book"/>
                        </a:rPr>
                        <a:t>83%</a:t>
                      </a:r>
                    </a:p>
                  </a:txBody>
                  <a:tcPr marL="2858" marR="2858" marT="2858" marB="0" anchor="ctr">
                    <a:noFill/>
                  </a:tcPr>
                </a:tc>
                <a:tc>
                  <a:txBody>
                    <a:bodyPr/>
                    <a:lstStyle/>
                    <a:p>
                      <a:pPr algn="ctr">
                        <a:defRPr sz="600">
                          <a:latin typeface="Nexa Book"/>
                        </a:defRPr>
                      </a:pPr>
                      <a:r>
                        <a:rPr sz="600">
                          <a:latin typeface="Nexa Book"/>
                        </a:rPr>
                        <a:t> 25.24</a:t>
                      </a:r>
                    </a:p>
                  </a:txBody>
                  <a:tcPr marL="2858" marR="2858" marT="2858" marB="0" anchor="ctr">
                    <a:noFill/>
                  </a:tcPr>
                </a:tc>
                <a:tc>
                  <a:txBody>
                    <a:bodyPr/>
                    <a:lstStyle/>
                    <a:p>
                      <a:pPr algn="ctr">
                        <a:defRPr sz="600">
                          <a:latin typeface="Nexa Book"/>
                        </a:defRPr>
                      </a:pPr>
                      <a:r>
                        <a:rPr sz="600">
                          <a:latin typeface="Nexa Book"/>
                        </a:rPr>
                        <a:t> 20.91</a:t>
                      </a:r>
                    </a:p>
                  </a:txBody>
                  <a:tcPr marL="2858" marR="2858" marT="2858" marB="0" anchor="ctr">
                    <a:noFill/>
                  </a:tcPr>
                </a:tc>
                <a:tc>
                  <a:txBody>
                    <a:bodyPr/>
                    <a:lstStyle/>
                    <a:p>
                      <a:pPr algn="ctr">
                        <a:defRPr sz="600">
                          <a:latin typeface="Nexa Book"/>
                        </a:defRPr>
                      </a:pPr>
                      <a:r>
                        <a:rPr sz="600">
                          <a:latin typeface="Nexa Book"/>
                        </a:rPr>
                        <a:t>17'686</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28%</a:t>
                      </a:r>
                    </a:p>
                  </a:txBody>
                  <a:tcPr marL="2858" marR="2858" marT="2858" marB="0" anchor="ctr">
                    <a:noFill/>
                  </a:tcPr>
                </a:tc>
                <a:tc>
                  <a:txBody>
                    <a:bodyPr/>
                    <a:lstStyle/>
                    <a:p>
                      <a:pPr algn="ctr">
                        <a:defRPr sz="600">
                          <a:latin typeface="Nexa Book"/>
                        </a:defRPr>
                      </a:pPr>
                      <a:r>
                        <a:rPr sz="600">
                          <a:latin typeface="Nexa Book"/>
                        </a:rPr>
                        <a:t>1081</a:t>
                      </a:r>
                    </a:p>
                  </a:txBody>
                  <a:tcPr marL="2858" marR="2858" marT="2858" marB="0" anchor="ctr">
                    <a:noFill/>
                  </a:tcPr>
                </a:tc>
                <a:tc>
                  <a:txBody>
                    <a:bodyPr/>
                    <a:lstStyle/>
                    <a:p>
                      <a:pPr algn="ctr">
                        <a:defRPr sz="600">
                          <a:latin typeface="Nexa Book"/>
                        </a:defRPr>
                      </a:pPr>
                      <a:r>
                        <a:rPr sz="600">
                          <a:latin typeface="Nexa Book"/>
                        </a:rPr>
                        <a:t>3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296681377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8BC4F6D-5EE8-8034-53AD-0E49AE2C0CC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B8BC4F6D-5EE8-8034-53AD-0E49AE2C0CC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17D2688C-259E-4553-8974-97B95EE45DEE}" type="datetime1">
              <a:rPr lang="en-US"/>
              <a:pPr/>
              <a:t>8/18/2025</a:t>
            </a:fld>
            <a:endParaRPr lang="en-US"/>
          </a:p>
        </p:txBody>
      </p:sp>
      <p:sp>
        <p:nvSpPr>
          <p:cNvPr id="12" name="Footer Placeholder 11">
            <a:extLst>
              <a:ext uri="{FF2B5EF4-FFF2-40B4-BE49-F238E27FC236}">
                <a16:creationId xmlns:a16="http://schemas.microsoft.com/office/drawing/2014/main" id="{470AC834-4931-8E51-BADA-9AEDE6C820DB}"/>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78DAE09-5169-5767-CE1B-DB92CBC184BE}"/>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Walmart  |  System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3556"/>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9DC869AC-8CCE-42D7-61B5-4DFA17C0718B}"/>
              </a:ext>
            </a:extLst>
          </p:cNvPr>
          <p:cNvGraphicFramePr>
            <a:graphicFrameLocks noGrp="1"/>
          </p:cNvGraphicFramePr>
          <p:nvPr>
            <p:extLst>
              <p:ext uri="{D42A27DB-BD31-4B8C-83A1-F6EECF244321}">
                <p14:modId xmlns:p14="http://schemas.microsoft.com/office/powerpoint/2010/main" val="3242603753"/>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a:defRPr sz="600">
                          <a:latin typeface="Nexa Book"/>
                        </a:defRPr>
                      </a:pPr>
                      <a:r>
                        <a:rPr sz="600">
                          <a:latin typeface="Nexa Book"/>
                        </a:rPr>
                        <a:t>Schick</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HYDRO 5 SENSITIVE GRAY HOLIDAY GIFT PACK 5 BLADE RAZOR SENSITIVE 3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4%</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0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0.0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8.5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356'20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8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3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39197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7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5%</a:t>
                      </a: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a:defRPr sz="600">
                          <a:latin typeface="Nexa Book"/>
                        </a:defRPr>
                      </a:pPr>
                      <a:r>
                        <a:rPr sz="600">
                          <a:latin typeface="Nexa Book"/>
                        </a:rPr>
                        <a:t>Equate</a:t>
                      </a:r>
                    </a:p>
                  </a:txBody>
                  <a:tcPr marL="2858" marR="2858" marT="2858" marB="0" anchor="ctr">
                    <a:noFill/>
                  </a:tcPr>
                </a:tc>
                <a:tc>
                  <a:txBody>
                    <a:bodyPr/>
                    <a:lstStyle/>
                    <a:p>
                      <a:pPr algn="l">
                        <a:defRPr sz="600">
                          <a:latin typeface="Nexa Book"/>
                        </a:defRPr>
                      </a:pPr>
                      <a:r>
                        <a:rPr sz="600">
                          <a:latin typeface="Nexa Book"/>
                        </a:rPr>
                        <a:t>EQUATE EASY FIT 5 5 BLADE REFILL NORMAL 12CT</a:t>
                      </a:r>
                    </a:p>
                  </a:txBody>
                  <a:tcPr marL="2858" marR="2858" marT="2858" marB="0" anchor="ctr">
                    <a:noFill/>
                  </a:tcPr>
                </a:tc>
                <a:tc>
                  <a:txBody>
                    <a:bodyPr/>
                    <a:lstStyle/>
                    <a:p>
                      <a:pPr algn="ctr">
                        <a:defRPr sz="600">
                          <a:latin typeface="Nexa Book"/>
                        </a:defRPr>
                      </a:pPr>
                      <a:r>
                        <a:rPr sz="600">
                          <a:latin typeface="Nexa Book"/>
                        </a:rPr>
                        <a:t>20%</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 20.00</a:t>
                      </a:r>
                    </a:p>
                  </a:txBody>
                  <a:tcPr marL="2858" marR="2858" marT="2858" marB="0" anchor="ctr">
                    <a:noFill/>
                  </a:tcPr>
                </a:tc>
                <a:tc>
                  <a:txBody>
                    <a:bodyPr/>
                    <a:lstStyle/>
                    <a:p>
                      <a:pPr algn="ctr">
                        <a:defRPr sz="600">
                          <a:latin typeface="Nexa Book"/>
                        </a:defRPr>
                      </a:pPr>
                      <a:r>
                        <a:rPr sz="600">
                          <a:latin typeface="Nexa Book"/>
                        </a:rPr>
                        <a:t> 15.99</a:t>
                      </a:r>
                    </a:p>
                  </a:txBody>
                  <a:tcPr marL="2858" marR="2858" marT="2858" marB="0" anchor="ctr">
                    <a:noFill/>
                  </a:tcPr>
                </a:tc>
                <a:tc>
                  <a:txBody>
                    <a:bodyPr/>
                    <a:lstStyle/>
                    <a:p>
                      <a:pPr algn="ctr">
                        <a:defRPr sz="600">
                          <a:latin typeface="Nexa Book"/>
                        </a:defRPr>
                      </a:pPr>
                      <a:r>
                        <a:rPr sz="600">
                          <a:latin typeface="Nexa Book"/>
                        </a:rPr>
                        <a:t>53'486</a:t>
                      </a:r>
                    </a:p>
                  </a:txBody>
                  <a:tcPr marL="2858" marR="2858" marT="2858" marB="0" anchor="ctr">
                    <a:noFill/>
                  </a:tcPr>
                </a:tc>
                <a:tc>
                  <a:txBody>
                    <a:bodyPr/>
                    <a:lstStyle/>
                    <a:p>
                      <a:pPr algn="ctr">
                        <a:defRPr sz="600">
                          <a:latin typeface="Nexa Book"/>
                        </a:defRPr>
                      </a:pPr>
                      <a:r>
                        <a:rPr sz="600">
                          <a:latin typeface="Nexa Book"/>
                        </a:rPr>
                        <a:t>16%</a:t>
                      </a:r>
                    </a:p>
                  </a:txBody>
                  <a:tcPr marL="2858" marR="2858" marT="2858" marB="0" anchor="ctr">
                    <a:noFill/>
                  </a:tcPr>
                </a:tc>
                <a:tc>
                  <a:txBody>
                    <a:bodyPr/>
                    <a:lstStyle/>
                    <a:p>
                      <a:pPr algn="ctr">
                        <a:defRPr sz="600">
                          <a:latin typeface="Nexa Book"/>
                        </a:defRPr>
                      </a:pPr>
                      <a:r>
                        <a:rPr sz="600">
                          <a:latin typeface="Nexa Book"/>
                        </a:rPr>
                        <a:t>44%</a:t>
                      </a:r>
                    </a:p>
                  </a:txBody>
                  <a:tcPr marL="2858" marR="2858" marT="2858" marB="0" anchor="ctr">
                    <a:noFill/>
                  </a:tcPr>
                </a:tc>
                <a:tc>
                  <a:txBody>
                    <a:bodyPr/>
                    <a:lstStyle/>
                    <a:p>
                      <a:pPr algn="ctr">
                        <a:defRPr sz="600">
                          <a:latin typeface="Nexa Book"/>
                        </a:defRPr>
                      </a:pPr>
                      <a:r>
                        <a:rPr sz="600">
                          <a:latin typeface="Nexa Book"/>
                        </a:rPr>
                        <a:t>6967</a:t>
                      </a:r>
                    </a:p>
                  </a:txBody>
                  <a:tcPr marL="2858" marR="2858" marT="2858" marB="0" anchor="ctr">
                    <a:noFill/>
                  </a:tcPr>
                </a:tc>
                <a:tc>
                  <a:txBody>
                    <a:bodyPr/>
                    <a:lstStyle/>
                    <a:p>
                      <a:pPr algn="ctr">
                        <a:defRPr sz="600">
                          <a:latin typeface="Nexa Book"/>
                        </a:defRPr>
                      </a:pPr>
                      <a:r>
                        <a:rPr sz="600">
                          <a:latin typeface="Nexa Book"/>
                        </a:rPr>
                        <a:t>52%</a:t>
                      </a:r>
                    </a:p>
                  </a:txBody>
                  <a:tcPr marL="2858" marR="2858" marT="2858" marB="0" anchor="ctr">
                    <a:noFill/>
                  </a:tcPr>
                </a:tc>
                <a:tc>
                  <a:txBody>
                    <a:bodyPr/>
                    <a:lstStyle/>
                    <a:p>
                      <a:pPr algn="ctr">
                        <a:defRPr sz="600">
                          <a:latin typeface="Nexa Book"/>
                        </a:defRPr>
                      </a:pPr>
                      <a:r>
                        <a:rPr sz="600">
                          <a:latin typeface="Nexa Book"/>
                        </a:rPr>
                        <a:t>68%</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5 BLADE REFILL SENSITIVE 4CT</a:t>
                      </a:r>
                    </a:p>
                  </a:txBody>
                  <a:tcPr marL="2858" marR="2858" marT="2858" marB="0" anchor="ctr">
                    <a:noFill/>
                  </a:tcPr>
                </a:tc>
                <a:tc>
                  <a:txBody>
                    <a:bodyPr/>
                    <a:lstStyle/>
                    <a:p>
                      <a:pPr algn="ctr">
                        <a:defRPr sz="600">
                          <a:latin typeface="Nexa Book"/>
                        </a:defRPr>
                      </a:pPr>
                      <a:r>
                        <a:rPr sz="600">
                          <a:latin typeface="Nexa Book"/>
                        </a:rPr>
                        <a:t>23%</a:t>
                      </a:r>
                    </a:p>
                  </a:txBody>
                  <a:tcPr marL="2858" marR="2858" marT="2858" marB="0" anchor="ctr">
                    <a:noFill/>
                  </a:tcPr>
                </a:tc>
                <a:tc>
                  <a:txBody>
                    <a:bodyPr/>
                    <a:lstStyle/>
                    <a:p>
                      <a:pPr algn="ctr">
                        <a:defRPr sz="600">
                          <a:latin typeface="Nexa Book"/>
                        </a:defRPr>
                      </a:pPr>
                      <a:r>
                        <a:rPr sz="600">
                          <a:latin typeface="Nexa Book"/>
                        </a:rPr>
                        <a:t>51%</a:t>
                      </a:r>
                    </a:p>
                  </a:txBody>
                  <a:tcPr marL="2858" marR="2858" marT="2858" marB="0" anchor="ctr">
                    <a:noFill/>
                  </a:tcPr>
                </a:tc>
                <a:tc>
                  <a:txBody>
                    <a:bodyPr/>
                    <a:lstStyle/>
                    <a:p>
                      <a:pPr algn="ctr">
                        <a:defRPr sz="600">
                          <a:latin typeface="Nexa Book"/>
                        </a:defRPr>
                      </a:pPr>
                      <a:r>
                        <a:rPr sz="600">
                          <a:latin typeface="Nexa Book"/>
                        </a:rPr>
                        <a:t> 7.72</a:t>
                      </a:r>
                    </a:p>
                  </a:txBody>
                  <a:tcPr marL="2858" marR="2858" marT="2858" marB="0" anchor="ctr">
                    <a:noFill/>
                  </a:tcPr>
                </a:tc>
                <a:tc>
                  <a:txBody>
                    <a:bodyPr/>
                    <a:lstStyle/>
                    <a:p>
                      <a:pPr algn="ctr">
                        <a:defRPr sz="600">
                          <a:latin typeface="Nexa Book"/>
                        </a:defRPr>
                      </a:pPr>
                      <a:r>
                        <a:rPr sz="600">
                          <a:latin typeface="Nexa Book"/>
                        </a:rPr>
                        <a:t> 5.60</a:t>
                      </a:r>
                    </a:p>
                  </a:txBody>
                  <a:tcPr marL="2858" marR="2858" marT="2858" marB="0" anchor="ctr">
                    <a:noFill/>
                  </a:tcPr>
                </a:tc>
                <a:tc>
                  <a:txBody>
                    <a:bodyPr/>
                    <a:lstStyle/>
                    <a:p>
                      <a:pPr algn="ctr">
                        <a:defRPr sz="600">
                          <a:latin typeface="Nexa Book"/>
                        </a:defRPr>
                      </a:pPr>
                      <a:r>
                        <a:rPr sz="600">
                          <a:latin typeface="Nexa Book"/>
                        </a:rPr>
                        <a:t>2'699</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r>
                        <a:rPr sz="600">
                          <a:latin typeface="Nexa Book"/>
                        </a:rPr>
                        <a:t>1%</a:t>
                      </a:r>
                    </a:p>
                  </a:txBody>
                  <a:tcPr marL="2858" marR="2858" marT="2858" marB="0" anchor="ctr">
                    <a:noFill/>
                  </a:tcPr>
                </a:tc>
                <a:tc>
                  <a:txBody>
                    <a:bodyPr/>
                    <a:lstStyle/>
                    <a:p>
                      <a:pPr algn="ctr">
                        <a:defRPr sz="600">
                          <a:latin typeface="Nexa Book"/>
                        </a:defRPr>
                      </a:pPr>
                      <a:r>
                        <a:rPr sz="600">
                          <a:latin typeface="Nexa Book"/>
                        </a:rPr>
                        <a:t>79%</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5 BLADE RAZOR SENSITIVE 3CT</a:t>
                      </a:r>
                    </a:p>
                  </a:txBody>
                  <a:tcPr marL="2858" marR="2858" marT="2858" marB="0" anchor="ctr">
                    <a:noFill/>
                  </a:tcPr>
                </a:tc>
                <a:tc>
                  <a:txBody>
                    <a:bodyPr/>
                    <a:lstStyle/>
                    <a:p>
                      <a:pPr algn="ctr">
                        <a:defRPr sz="600">
                          <a:latin typeface="Nexa Book"/>
                        </a:defRPr>
                      </a:pPr>
                      <a:r>
                        <a:rPr sz="600">
                          <a:latin typeface="Nexa Book"/>
                        </a:rPr>
                        <a:t>12%</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 9.96</a:t>
                      </a:r>
                    </a:p>
                  </a:txBody>
                  <a:tcPr marL="2858" marR="2858" marT="2858" marB="0" anchor="ctr">
                    <a:noFill/>
                  </a:tcPr>
                </a:tc>
                <a:tc>
                  <a:txBody>
                    <a:bodyPr/>
                    <a:lstStyle/>
                    <a:p>
                      <a:pPr algn="ctr">
                        <a:defRPr sz="600">
                          <a:latin typeface="Nexa Book"/>
                        </a:defRPr>
                      </a:pPr>
                      <a:r>
                        <a:rPr sz="600">
                          <a:latin typeface="Nexa Book"/>
                        </a:rPr>
                        <a:t> 8.72</a:t>
                      </a:r>
                    </a:p>
                  </a:txBody>
                  <a:tcPr marL="2858" marR="2858" marT="2858" marB="0" anchor="ctr">
                    <a:noFill/>
                  </a:tcPr>
                </a:tc>
                <a:tc>
                  <a:txBody>
                    <a:bodyPr/>
                    <a:lstStyle/>
                    <a:p>
                      <a:pPr algn="ctr">
                        <a:defRPr sz="600">
                          <a:latin typeface="Nexa Book"/>
                        </a:defRPr>
                      </a:pPr>
                      <a:r>
                        <a:rPr sz="600">
                          <a:latin typeface="Nexa Book"/>
                        </a:rPr>
                        <a:t>306'489</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53%</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5 BLADE RAZOR SENSITIVE 3CT</a:t>
                      </a:r>
                    </a:p>
                  </a:txBody>
                  <a:tcPr marL="2858" marR="2858" marT="2858" marB="0" anchor="ctr">
                    <a:noFill/>
                  </a:tcPr>
                </a:tc>
                <a:tc>
                  <a:txBody>
                    <a:bodyPr/>
                    <a:lstStyle/>
                    <a:p>
                      <a:pPr algn="ctr">
                        <a:defRPr sz="600">
                          <a:latin typeface="Nexa Book"/>
                        </a:defRPr>
                      </a:pPr>
                      <a:r>
                        <a:rPr sz="600">
                          <a:latin typeface="Nexa Book"/>
                        </a:rPr>
                        <a:t>57%</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7.00</a:t>
                      </a:r>
                    </a:p>
                  </a:txBody>
                  <a:tcPr marL="2858" marR="2858" marT="2858" marB="0" anchor="ctr">
                    <a:noFill/>
                  </a:tcPr>
                </a:tc>
                <a:tc>
                  <a:txBody>
                    <a:bodyPr/>
                    <a:lstStyle/>
                    <a:p>
                      <a:pPr algn="ctr">
                        <a:defRPr sz="600">
                          <a:latin typeface="Nexa Book"/>
                        </a:defRPr>
                      </a:pPr>
                      <a:r>
                        <a:rPr sz="600">
                          <a:latin typeface="Nexa Book"/>
                        </a:rPr>
                        <a:t> 3.00</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4</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a:defRPr sz="600">
                          <a:latin typeface="Nexa Book"/>
                        </a:defRPr>
                      </a:pPr>
                      <a:r>
                        <a:rPr sz="600">
                          <a:latin typeface="Nexa Book"/>
                        </a:rPr>
                        <a:t>Equate</a:t>
                      </a:r>
                    </a:p>
                  </a:txBody>
                  <a:tcPr marL="2858" marR="2858" marT="2858" marB="0" anchor="ctr">
                    <a:noFill/>
                  </a:tcPr>
                </a:tc>
                <a:tc>
                  <a:txBody>
                    <a:bodyPr/>
                    <a:lstStyle/>
                    <a:p>
                      <a:pPr algn="l">
                        <a:defRPr sz="600">
                          <a:latin typeface="Nexa Book"/>
                        </a:defRPr>
                      </a:pPr>
                      <a:r>
                        <a:rPr sz="600">
                          <a:latin typeface="Nexa Book"/>
                        </a:rPr>
                        <a:t>EQUATE EASY FIT 3 3 BLADE REFILL NORMAL 5CT</a:t>
                      </a:r>
                    </a:p>
                  </a:txBody>
                  <a:tcPr marL="2858" marR="2858" marT="2858" marB="0" anchor="ctr">
                    <a:noFill/>
                  </a:tcPr>
                </a:tc>
                <a:tc>
                  <a:txBody>
                    <a:bodyPr/>
                    <a:lstStyle/>
                    <a:p>
                      <a:pPr algn="ctr">
                        <a:defRPr sz="600">
                          <a:latin typeface="Nexa Book"/>
                        </a:defRPr>
                      </a:pPr>
                      <a:r>
                        <a:rPr sz="600">
                          <a:latin typeface="Nexa Book"/>
                        </a:rPr>
                        <a:t>67%</a:t>
                      </a:r>
                    </a:p>
                  </a:txBody>
                  <a:tcPr marL="2858" marR="2858" marT="2858" marB="0" anchor="ctr">
                    <a:noFill/>
                  </a:tcPr>
                </a:tc>
                <a:tc>
                  <a:txBody>
                    <a:bodyPr/>
                    <a:lstStyle/>
                    <a:p>
                      <a:pPr algn="ctr">
                        <a:defRPr sz="600">
                          <a:latin typeface="Nexa Book"/>
                        </a:defRPr>
                      </a:pPr>
                      <a:r>
                        <a:rPr sz="600">
                          <a:latin typeface="Nexa Book"/>
                        </a:rPr>
                        <a:t>20%</a:t>
                      </a:r>
                    </a:p>
                  </a:txBody>
                  <a:tcPr marL="2858" marR="2858" marT="2858" marB="0" anchor="ctr">
                    <a:noFill/>
                  </a:tcPr>
                </a:tc>
                <a:tc>
                  <a:txBody>
                    <a:bodyPr/>
                    <a:lstStyle/>
                    <a:p>
                      <a:pPr algn="ctr">
                        <a:defRPr sz="600">
                          <a:latin typeface="Nexa Book"/>
                        </a:defRPr>
                      </a:pPr>
                      <a:r>
                        <a:rPr sz="600">
                          <a:latin typeface="Nexa Book"/>
                        </a:rPr>
                        <a:t> 6.00</a:t>
                      </a:r>
                    </a:p>
                  </a:txBody>
                  <a:tcPr marL="2858" marR="2858" marT="2858" marB="0" anchor="ctr">
                    <a:noFill/>
                  </a:tcPr>
                </a:tc>
                <a:tc>
                  <a:txBody>
                    <a:bodyPr/>
                    <a:lstStyle/>
                    <a:p>
                      <a:pPr algn="ctr">
                        <a:defRPr sz="600">
                          <a:latin typeface="Nexa Book"/>
                        </a:defRPr>
                      </a:pPr>
                      <a:r>
                        <a:rPr sz="600">
                          <a:latin typeface="Nexa Book"/>
                        </a:rPr>
                        <a:t> 2.00</a:t>
                      </a:r>
                    </a:p>
                  </a:txBody>
                  <a:tcPr marL="2858" marR="2858" marT="2858" marB="0" anchor="ctr">
                    <a:noFill/>
                  </a:tcPr>
                </a:tc>
                <a:tc>
                  <a:txBody>
                    <a:bodyPr/>
                    <a:lstStyle/>
                    <a:p>
                      <a:pPr algn="ctr">
                        <a:defRPr sz="600">
                          <a:latin typeface="Nexa Book"/>
                        </a:defRPr>
                      </a:pPr>
                      <a:r>
                        <a:rPr sz="600">
                          <a:latin typeface="Nexa Book"/>
                        </a:rPr>
                        <a:t>2</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4</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HOLIDAY GIFT PACK REM BLADES RAZOR SENSITIVE 2CT</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0.00</a:t>
                      </a:r>
                    </a:p>
                  </a:txBody>
                  <a:tcPr marL="2858" marR="2858" marT="2858" marB="0" anchor="ctr">
                    <a:noFill/>
                  </a:tcPr>
                </a:tc>
                <a:tc>
                  <a:txBody>
                    <a:bodyPr/>
                    <a:lstStyle/>
                    <a:p>
                      <a:pPr algn="ctr">
                        <a:defRPr sz="600">
                          <a:latin typeface="Nexa Book"/>
                        </a:defRPr>
                      </a:pPr>
                      <a:r>
                        <a:rPr sz="600">
                          <a:latin typeface="Nexa Book"/>
                        </a:rPr>
                        <a:t> 7.50</a:t>
                      </a:r>
                    </a:p>
                  </a:txBody>
                  <a:tcPr marL="2858" marR="2858" marT="2858" marB="0" anchor="ctr">
                    <a:noFill/>
                  </a:tcPr>
                </a:tc>
                <a:tc>
                  <a:txBody>
                    <a:bodyPr/>
                    <a:lstStyle/>
                    <a:p>
                      <a:pPr algn="ctr">
                        <a:defRPr sz="600">
                          <a:latin typeface="Nexa Book"/>
                        </a:defRPr>
                      </a:pPr>
                      <a:r>
                        <a:rPr sz="600">
                          <a:latin typeface="Nexa Book"/>
                        </a:rPr>
                        <a:t>15</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RELOAD 3 BLADE HYBRID NORMAL 5CT</a:t>
                      </a:r>
                    </a:p>
                  </a:txBody>
                  <a:tcPr marL="2858" marR="2858" marT="2858" marB="0" anchor="ctr">
                    <a:noFill/>
                  </a:tcPr>
                </a:tc>
                <a:tc>
                  <a:txBody>
                    <a:bodyPr/>
                    <a:lstStyle/>
                    <a:p>
                      <a:pPr algn="ctr">
                        <a:defRPr sz="600">
                          <a:latin typeface="Nexa Book"/>
                        </a:defRPr>
                      </a:pPr>
                      <a:r>
                        <a:rPr sz="600">
                          <a:latin typeface="Nexa Book"/>
                        </a:rPr>
                        <a:t>65%</a:t>
                      </a:r>
                    </a:p>
                  </a:txBody>
                  <a:tcPr marL="2858" marR="2858" marT="2858" marB="0" anchor="ctr">
                    <a:noFill/>
                  </a:tcPr>
                </a:tc>
                <a:tc>
                  <a:txBody>
                    <a:bodyPr/>
                    <a:lstStyle/>
                    <a:p>
                      <a:pPr algn="ctr">
                        <a:defRPr sz="600">
                          <a:latin typeface="Nexa Book"/>
                        </a:defRPr>
                      </a:pPr>
                      <a:r>
                        <a:rPr sz="600">
                          <a:latin typeface="Nexa Book"/>
                        </a:rPr>
                        <a:t>42%</a:t>
                      </a:r>
                    </a:p>
                  </a:txBody>
                  <a:tcPr marL="2858" marR="2858" marT="2858" marB="0" anchor="ctr">
                    <a:noFill/>
                  </a:tcPr>
                </a:tc>
                <a:tc>
                  <a:txBody>
                    <a:bodyPr/>
                    <a:lstStyle/>
                    <a:p>
                      <a:pPr algn="ctr">
                        <a:defRPr sz="600">
                          <a:latin typeface="Nexa Book"/>
                        </a:defRPr>
                      </a:pPr>
                      <a:r>
                        <a:rPr sz="600">
                          <a:latin typeface="Nexa Book"/>
                        </a:rPr>
                        <a:t> 9.94</a:t>
                      </a:r>
                    </a:p>
                  </a:txBody>
                  <a:tcPr marL="2858" marR="2858" marT="2858" marB="0" anchor="ctr">
                    <a:noFill/>
                  </a:tcPr>
                </a:tc>
                <a:tc>
                  <a:txBody>
                    <a:bodyPr/>
                    <a:lstStyle/>
                    <a:p>
                      <a:pPr algn="ctr">
                        <a:defRPr sz="600">
                          <a:latin typeface="Nexa Book"/>
                        </a:defRPr>
                      </a:pPr>
                      <a:r>
                        <a:rPr sz="600">
                          <a:latin typeface="Nexa Book"/>
                        </a:rPr>
                        <a:t> 3.40</a:t>
                      </a:r>
                    </a:p>
                  </a:txBody>
                  <a:tcPr marL="2858" marR="2858" marT="2858" marB="0" anchor="ctr">
                    <a:noFill/>
                  </a:tcPr>
                </a:tc>
                <a:tc>
                  <a:txBody>
                    <a:bodyPr/>
                    <a:lstStyle/>
                    <a:p>
                      <a:pPr algn="ctr">
                        <a:defRPr sz="600">
                          <a:latin typeface="Nexa Book"/>
                        </a:defRPr>
                      </a:pPr>
                      <a:r>
                        <a:rPr sz="600">
                          <a:latin typeface="Nexa Book"/>
                        </a:rPr>
                        <a:t>34</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QUATTRO FOR MEN 4 BLADE REFILL NORMAL 4CT</a:t>
                      </a:r>
                    </a:p>
                  </a:txBody>
                  <a:tcPr marL="2858" marR="2858" marT="2858" marB="0" anchor="ctr">
                    <a:noFill/>
                  </a:tcPr>
                </a:tc>
                <a:tc>
                  <a:txBody>
                    <a:bodyPr/>
                    <a:lstStyle/>
                    <a:p>
                      <a:pPr algn="ctr">
                        <a:defRPr sz="600">
                          <a:latin typeface="Nexa Book"/>
                        </a:defRPr>
                      </a:pPr>
                      <a:r>
                        <a:rPr sz="600">
                          <a:latin typeface="Nexa Book"/>
                        </a:rPr>
                        <a:t>90%</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 10.33</a:t>
                      </a:r>
                    </a:p>
                  </a:txBody>
                  <a:tcPr marL="2858" marR="2858" marT="2858" marB="0" anchor="ctr">
                    <a:noFill/>
                  </a:tcPr>
                </a:tc>
                <a:tc>
                  <a:txBody>
                    <a:bodyPr/>
                    <a:lstStyle/>
                    <a:p>
                      <a:pPr algn="ctr">
                        <a:defRPr sz="600">
                          <a:latin typeface="Nexa Book"/>
                        </a:defRPr>
                      </a:pPr>
                      <a:r>
                        <a:rPr sz="600">
                          <a:latin typeface="Nexa Book"/>
                        </a:rPr>
                        <a:t> 1.00</a:t>
                      </a:r>
                    </a:p>
                  </a:txBody>
                  <a:tcPr marL="2858" marR="2858" marT="2858" marB="0" anchor="ctr">
                    <a:noFill/>
                  </a:tcPr>
                </a:tc>
                <a:tc>
                  <a:txBody>
                    <a:bodyPr/>
                    <a:lstStyle/>
                    <a:p>
                      <a:pPr algn="ctr">
                        <a:defRPr sz="600">
                          <a:latin typeface="Nexa Book"/>
                        </a:defRPr>
                      </a:pPr>
                      <a:r>
                        <a:rPr sz="600">
                          <a:latin typeface="Nexa Book"/>
                        </a:rPr>
                        <a:t>1</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a:defRPr sz="600">
                          <a:latin typeface="Nexa Book"/>
                        </a:defRPr>
                      </a:pPr>
                      <a:r>
                        <a:rPr sz="600">
                          <a:latin typeface="Nexa Book"/>
                        </a:rPr>
                        <a:t>Equate</a:t>
                      </a:r>
                    </a:p>
                  </a:txBody>
                  <a:tcPr marL="2858" marR="2858" marT="2858" marB="0" anchor="ctr">
                    <a:noFill/>
                  </a:tcPr>
                </a:tc>
                <a:tc>
                  <a:txBody>
                    <a:bodyPr/>
                    <a:lstStyle/>
                    <a:p>
                      <a:pPr algn="l">
                        <a:defRPr sz="600">
                          <a:latin typeface="Nexa Book"/>
                        </a:defRPr>
                      </a:pPr>
                      <a:r>
                        <a:rPr sz="600">
                          <a:latin typeface="Nexa Book"/>
                        </a:rPr>
                        <a:t>EQUATE CALIBER 5 BLACK 5 BLADE RAZOR NORMAL 2CT</a:t>
                      </a:r>
                    </a:p>
                  </a:txBody>
                  <a:tcPr marL="2858" marR="2858" marT="2858" marB="0" anchor="ctr">
                    <a:noFill/>
                  </a:tcPr>
                </a:tc>
                <a:tc>
                  <a:txBody>
                    <a:bodyPr/>
                    <a:lstStyle/>
                    <a:p>
                      <a:pPr algn="ctr">
                        <a:defRPr sz="600">
                          <a:latin typeface="Nexa Book"/>
                        </a:defRPr>
                      </a:pPr>
                      <a:r>
                        <a:rPr sz="600">
                          <a:latin typeface="Nexa Book"/>
                        </a:rPr>
                        <a:t>60%</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 5.15</a:t>
                      </a:r>
                    </a:p>
                  </a:txBody>
                  <a:tcPr marL="2858" marR="2858" marT="2858" marB="0" anchor="ctr">
                    <a:noFill/>
                  </a:tcPr>
                </a:tc>
                <a:tc>
                  <a:txBody>
                    <a:bodyPr/>
                    <a:lstStyle/>
                    <a:p>
                      <a:pPr algn="ctr">
                        <a:defRPr sz="600">
                          <a:latin typeface="Nexa Book"/>
                        </a:defRPr>
                      </a:pPr>
                      <a:r>
                        <a:rPr sz="600">
                          <a:latin typeface="Nexa Book"/>
                        </a:rPr>
                        <a:t> 2.00</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QUATTRO FOR MEN 4 BLADE REFILL NORMAL 8CT</a:t>
                      </a:r>
                    </a:p>
                  </a:txBody>
                  <a:tcPr marL="2858" marR="2858" marT="2858" marB="0" anchor="ctr">
                    <a:noFill/>
                  </a:tcPr>
                </a:tc>
                <a:tc>
                  <a:txBody>
                    <a:bodyPr/>
                    <a:lstStyle/>
                    <a:p>
                      <a:pPr algn="ctr">
                        <a:defRPr sz="600">
                          <a:latin typeface="Nexa Book"/>
                        </a:defRPr>
                      </a:pPr>
                      <a:r>
                        <a:rPr sz="600">
                          <a:latin typeface="Nexa Book"/>
                        </a:rPr>
                        <a:t>70%</a:t>
                      </a:r>
                    </a:p>
                  </a:txBody>
                  <a:tcPr marL="2858" marR="2858" marT="2858" marB="0" anchor="ctr">
                    <a:noFill/>
                  </a:tcPr>
                </a:tc>
                <a:tc>
                  <a:txBody>
                    <a:bodyPr/>
                    <a:lstStyle/>
                    <a:p>
                      <a:pPr algn="ctr">
                        <a:defRPr sz="600">
                          <a:latin typeface="Nexa Book"/>
                        </a:defRPr>
                      </a:pPr>
                      <a:r>
                        <a:rPr sz="600">
                          <a:latin typeface="Nexa Book"/>
                        </a:rPr>
                        <a:t>13%</a:t>
                      </a:r>
                    </a:p>
                  </a:txBody>
                  <a:tcPr marL="2858" marR="2858" marT="2858" marB="0" anchor="ctr">
                    <a:noFill/>
                  </a:tcPr>
                </a:tc>
                <a:tc>
                  <a:txBody>
                    <a:bodyPr/>
                    <a:lstStyle/>
                    <a:p>
                      <a:pPr algn="ctr">
                        <a:defRPr sz="600">
                          <a:latin typeface="Nexa Book"/>
                        </a:defRPr>
                      </a:pPr>
                      <a:r>
                        <a:rPr sz="600">
                          <a:latin typeface="Nexa Book"/>
                        </a:rPr>
                        <a:t> 6.87</a:t>
                      </a:r>
                    </a:p>
                  </a:txBody>
                  <a:tcPr marL="2858" marR="2858" marT="2858" marB="0" anchor="ctr">
                    <a:noFill/>
                  </a:tcPr>
                </a:tc>
                <a:tc>
                  <a:txBody>
                    <a:bodyPr/>
                    <a:lstStyle/>
                    <a:p>
                      <a:pPr algn="ctr">
                        <a:defRPr sz="600">
                          <a:latin typeface="Nexa Book"/>
                        </a:defRPr>
                      </a:pPr>
                      <a:r>
                        <a:rPr sz="600">
                          <a:latin typeface="Nexa Book"/>
                        </a:rPr>
                        <a:t> 3.30</a:t>
                      </a:r>
                    </a:p>
                  </a:txBody>
                  <a:tcPr marL="2858" marR="2858" marT="2858" marB="0" anchor="ctr">
                    <a:noFill/>
                  </a:tcPr>
                </a:tc>
                <a:tc>
                  <a:txBody>
                    <a:bodyPr/>
                    <a:lstStyle/>
                    <a:p>
                      <a:pPr algn="ctr">
                        <a:defRPr sz="600">
                          <a:latin typeface="Nexa Book"/>
                        </a:defRPr>
                      </a:pPr>
                      <a:r>
                        <a:rPr sz="600">
                          <a:latin typeface="Nexa Book"/>
                        </a:rPr>
                        <a:t>33</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17</a:t>
                      </a:r>
                    </a:p>
                  </a:txBody>
                  <a:tcPr marL="2858" marR="2858" marT="2858" marB="0" anchor="ctr">
                    <a:noFill/>
                  </a:tcPr>
                </a:tc>
                <a:tc>
                  <a:txBody>
                    <a:bodyPr/>
                    <a:lstStyle/>
                    <a:p>
                      <a:pPr algn="ctr">
                        <a:defRPr sz="600">
                          <a:latin typeface="Nexa Book"/>
                        </a:defRPr>
                      </a:pPr>
                      <a:r>
                        <a:rPr sz="600">
                          <a:latin typeface="Nexa Book"/>
                        </a:rPr>
                        <a:t>-22%</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DRY SKIN 5 BLADE REFILL DRY 8CT</a:t>
                      </a:r>
                    </a:p>
                  </a:txBody>
                  <a:tcPr marL="2858" marR="2858" marT="2858" marB="0" anchor="ctr">
                    <a:noFill/>
                  </a:tcPr>
                </a:tc>
                <a:tc>
                  <a:txBody>
                    <a:bodyPr/>
                    <a:lstStyle/>
                    <a:p>
                      <a:pPr algn="ctr">
                        <a:defRPr sz="600">
                          <a:latin typeface="Nexa Book"/>
                        </a:defRPr>
                      </a:pPr>
                      <a:r>
                        <a:rPr sz="600">
                          <a:latin typeface="Nexa Book"/>
                        </a:rPr>
                        <a:t>86%</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r>
                        <a:rPr sz="600">
                          <a:latin typeface="Nexa Book"/>
                        </a:rPr>
                        <a:t> 18.18</a:t>
                      </a:r>
                    </a:p>
                  </a:txBody>
                  <a:tcPr marL="2858" marR="2858" marT="2858" marB="0" anchor="ctr">
                    <a:noFill/>
                  </a:tcPr>
                </a:tc>
                <a:tc>
                  <a:txBody>
                    <a:bodyPr/>
                    <a:lstStyle/>
                    <a:p>
                      <a:pPr algn="ctr">
                        <a:defRPr sz="600">
                          <a:latin typeface="Nexa Book"/>
                        </a:defRPr>
                      </a:pPr>
                      <a:r>
                        <a:rPr sz="600">
                          <a:latin typeface="Nexa Book"/>
                        </a:rPr>
                        <a:t> 4.00</a:t>
                      </a:r>
                    </a:p>
                  </a:txBody>
                  <a:tcPr marL="2858" marR="2858" marT="2858" marB="0" anchor="ctr">
                    <a:noFill/>
                  </a:tcPr>
                </a:tc>
                <a:tc>
                  <a:txBody>
                    <a:bodyPr/>
                    <a:lstStyle/>
                    <a:p>
                      <a:pPr algn="ctr">
                        <a:defRPr sz="600">
                          <a:latin typeface="Nexa Book"/>
                        </a:defRPr>
                      </a:pPr>
                      <a:r>
                        <a:rPr sz="600">
                          <a:latin typeface="Nexa Book"/>
                        </a:rPr>
                        <a:t>4</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BAMBOO 3 BLADE HYBRID NORMAL 3CT</a:t>
                      </a:r>
                    </a:p>
                  </a:txBody>
                  <a:tcPr marL="2858" marR="2858" marT="2858" marB="0" anchor="ctr">
                    <a:noFill/>
                  </a:tcPr>
                </a:tc>
                <a:tc>
                  <a:txBody>
                    <a:bodyPr/>
                    <a:lstStyle/>
                    <a:p>
                      <a:pPr algn="ctr">
                        <a:defRPr sz="600">
                          <a:latin typeface="Nexa Book"/>
                        </a:defRPr>
                      </a:pPr>
                      <a:r>
                        <a:rPr sz="600">
                          <a:latin typeface="Nexa Book"/>
                        </a:rPr>
                        <a:t>58%</a:t>
                      </a:r>
                    </a:p>
                  </a:txBody>
                  <a:tcPr marL="2858" marR="2858" marT="2858" marB="0" anchor="ctr">
                    <a:noFill/>
                  </a:tcPr>
                </a:tc>
                <a:tc>
                  <a:txBody>
                    <a:bodyPr/>
                    <a:lstStyle/>
                    <a:p>
                      <a:pPr algn="ctr">
                        <a:defRPr sz="600">
                          <a:latin typeface="Nexa Book"/>
                        </a:defRPr>
                      </a:pPr>
                      <a:r>
                        <a:rPr sz="600">
                          <a:latin typeface="Nexa Book"/>
                        </a:rPr>
                        <a:t>16%</a:t>
                      </a:r>
                    </a:p>
                  </a:txBody>
                  <a:tcPr marL="2858" marR="2858" marT="2858" marB="0" anchor="ctr">
                    <a:noFill/>
                  </a:tcPr>
                </a:tc>
                <a:tc>
                  <a:txBody>
                    <a:bodyPr/>
                    <a:lstStyle/>
                    <a:p>
                      <a:pPr algn="ctr">
                        <a:defRPr sz="600">
                          <a:latin typeface="Nexa Book"/>
                        </a:defRPr>
                      </a:pPr>
                      <a:r>
                        <a:rPr sz="600">
                          <a:latin typeface="Nexa Book"/>
                        </a:rPr>
                        <a:t> 5.35</a:t>
                      </a:r>
                    </a:p>
                  </a:txBody>
                  <a:tcPr marL="2858" marR="2858" marT="2858" marB="0" anchor="ctr">
                    <a:noFill/>
                  </a:tcPr>
                </a:tc>
                <a:tc>
                  <a:txBody>
                    <a:bodyPr/>
                    <a:lstStyle/>
                    <a:p>
                      <a:pPr algn="ctr">
                        <a:defRPr sz="600">
                          <a:latin typeface="Nexa Book"/>
                        </a:defRPr>
                      </a:pPr>
                      <a:r>
                        <a:rPr sz="600">
                          <a:latin typeface="Nexa Book"/>
                        </a:rPr>
                        <a:t> 2.50</a:t>
                      </a:r>
                    </a:p>
                  </a:txBody>
                  <a:tcPr marL="2858" marR="2858" marT="2858" marB="0" anchor="ctr">
                    <a:noFill/>
                  </a:tcPr>
                </a:tc>
                <a:tc>
                  <a:txBody>
                    <a:bodyPr/>
                    <a:lstStyle/>
                    <a:p>
                      <a:pPr algn="ctr">
                        <a:defRPr sz="600">
                          <a:latin typeface="Nexa Book"/>
                        </a:defRPr>
                      </a:pPr>
                      <a:r>
                        <a:rPr sz="600">
                          <a:latin typeface="Nexa Book"/>
                        </a:rPr>
                        <a:t>65</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8</a:t>
                      </a:r>
                    </a:p>
                  </a:txBody>
                  <a:tcPr marL="2858" marR="2858" marT="2858" marB="0" anchor="ctr">
                    <a:noFill/>
                  </a:tcPr>
                </a:tc>
                <a:tc>
                  <a:txBody>
                    <a:bodyPr/>
                    <a:lstStyle/>
                    <a:p>
                      <a:pPr algn="ctr">
                        <a:defRPr sz="600">
                          <a:latin typeface="Nexa Book"/>
                        </a:defRPr>
                      </a:pPr>
                      <a:r>
                        <a:rPr sz="600">
                          <a:latin typeface="Nexa Book"/>
                        </a:rPr>
                        <a:t>-43%</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a:defRPr sz="600">
                          <a:latin typeface="Nexa Book"/>
                        </a:defRPr>
                      </a:pPr>
                      <a:r>
                        <a:rPr sz="600">
                          <a:latin typeface="Nexa Book"/>
                        </a:rPr>
                        <a:t>Cremo</a:t>
                      </a:r>
                    </a:p>
                  </a:txBody>
                  <a:tcPr marL="2858" marR="2858" marT="2858" marB="0" anchor="ctr">
                    <a:noFill/>
                  </a:tcPr>
                </a:tc>
                <a:tc>
                  <a:txBody>
                    <a:bodyPr/>
                    <a:lstStyle/>
                    <a:p>
                      <a:pPr algn="l">
                        <a:defRPr sz="600">
                          <a:latin typeface="Nexa Book"/>
                        </a:defRPr>
                      </a:pPr>
                      <a:r>
                        <a:rPr sz="600">
                          <a:latin typeface="Nexa Book"/>
                        </a:rPr>
                        <a:t>CREMO 5 BLADE REFILL NORMAL 4CT</a:t>
                      </a:r>
                    </a:p>
                  </a:txBody>
                  <a:tcPr marL="2858" marR="2858" marT="2858" marB="0" anchor="ctr">
                    <a:noFill/>
                  </a:tcPr>
                </a:tc>
                <a:tc>
                  <a:txBody>
                    <a:bodyPr/>
                    <a:lstStyle/>
                    <a:p>
                      <a:pPr algn="ctr">
                        <a:defRPr sz="600">
                          <a:latin typeface="Nexa Book"/>
                        </a:defRPr>
                      </a:pPr>
                      <a:r>
                        <a:rPr sz="600">
                          <a:latin typeface="Nexa Book"/>
                        </a:rPr>
                        <a:t>63%</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 13.86</a:t>
                      </a:r>
                    </a:p>
                  </a:txBody>
                  <a:tcPr marL="2858" marR="2858" marT="2858" marB="0" anchor="ctr">
                    <a:noFill/>
                  </a:tcPr>
                </a:tc>
                <a:tc>
                  <a:txBody>
                    <a:bodyPr/>
                    <a:lstStyle/>
                    <a:p>
                      <a:pPr algn="ctr">
                        <a:defRPr sz="600">
                          <a:latin typeface="Nexa Book"/>
                        </a:defRPr>
                      </a:pPr>
                      <a:r>
                        <a:rPr sz="600">
                          <a:latin typeface="Nexa Book"/>
                        </a:rPr>
                        <a:t> 5.08</a:t>
                      </a:r>
                    </a:p>
                  </a:txBody>
                  <a:tcPr marL="2858" marR="2858" marT="2858" marB="0" anchor="ctr">
                    <a:noFill/>
                  </a:tcPr>
                </a:tc>
                <a:tc>
                  <a:txBody>
                    <a:bodyPr/>
                    <a:lstStyle/>
                    <a:p>
                      <a:pPr algn="ctr">
                        <a:defRPr sz="600">
                          <a:latin typeface="Nexa Book"/>
                        </a:defRPr>
                      </a:pPr>
                      <a:r>
                        <a:rPr sz="600">
                          <a:latin typeface="Nexa Book"/>
                        </a:rPr>
                        <a:t>889</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9</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r>
                        <a:rPr sz="600">
                          <a:latin typeface="Nexa Book"/>
                        </a:rPr>
                        <a:t>71%</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a:defRPr sz="600">
                          <a:latin typeface="Nexa Book"/>
                        </a:defRPr>
                      </a:pPr>
                      <a:r>
                        <a:rPr sz="600">
                          <a:latin typeface="Nexa Book"/>
                        </a:rPr>
                        <a:t>Equate</a:t>
                      </a:r>
                    </a:p>
                  </a:txBody>
                  <a:tcPr marL="2858" marR="2858" marT="2858" marB="0" anchor="ctr">
                    <a:noFill/>
                  </a:tcPr>
                </a:tc>
                <a:tc>
                  <a:txBody>
                    <a:bodyPr/>
                    <a:lstStyle/>
                    <a:p>
                      <a:pPr algn="l">
                        <a:defRPr sz="600">
                          <a:latin typeface="Nexa Book"/>
                        </a:defRPr>
                      </a:pPr>
                      <a:r>
                        <a:rPr sz="600">
                          <a:latin typeface="Nexa Book"/>
                        </a:rPr>
                        <a:t>EQUATE CALIBER 5 5 BLADE REFILL NORMAL 8CT</a:t>
                      </a:r>
                    </a:p>
                  </a:txBody>
                  <a:tcPr marL="2858" marR="2858" marT="2858" marB="0" anchor="ctr">
                    <a:noFill/>
                  </a:tcPr>
                </a:tc>
                <a:tc>
                  <a:txBody>
                    <a:bodyPr/>
                    <a:lstStyle/>
                    <a:p>
                      <a:pPr algn="ctr">
                        <a:defRPr sz="600">
                          <a:latin typeface="Nexa Book"/>
                        </a:defRPr>
                      </a:pPr>
                      <a:r>
                        <a:rPr sz="600">
                          <a:latin typeface="Nexa Book"/>
                        </a:rPr>
                        <a:t>72%</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 9.86</a:t>
                      </a:r>
                    </a:p>
                  </a:txBody>
                  <a:tcPr marL="2858" marR="2858" marT="2858" marB="0" anchor="ctr">
                    <a:noFill/>
                  </a:tcPr>
                </a:tc>
                <a:tc>
                  <a:txBody>
                    <a:bodyPr/>
                    <a:lstStyle/>
                    <a:p>
                      <a:pPr algn="ctr">
                        <a:defRPr sz="600">
                          <a:latin typeface="Nexa Book"/>
                        </a:defRPr>
                      </a:pPr>
                      <a:r>
                        <a:rPr sz="600">
                          <a:latin typeface="Nexa Book"/>
                        </a:rPr>
                        <a:t> 3.60</a:t>
                      </a:r>
                    </a:p>
                  </a:txBody>
                  <a:tcPr marL="2858" marR="2858" marT="2858" marB="0" anchor="ctr">
                    <a:noFill/>
                  </a:tcPr>
                </a:tc>
                <a:tc>
                  <a:txBody>
                    <a:bodyPr/>
                    <a:lstStyle/>
                    <a:p>
                      <a:pPr algn="ctr">
                        <a:defRPr sz="600">
                          <a:latin typeface="Nexa Book"/>
                        </a:defRPr>
                      </a:pPr>
                      <a:r>
                        <a:rPr sz="600">
                          <a:latin typeface="Nexa Book"/>
                        </a:rPr>
                        <a:t>18</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42</a:t>
                      </a:r>
                    </a:p>
                  </a:txBody>
                  <a:tcPr marL="2858" marR="2858" marT="2858" marB="0" anchor="ctr">
                    <a:noFill/>
                  </a:tcPr>
                </a:tc>
                <a:tc>
                  <a:txBody>
                    <a:bodyPr/>
                    <a:lstStyle/>
                    <a:p>
                      <a:pPr algn="ctr">
                        <a:defRPr sz="600">
                          <a:latin typeface="Nexa Book"/>
                        </a:defRPr>
                      </a:pPr>
                      <a:r>
                        <a:rPr sz="600">
                          <a:latin typeface="Nexa Book"/>
                        </a:rPr>
                        <a:t>-89%</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HOLIDAY GIFT PACK REM BLADES RAZOR SENSITIVE 3CT</a:t>
                      </a:r>
                    </a:p>
                  </a:txBody>
                  <a:tcPr marL="2858" marR="2858" marT="2858" marB="0" anchor="ctr">
                    <a:noFill/>
                  </a:tcPr>
                </a:tc>
                <a:tc>
                  <a:txBody>
                    <a:bodyPr/>
                    <a:lstStyle/>
                    <a:p>
                      <a:pPr algn="ctr">
                        <a:defRPr sz="600">
                          <a:latin typeface="Nexa Book"/>
                        </a:defRPr>
                      </a:pPr>
                      <a:r>
                        <a:rPr sz="600">
                          <a:latin typeface="Nexa Book"/>
                        </a:rPr>
                        <a:t>29%</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7.64</a:t>
                      </a:r>
                    </a:p>
                  </a:txBody>
                  <a:tcPr marL="2858" marR="2858" marT="2858" marB="0" anchor="ctr">
                    <a:noFill/>
                  </a:tcPr>
                </a:tc>
                <a:tc>
                  <a:txBody>
                    <a:bodyPr/>
                    <a:lstStyle/>
                    <a:p>
                      <a:pPr algn="ctr">
                        <a:defRPr sz="600">
                          <a:latin typeface="Nexa Book"/>
                        </a:defRPr>
                      </a:pPr>
                      <a:r>
                        <a:rPr sz="600">
                          <a:latin typeface="Nexa Book"/>
                        </a:rPr>
                        <a:t> 5.45</a:t>
                      </a:r>
                    </a:p>
                  </a:txBody>
                  <a:tcPr marL="2858" marR="2858" marT="2858" marB="0" anchor="ctr">
                    <a:noFill/>
                  </a:tcPr>
                </a:tc>
                <a:tc>
                  <a:txBody>
                    <a:bodyPr/>
                    <a:lstStyle/>
                    <a:p>
                      <a:pPr algn="ctr">
                        <a:defRPr sz="600">
                          <a:latin typeface="Nexa Book"/>
                        </a:defRPr>
                      </a:pPr>
                      <a:r>
                        <a:rPr sz="600">
                          <a:latin typeface="Nexa Book"/>
                        </a:rPr>
                        <a:t>12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48</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19%</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QUATTRO FOR MEN 4 BLADE REFILL NORMAL 6CT</a:t>
                      </a:r>
                    </a:p>
                  </a:txBody>
                  <a:tcPr marL="2858" marR="2858" marT="2858" marB="0" anchor="ctr">
                    <a:noFill/>
                  </a:tcPr>
                </a:tc>
                <a:tc>
                  <a:txBody>
                    <a:bodyPr/>
                    <a:lstStyle/>
                    <a:p>
                      <a:pPr algn="ctr">
                        <a:defRPr sz="600">
                          <a:latin typeface="Nexa Book"/>
                        </a:defRPr>
                      </a:pPr>
                      <a:r>
                        <a:rPr sz="600">
                          <a:latin typeface="Nexa Book"/>
                        </a:rPr>
                        <a:t>56%</a:t>
                      </a:r>
                    </a:p>
                  </a:txBody>
                  <a:tcPr marL="2858" marR="2858" marT="2858" marB="0" anchor="ctr">
                    <a:noFill/>
                  </a:tcPr>
                </a:tc>
                <a:tc>
                  <a:txBody>
                    <a:bodyPr/>
                    <a:lstStyle/>
                    <a:p>
                      <a:pPr algn="ctr">
                        <a:defRPr sz="600">
                          <a:latin typeface="Nexa Book"/>
                        </a:defRPr>
                      </a:pPr>
                      <a:r>
                        <a:rPr sz="600">
                          <a:latin typeface="Nexa Book"/>
                        </a:rPr>
                        <a:t>72%</a:t>
                      </a:r>
                    </a:p>
                  </a:txBody>
                  <a:tcPr marL="2858" marR="2858" marT="2858" marB="0" anchor="ctr">
                    <a:noFill/>
                  </a:tcPr>
                </a:tc>
                <a:tc>
                  <a:txBody>
                    <a:bodyPr/>
                    <a:lstStyle/>
                    <a:p>
                      <a:pPr algn="ctr">
                        <a:defRPr sz="600">
                          <a:latin typeface="Nexa Book"/>
                        </a:defRPr>
                      </a:pPr>
                      <a:r>
                        <a:rPr sz="600">
                          <a:latin typeface="Nexa Book"/>
                        </a:rPr>
                        <a:t> 8.00</a:t>
                      </a:r>
                    </a:p>
                  </a:txBody>
                  <a:tcPr marL="2858" marR="2858" marT="2858" marB="0" anchor="ctr">
                    <a:noFill/>
                  </a:tcPr>
                </a:tc>
                <a:tc>
                  <a:txBody>
                    <a:bodyPr/>
                    <a:lstStyle/>
                    <a:p>
                      <a:pPr algn="ctr">
                        <a:defRPr sz="600">
                          <a:latin typeface="Nexa Book"/>
                        </a:defRPr>
                      </a:pPr>
                      <a:r>
                        <a:rPr sz="600">
                          <a:latin typeface="Nexa Book"/>
                        </a:rPr>
                        <a:t> 3.36</a:t>
                      </a:r>
                    </a:p>
                  </a:txBody>
                  <a:tcPr marL="2858" marR="2858" marT="2858" marB="0" anchor="ctr">
                    <a:noFill/>
                  </a:tcPr>
                </a:tc>
                <a:tc>
                  <a:txBody>
                    <a:bodyPr/>
                    <a:lstStyle/>
                    <a:p>
                      <a:pPr algn="ctr">
                        <a:defRPr sz="600">
                          <a:latin typeface="Nexa Book"/>
                        </a:defRPr>
                      </a:pPr>
                      <a:r>
                        <a:rPr sz="600">
                          <a:latin typeface="Nexa Book"/>
                        </a:rPr>
                        <a:t>111</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50</a:t>
                      </a:r>
                    </a:p>
                  </a:txBody>
                  <a:tcPr marL="2858" marR="2858" marT="2858" marB="0" anchor="ctr">
                    <a:noFill/>
                  </a:tcPr>
                </a:tc>
                <a:tc>
                  <a:txBody>
                    <a:bodyPr/>
                    <a:lstStyle/>
                    <a:p>
                      <a:pPr algn="ctr">
                        <a:defRPr sz="600">
                          <a:latin typeface="Nexa Book"/>
                        </a:defRPr>
                      </a:pPr>
                      <a:r>
                        <a:rPr sz="600">
                          <a:latin typeface="Nexa Book"/>
                        </a:rPr>
                        <a:t>-35%</a:t>
                      </a:r>
                    </a:p>
                  </a:txBody>
                  <a:tcPr marL="2858" marR="2858" marT="2858" marB="0" anchor="ctr">
                    <a:noFill/>
                  </a:tcPr>
                </a:tc>
                <a:tc>
                  <a:txBody>
                    <a:bodyPr/>
                    <a:lstStyle/>
                    <a:p>
                      <a:pPr algn="ctr">
                        <a:defRPr sz="600">
                          <a:latin typeface="Nexa Book"/>
                        </a:defRPr>
                      </a:pPr>
                      <a:r>
                        <a:rPr sz="600">
                          <a:latin typeface="Nexa Book"/>
                        </a:rPr>
                        <a:t>71%</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a:defRPr sz="600">
                          <a:latin typeface="Nexa Book"/>
                        </a:defRPr>
                      </a:pPr>
                      <a:r>
                        <a:rPr sz="600">
                          <a:latin typeface="Nexa Book"/>
                        </a:rPr>
                        <a:t>Cremo</a:t>
                      </a:r>
                    </a:p>
                  </a:txBody>
                  <a:tcPr marL="2858" marR="2858" marT="2858" marB="0" anchor="ctr">
                    <a:noFill/>
                  </a:tcPr>
                </a:tc>
                <a:tc>
                  <a:txBody>
                    <a:bodyPr/>
                    <a:lstStyle/>
                    <a:p>
                      <a:pPr algn="l">
                        <a:defRPr sz="600">
                          <a:latin typeface="Nexa Book"/>
                        </a:defRPr>
                      </a:pPr>
                      <a:r>
                        <a:rPr sz="600">
                          <a:latin typeface="Nexa Book"/>
                        </a:rPr>
                        <a:t>CREMO HERITAGE RED HOLIDAY GIFT PACK REM BLADES RAZOR 2CT</a:t>
                      </a:r>
                    </a:p>
                  </a:txBody>
                  <a:tcPr marL="2858" marR="2858" marT="2858" marB="0" anchor="ctr">
                    <a:noFill/>
                  </a:tcPr>
                </a:tc>
                <a:tc>
                  <a:txBody>
                    <a:bodyPr/>
                    <a:lstStyle/>
                    <a:p>
                      <a:pPr algn="ctr">
                        <a:defRPr sz="600">
                          <a:latin typeface="Nexa Book"/>
                        </a:defRPr>
                      </a:pPr>
                      <a:r>
                        <a:rPr sz="600">
                          <a:latin typeface="Nexa Book"/>
                        </a:rPr>
                        <a:t>26%</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6.73</a:t>
                      </a:r>
                    </a:p>
                  </a:txBody>
                  <a:tcPr marL="2858" marR="2858" marT="2858" marB="0" anchor="ctr">
                    <a:noFill/>
                  </a:tcPr>
                </a:tc>
                <a:tc>
                  <a:txBody>
                    <a:bodyPr/>
                    <a:lstStyle/>
                    <a:p>
                      <a:pPr algn="ctr">
                        <a:defRPr sz="600">
                          <a:latin typeface="Nexa Book"/>
                        </a:defRPr>
                      </a:pPr>
                      <a:r>
                        <a:rPr sz="600">
                          <a:latin typeface="Nexa Book"/>
                        </a:rPr>
                        <a:t> 4.98</a:t>
                      </a:r>
                    </a:p>
                  </a:txBody>
                  <a:tcPr marL="2858" marR="2858" marT="2858" marB="0" anchor="ctr">
                    <a:noFill/>
                  </a:tcPr>
                </a:tc>
                <a:tc>
                  <a:txBody>
                    <a:bodyPr/>
                    <a:lstStyle/>
                    <a:p>
                      <a:pPr algn="ctr">
                        <a:defRPr sz="600">
                          <a:latin typeface="Nexa Book"/>
                        </a:defRPr>
                      </a:pPr>
                      <a:r>
                        <a:rPr sz="600">
                          <a:latin typeface="Nexa Book"/>
                        </a:rPr>
                        <a:t>259</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84</a:t>
                      </a:r>
                    </a:p>
                  </a:txBody>
                  <a:tcPr marL="2858" marR="2858" marT="2858" marB="0" anchor="ctr">
                    <a:noFill/>
                  </a:tcPr>
                </a:tc>
                <a:tc>
                  <a:txBody>
                    <a:bodyPr/>
                    <a:lstStyle/>
                    <a:p>
                      <a:pPr algn="ctr">
                        <a:defRPr sz="600">
                          <a:latin typeface="Nexa Book"/>
                        </a:defRPr>
                      </a:pPr>
                      <a:r>
                        <a:rPr sz="600">
                          <a:latin typeface="Nexa Book"/>
                        </a:rPr>
                        <a:t>-92%</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DRY SKIN 5 BLADE RAZOR DRY 2CT</a:t>
                      </a:r>
                    </a:p>
                  </a:txBody>
                  <a:tcPr marL="2858" marR="2858" marT="2858" marB="0" anchor="ctr">
                    <a:noFill/>
                  </a:tcPr>
                </a:tc>
                <a:tc>
                  <a:txBody>
                    <a:bodyPr/>
                    <a:lstStyle/>
                    <a:p>
                      <a:pPr algn="ctr">
                        <a:defRPr sz="600">
                          <a:latin typeface="Nexa Book"/>
                        </a:defRPr>
                      </a:pPr>
                      <a:r>
                        <a:rPr sz="600">
                          <a:latin typeface="Nexa Book"/>
                        </a:rPr>
                        <a:t>50%</a:t>
                      </a:r>
                    </a:p>
                  </a:txBody>
                  <a:tcPr marL="2858" marR="2858" marT="2858" marB="0" anchor="ctr">
                    <a:noFill/>
                  </a:tcPr>
                </a:tc>
                <a:tc>
                  <a:txBody>
                    <a:bodyPr/>
                    <a:lstStyle/>
                    <a:p>
                      <a:pPr algn="ctr">
                        <a:defRPr sz="600">
                          <a:latin typeface="Nexa Book"/>
                        </a:defRPr>
                      </a:pPr>
                      <a:r>
                        <a:rPr sz="600">
                          <a:latin typeface="Nexa Book"/>
                        </a:rPr>
                        <a:t>34%</a:t>
                      </a:r>
                    </a:p>
                  </a:txBody>
                  <a:tcPr marL="2858" marR="2858" marT="2858" marB="0" anchor="ctr">
                    <a:noFill/>
                  </a:tcPr>
                </a:tc>
                <a:tc>
                  <a:txBody>
                    <a:bodyPr/>
                    <a:lstStyle/>
                    <a:p>
                      <a:pPr algn="ctr">
                        <a:defRPr sz="600">
                          <a:latin typeface="Nexa Book"/>
                        </a:defRPr>
                      </a:pPr>
                      <a:r>
                        <a:rPr sz="600">
                          <a:latin typeface="Nexa Book"/>
                        </a:rPr>
                        <a:t> 9.60</a:t>
                      </a:r>
                    </a:p>
                  </a:txBody>
                  <a:tcPr marL="2858" marR="2858" marT="2858" marB="0" anchor="ctr">
                    <a:noFill/>
                  </a:tcPr>
                </a:tc>
                <a:tc>
                  <a:txBody>
                    <a:bodyPr/>
                    <a:lstStyle/>
                    <a:p>
                      <a:pPr algn="ctr">
                        <a:defRPr sz="600">
                          <a:latin typeface="Nexa Book"/>
                        </a:defRPr>
                      </a:pPr>
                      <a:r>
                        <a:rPr sz="600">
                          <a:latin typeface="Nexa Book"/>
                        </a:rPr>
                        <a:t> 4.65</a:t>
                      </a:r>
                    </a:p>
                  </a:txBody>
                  <a:tcPr marL="2858" marR="2858" marT="2858" marB="0" anchor="ctr">
                    <a:noFill/>
                  </a:tcPr>
                </a:tc>
                <a:tc>
                  <a:txBody>
                    <a:bodyPr/>
                    <a:lstStyle/>
                    <a:p>
                      <a:pPr algn="ctr">
                        <a:defRPr sz="600">
                          <a:latin typeface="Nexa Book"/>
                        </a:defRPr>
                      </a:pPr>
                      <a:r>
                        <a:rPr sz="600">
                          <a:latin typeface="Nexa Book"/>
                        </a:rPr>
                        <a:t>344</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90</a:t>
                      </a:r>
                    </a:p>
                  </a:txBody>
                  <a:tcPr marL="2858" marR="2858" marT="2858" marB="0" anchor="ctr">
                    <a:noFill/>
                  </a:tcPr>
                </a:tc>
                <a:tc>
                  <a:txBody>
                    <a:bodyPr/>
                    <a:lstStyle/>
                    <a:p>
                      <a:pPr algn="ctr">
                        <a:defRPr sz="600">
                          <a:latin typeface="Nexa Book"/>
                        </a:defRPr>
                      </a:pPr>
                      <a:r>
                        <a:rPr sz="600">
                          <a:latin typeface="Nexa Book"/>
                        </a:rPr>
                        <a:t>-26%</a:t>
                      </a:r>
                    </a:p>
                  </a:txBody>
                  <a:tcPr marL="2858" marR="2858" marT="2858" marB="0" anchor="ctr">
                    <a:noFill/>
                  </a:tcPr>
                </a:tc>
                <a:tc>
                  <a:txBody>
                    <a:bodyPr/>
                    <a:lstStyle/>
                    <a:p>
                      <a:pPr algn="ctr">
                        <a:defRPr sz="600">
                          <a:latin typeface="Nexa Book"/>
                        </a:defRPr>
                      </a:pPr>
                      <a:r>
                        <a:rPr sz="600">
                          <a:latin typeface="Nexa Book"/>
                        </a:rPr>
                        <a:t>56%</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DRY SKIN 5 BLADE REFILL NORMAL 4CT</a:t>
                      </a:r>
                    </a:p>
                  </a:txBody>
                  <a:tcPr marL="2858" marR="2858" marT="2858" marB="0" anchor="ctr">
                    <a:noFill/>
                  </a:tcPr>
                </a:tc>
                <a:tc>
                  <a:txBody>
                    <a:bodyPr/>
                    <a:lstStyle/>
                    <a:p>
                      <a:pPr algn="ctr">
                        <a:defRPr sz="600">
                          <a:latin typeface="Nexa Book"/>
                        </a:defRPr>
                      </a:pPr>
                      <a:r>
                        <a:rPr sz="600">
                          <a:latin typeface="Nexa Book"/>
                        </a:rPr>
                        <a:t>59%</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 6.09</a:t>
                      </a:r>
                    </a:p>
                  </a:txBody>
                  <a:tcPr marL="2858" marR="2858" marT="2858" marB="0" anchor="ctr">
                    <a:noFill/>
                  </a:tcPr>
                </a:tc>
                <a:tc>
                  <a:txBody>
                    <a:bodyPr/>
                    <a:lstStyle/>
                    <a:p>
                      <a:pPr algn="ctr">
                        <a:defRPr sz="600">
                          <a:latin typeface="Nexa Book"/>
                        </a:defRPr>
                      </a:pPr>
                      <a:r>
                        <a:rPr sz="600">
                          <a:latin typeface="Nexa Book"/>
                        </a:rPr>
                        <a:t> 2.44</a:t>
                      </a:r>
                    </a:p>
                  </a:txBody>
                  <a:tcPr marL="2858" marR="2858" marT="2858" marB="0" anchor="ctr">
                    <a:noFill/>
                  </a:tcPr>
                </a:tc>
                <a:tc>
                  <a:txBody>
                    <a:bodyPr/>
                    <a:lstStyle/>
                    <a:p>
                      <a:pPr algn="ctr">
                        <a:defRPr sz="600">
                          <a:latin typeface="Nexa Book"/>
                        </a:defRPr>
                      </a:pPr>
                      <a:r>
                        <a:rPr sz="600">
                          <a:latin typeface="Nexa Book"/>
                        </a:rPr>
                        <a:t>61</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131</a:t>
                      </a:r>
                    </a:p>
                  </a:txBody>
                  <a:tcPr marL="2858" marR="2858" marT="2858" marB="0" anchor="ctr">
                    <a:noFill/>
                  </a:tcPr>
                </a:tc>
                <a:tc>
                  <a:txBody>
                    <a:bodyPr/>
                    <a:lstStyle/>
                    <a:p>
                      <a:pPr algn="ctr">
                        <a:defRPr sz="600">
                          <a:latin typeface="Nexa Book"/>
                        </a:defRPr>
                      </a:pPr>
                      <a:r>
                        <a:rPr sz="600">
                          <a:latin typeface="Nexa Book"/>
                        </a:rPr>
                        <a:t>-147%</a:t>
                      </a:r>
                    </a:p>
                  </a:txBody>
                  <a:tcPr marL="2858" marR="2858" marT="2858" marB="0" anchor="ctr">
                    <a:noFill/>
                  </a:tcPr>
                </a:tc>
                <a:tc>
                  <a:txBody>
                    <a:bodyPr/>
                    <a:lstStyle/>
                    <a:p>
                      <a:pPr algn="ctr">
                        <a:defRPr sz="600">
                          <a:latin typeface="Nexa Book"/>
                        </a:defRPr>
                      </a:pPr>
                      <a:r>
                        <a:rPr sz="600">
                          <a:latin typeface="Nexa Book"/>
                        </a:rPr>
                        <a:t>80%</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178652755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8BC4F6D-5EE8-8034-53AD-0E49AE2C0CC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B8BC4F6D-5EE8-8034-53AD-0E49AE2C0CC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17D2688C-259E-4553-8974-97B95EE45DEE}" type="datetime1">
              <a:rPr lang="en-US"/>
              <a:pPr/>
              <a:t>8/18/2025</a:t>
            </a:fld>
            <a:endParaRPr lang="en-US"/>
          </a:p>
        </p:txBody>
      </p:sp>
      <p:sp>
        <p:nvSpPr>
          <p:cNvPr id="12" name="Footer Placeholder 11">
            <a:extLst>
              <a:ext uri="{FF2B5EF4-FFF2-40B4-BE49-F238E27FC236}">
                <a16:creationId xmlns:a16="http://schemas.microsoft.com/office/drawing/2014/main" id="{470AC834-4931-8E51-BADA-9AEDE6C820DB}"/>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78DAE09-5169-5767-CE1B-DB92CBC184BE}"/>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Walmart  |  Disposable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3556"/>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9DC869AC-8CCE-42D7-61B5-4DFA17C0718B}"/>
              </a:ext>
            </a:extLst>
          </p:cNvPr>
          <p:cNvGraphicFramePr>
            <a:graphicFrameLocks noGrp="1"/>
          </p:cNvGraphicFramePr>
          <p:nvPr>
            <p:extLst>
              <p:ext uri="{D42A27DB-BD31-4B8C-83A1-F6EECF244321}">
                <p14:modId xmlns:p14="http://schemas.microsoft.com/office/powerpoint/2010/main" val="3242603753"/>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270110">
                <a:tc>
                  <a:txBody>
                    <a:bodyPr/>
                    <a:lstStyle/>
                    <a:p>
                      <a:pPr algn="l">
                        <a:defRPr sz="600">
                          <a:latin typeface="Nexa Book"/>
                        </a:defRPr>
                      </a:pPr>
                      <a:r>
                        <a:rPr sz="600">
                          <a:latin typeface="Nexa Book"/>
                        </a:rPr>
                        <a:t>Schick</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SCHICK XTREME 3 SENSITIVE GREEN HOLIDAY GIFT PACK 3 BLADE DISPOSABLE SENSITIVE 8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0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0.0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8.9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128'687</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4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7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20533</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6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34%</a:t>
                      </a: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292605199"/>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GREEN 3 BLADE DISPOSABLE SENSITIVE 8CT</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 11.01</a:t>
                      </a:r>
                    </a:p>
                  </a:txBody>
                  <a:tcPr marL="2858" marR="2858" marT="2858" marB="0" anchor="ctr">
                    <a:noFill/>
                  </a:tcPr>
                </a:tc>
                <a:tc>
                  <a:txBody>
                    <a:bodyPr/>
                    <a:lstStyle/>
                    <a:p>
                      <a:pPr algn="ctr">
                        <a:defRPr sz="600">
                          <a:latin typeface="Nexa Book"/>
                        </a:defRPr>
                      </a:pPr>
                      <a:r>
                        <a:rPr sz="600">
                          <a:latin typeface="Nexa Book"/>
                        </a:rPr>
                        <a:t> 9.88</a:t>
                      </a:r>
                    </a:p>
                  </a:txBody>
                  <a:tcPr marL="2858" marR="2858" marT="2858" marB="0" anchor="ctr">
                    <a:noFill/>
                  </a:tcPr>
                </a:tc>
                <a:tc>
                  <a:txBody>
                    <a:bodyPr/>
                    <a:lstStyle/>
                    <a:p>
                      <a:pPr algn="ctr">
                        <a:defRPr sz="600">
                          <a:latin typeface="Nexa Book"/>
                        </a:defRPr>
                      </a:pPr>
                      <a:r>
                        <a:rPr sz="600">
                          <a:latin typeface="Nexa Book"/>
                        </a:rPr>
                        <a:t>350'447</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65%</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BLACK GREEN 3 BLADE DISPOSABLE SENSITIVE 12CT</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 15.03</a:t>
                      </a:r>
                    </a:p>
                  </a:txBody>
                  <a:tcPr marL="2858" marR="2858" marT="2858" marB="0" anchor="ctr">
                    <a:noFill/>
                  </a:tcPr>
                </a:tc>
                <a:tc>
                  <a:txBody>
                    <a:bodyPr/>
                    <a:lstStyle/>
                    <a:p>
                      <a:pPr algn="ctr">
                        <a:defRPr sz="600">
                          <a:latin typeface="Nexa Book"/>
                        </a:defRPr>
                      </a:pPr>
                      <a:r>
                        <a:rPr sz="600">
                          <a:latin typeface="Nexa Book"/>
                        </a:rPr>
                        <a:t> 12.89</a:t>
                      </a:r>
                    </a:p>
                  </a:txBody>
                  <a:tcPr marL="2858" marR="2858" marT="2858" marB="0" anchor="ctr">
                    <a:noFill/>
                  </a:tcPr>
                </a:tc>
                <a:tc>
                  <a:txBody>
                    <a:bodyPr/>
                    <a:lstStyle/>
                    <a:p>
                      <a:pPr algn="ctr">
                        <a:defRPr sz="600">
                          <a:latin typeface="Nexa Book"/>
                        </a:defRPr>
                      </a:pPr>
                      <a:r>
                        <a:rPr sz="600">
                          <a:latin typeface="Nexa Book"/>
                        </a:rPr>
                        <a:t>161'245</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52%</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BLACK 3 BLADE DISPOSABLE SENSITIVE 4CT</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 6.50</a:t>
                      </a:r>
                    </a:p>
                  </a:txBody>
                  <a:tcPr marL="2858" marR="2858" marT="2858" marB="0" anchor="ctr">
                    <a:noFill/>
                  </a:tcPr>
                </a:tc>
                <a:tc>
                  <a:txBody>
                    <a:bodyPr/>
                    <a:lstStyle/>
                    <a:p>
                      <a:pPr algn="ctr">
                        <a:defRPr sz="600">
                          <a:latin typeface="Nexa Book"/>
                        </a:defRPr>
                      </a:pPr>
                      <a:r>
                        <a:rPr sz="600">
                          <a:latin typeface="Nexa Book"/>
                        </a:rPr>
                        <a:t> 6.01</a:t>
                      </a:r>
                    </a:p>
                  </a:txBody>
                  <a:tcPr marL="2858" marR="2858" marT="2858" marB="0" anchor="ctr">
                    <a:noFill/>
                  </a:tcPr>
                </a:tc>
                <a:tc>
                  <a:txBody>
                    <a:bodyPr/>
                    <a:lstStyle/>
                    <a:p>
                      <a:pPr algn="ctr">
                        <a:defRPr sz="600">
                          <a:latin typeface="Nexa Book"/>
                        </a:defRPr>
                      </a:pPr>
                      <a:r>
                        <a:rPr sz="600">
                          <a:latin typeface="Nexa Book"/>
                        </a:rPr>
                        <a:t>287'346</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62%</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2 SENSITIVE 2 BLADE DISPOSABLE NORMAL 12CT</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 6.50</a:t>
                      </a:r>
                    </a:p>
                  </a:txBody>
                  <a:tcPr marL="2858" marR="2858" marT="2858" marB="0" anchor="ctr">
                    <a:noFill/>
                  </a:tcPr>
                </a:tc>
                <a:tc>
                  <a:txBody>
                    <a:bodyPr/>
                    <a:lstStyle/>
                    <a:p>
                      <a:pPr algn="ctr">
                        <a:defRPr sz="600">
                          <a:latin typeface="Nexa Book"/>
                        </a:defRPr>
                      </a:pPr>
                      <a:r>
                        <a:rPr sz="600">
                          <a:latin typeface="Nexa Book"/>
                        </a:rPr>
                        <a:t> 6.06</a:t>
                      </a:r>
                    </a:p>
                  </a:txBody>
                  <a:tcPr marL="2858" marR="2858" marT="2858" marB="0" anchor="ctr">
                    <a:noFill/>
                  </a:tcPr>
                </a:tc>
                <a:tc>
                  <a:txBody>
                    <a:bodyPr/>
                    <a:lstStyle/>
                    <a:p>
                      <a:pPr algn="ctr">
                        <a:defRPr sz="600">
                          <a:latin typeface="Nexa Book"/>
                        </a:defRPr>
                      </a:pPr>
                      <a:r>
                        <a:rPr sz="600">
                          <a:latin typeface="Nexa Book"/>
                        </a:rPr>
                        <a:t>283'39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77%</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ORIGINAL HOLIDAY GIFT PACK 4 BLADE DISPOSABLE 8CT</a:t>
                      </a:r>
                    </a:p>
                  </a:txBody>
                  <a:tcPr marL="2858" marR="2858" marT="2858" marB="0" anchor="ctr">
                    <a:noFill/>
                  </a:tcPr>
                </a:tc>
                <a:tc>
                  <a:txBody>
                    <a:bodyPr/>
                    <a:lstStyle/>
                    <a:p>
                      <a:pPr algn="ctr">
                        <a:defRPr sz="600">
                          <a:latin typeface="Nexa Book"/>
                        </a:defRPr>
                      </a:pPr>
                      <a:r>
                        <a:rPr sz="600">
                          <a:latin typeface="Nexa Book"/>
                        </a:rPr>
                        <a:t>1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0.00</a:t>
                      </a:r>
                    </a:p>
                  </a:txBody>
                  <a:tcPr marL="2858" marR="2858" marT="2858" marB="0" anchor="ctr">
                    <a:noFill/>
                  </a:tcPr>
                </a:tc>
                <a:tc>
                  <a:txBody>
                    <a:bodyPr/>
                    <a:lstStyle/>
                    <a:p>
                      <a:pPr algn="ctr">
                        <a:defRPr sz="600">
                          <a:latin typeface="Nexa Book"/>
                        </a:defRPr>
                      </a:pPr>
                      <a:r>
                        <a:rPr sz="600">
                          <a:latin typeface="Nexa Book"/>
                        </a:rPr>
                        <a:t> 8.50</a:t>
                      </a:r>
                    </a:p>
                  </a:txBody>
                  <a:tcPr marL="2858" marR="2858" marT="2858" marB="0" anchor="ctr">
                    <a:noFill/>
                  </a:tcPr>
                </a:tc>
                <a:tc>
                  <a:txBody>
                    <a:bodyPr/>
                    <a:lstStyle/>
                    <a:p>
                      <a:pPr algn="ctr">
                        <a:defRPr sz="600">
                          <a:latin typeface="Nexa Book"/>
                        </a:defRPr>
                      </a:pPr>
                      <a:r>
                        <a:rPr sz="600">
                          <a:latin typeface="Nexa Book"/>
                        </a:rPr>
                        <a:t>17</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HOLIDAY GIFT PACK 3 BLADE DISPOSABLE NORMAL 8CT</a:t>
                      </a:r>
                    </a:p>
                  </a:txBody>
                  <a:tcPr marL="2858" marR="2858" marT="2858" marB="0" anchor="ctr">
                    <a:noFill/>
                  </a:tcPr>
                </a:tc>
                <a:tc>
                  <a:txBody>
                    <a:bodyPr/>
                    <a:lstStyle/>
                    <a:p>
                      <a:pPr algn="ctr">
                        <a:defRPr sz="600">
                          <a:latin typeface="Nexa Book"/>
                        </a:defRPr>
                      </a:pPr>
                      <a:r>
                        <a:rPr sz="600">
                          <a:latin typeface="Nexa Book"/>
                        </a:rPr>
                        <a:t>30%</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0.00</a:t>
                      </a:r>
                    </a:p>
                  </a:txBody>
                  <a:tcPr marL="2858" marR="2858" marT="2858" marB="0" anchor="ctr">
                    <a:noFill/>
                  </a:tcPr>
                </a:tc>
                <a:tc>
                  <a:txBody>
                    <a:bodyPr/>
                    <a:lstStyle/>
                    <a:p>
                      <a:pPr algn="ctr">
                        <a:defRPr sz="600">
                          <a:latin typeface="Nexa Book"/>
                        </a:defRPr>
                      </a:pPr>
                      <a:r>
                        <a:rPr sz="600">
                          <a:latin typeface="Nexa Book"/>
                        </a:rPr>
                        <a:t> 7.00</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4 OUTLAST 4 BLADE DISPOSABLE NORMAL 3CT</a:t>
                      </a:r>
                    </a:p>
                  </a:txBody>
                  <a:tcPr marL="2858" marR="2858" marT="2858" marB="0" anchor="ctr">
                    <a:noFill/>
                  </a:tcPr>
                </a:tc>
                <a:tc>
                  <a:txBody>
                    <a:bodyPr/>
                    <a:lstStyle/>
                    <a:p>
                      <a:pPr algn="ctr">
                        <a:defRPr sz="600">
                          <a:latin typeface="Nexa Book"/>
                        </a:defRPr>
                      </a:pPr>
                      <a:r>
                        <a:rPr sz="600">
                          <a:latin typeface="Nexa Book"/>
                        </a:rPr>
                        <a:t>86%</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 6.94</a:t>
                      </a:r>
                    </a:p>
                  </a:txBody>
                  <a:tcPr marL="2858" marR="2858" marT="2858" marB="0" anchor="ctr">
                    <a:noFill/>
                  </a:tcPr>
                </a:tc>
                <a:tc>
                  <a:txBody>
                    <a:bodyPr/>
                    <a:lstStyle/>
                    <a:p>
                      <a:pPr algn="ctr">
                        <a:defRPr sz="600">
                          <a:latin typeface="Nexa Book"/>
                        </a:defRPr>
                      </a:pPr>
                      <a:r>
                        <a:rPr sz="600">
                          <a:latin typeface="Nexa Book"/>
                        </a:rPr>
                        <a:t> 1.00</a:t>
                      </a:r>
                    </a:p>
                  </a:txBody>
                  <a:tcPr marL="2858" marR="2858" marT="2858" marB="0" anchor="ctr">
                    <a:noFill/>
                  </a:tcPr>
                </a:tc>
                <a:tc>
                  <a:txBody>
                    <a:bodyPr/>
                    <a:lstStyle/>
                    <a:p>
                      <a:pPr algn="ctr">
                        <a:defRPr sz="600">
                          <a:latin typeface="Nexa Book"/>
                        </a:defRPr>
                      </a:pPr>
                      <a:r>
                        <a:rPr sz="600">
                          <a:latin typeface="Nexa Book"/>
                        </a:rPr>
                        <a:t>1</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HOLIDAY GIFT PACK REM BLADES DISPOSABLE 8CT</a:t>
                      </a:r>
                    </a:p>
                  </a:txBody>
                  <a:tcPr marL="2858" marR="2858" marT="2858" marB="0" anchor="ctr">
                    <a:noFill/>
                  </a:tcPr>
                </a:tc>
                <a:tc>
                  <a:txBody>
                    <a:bodyPr/>
                    <a:lstStyle/>
                    <a:p>
                      <a:pPr algn="ctr">
                        <a:defRPr sz="600">
                          <a:latin typeface="Nexa Book"/>
                        </a:defRPr>
                      </a:pPr>
                      <a:r>
                        <a:rPr sz="600">
                          <a:latin typeface="Nexa Book"/>
                        </a:rPr>
                        <a:t>24%</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1.00</a:t>
                      </a:r>
                    </a:p>
                  </a:txBody>
                  <a:tcPr marL="2858" marR="2858" marT="2858" marB="0" anchor="ctr">
                    <a:noFill/>
                  </a:tcPr>
                </a:tc>
                <a:tc>
                  <a:txBody>
                    <a:bodyPr/>
                    <a:lstStyle/>
                    <a:p>
                      <a:pPr algn="ctr">
                        <a:defRPr sz="600">
                          <a:latin typeface="Nexa Book"/>
                        </a:defRPr>
                      </a:pPr>
                      <a:r>
                        <a:rPr sz="600">
                          <a:latin typeface="Nexa Book"/>
                        </a:rPr>
                        <a:t> 8.33</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DUO COMFORT 3 BLADE DISPOSABLE NORMAL 4CT</a:t>
                      </a:r>
                    </a:p>
                  </a:txBody>
                  <a:tcPr marL="2858" marR="2858" marT="2858" marB="0" anchor="ctr">
                    <a:noFill/>
                  </a:tcPr>
                </a:tc>
                <a:tc>
                  <a:txBody>
                    <a:bodyPr/>
                    <a:lstStyle/>
                    <a:p>
                      <a:pPr algn="ctr">
                        <a:defRPr sz="600">
                          <a:latin typeface="Nexa Book"/>
                        </a:defRPr>
                      </a:pPr>
                      <a:r>
                        <a:rPr sz="600">
                          <a:latin typeface="Nexa Book"/>
                        </a:rPr>
                        <a:t>63%</a:t>
                      </a:r>
                    </a:p>
                  </a:txBody>
                  <a:tcPr marL="2858" marR="2858" marT="2858" marB="0" anchor="ctr">
                    <a:noFill/>
                  </a:tcPr>
                </a:tc>
                <a:tc>
                  <a:txBody>
                    <a:bodyPr/>
                    <a:lstStyle/>
                    <a:p>
                      <a:pPr algn="ctr">
                        <a:defRPr sz="600">
                          <a:latin typeface="Nexa Book"/>
                        </a:defRPr>
                      </a:pPr>
                      <a:r>
                        <a:rPr sz="600">
                          <a:latin typeface="Nexa Book"/>
                        </a:rPr>
                        <a:t>30%</a:t>
                      </a:r>
                    </a:p>
                  </a:txBody>
                  <a:tcPr marL="2858" marR="2858" marT="2858" marB="0" anchor="ctr">
                    <a:noFill/>
                  </a:tcPr>
                </a:tc>
                <a:tc>
                  <a:txBody>
                    <a:bodyPr/>
                    <a:lstStyle/>
                    <a:p>
                      <a:pPr algn="ctr">
                        <a:defRPr sz="600">
                          <a:latin typeface="Nexa Book"/>
                        </a:defRPr>
                      </a:pPr>
                      <a:r>
                        <a:rPr sz="600">
                          <a:latin typeface="Nexa Book"/>
                        </a:rPr>
                        <a:t> 5.86</a:t>
                      </a:r>
                    </a:p>
                  </a:txBody>
                  <a:tcPr marL="2858" marR="2858" marT="2858" marB="0" anchor="ctr">
                    <a:noFill/>
                  </a:tcPr>
                </a:tc>
                <a:tc>
                  <a:txBody>
                    <a:bodyPr/>
                    <a:lstStyle/>
                    <a:p>
                      <a:pPr algn="ctr">
                        <a:defRPr sz="600">
                          <a:latin typeface="Nexa Book"/>
                        </a:defRPr>
                      </a:pPr>
                      <a:r>
                        <a:rPr sz="600">
                          <a:latin typeface="Nexa Book"/>
                        </a:rPr>
                        <a:t> 2.15</a:t>
                      </a:r>
                    </a:p>
                  </a:txBody>
                  <a:tcPr marL="2858" marR="2858" marT="2858" marB="0" anchor="ctr">
                    <a:noFill/>
                  </a:tcPr>
                </a:tc>
                <a:tc>
                  <a:txBody>
                    <a:bodyPr/>
                    <a:lstStyle/>
                    <a:p>
                      <a:pPr algn="ctr">
                        <a:defRPr sz="600">
                          <a:latin typeface="Nexa Book"/>
                        </a:defRPr>
                      </a:pPr>
                      <a:r>
                        <a:rPr sz="600">
                          <a:latin typeface="Nexa Book"/>
                        </a:rPr>
                        <a:t>28</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19</a:t>
                      </a:r>
                    </a:p>
                  </a:txBody>
                  <a:tcPr marL="2858" marR="2858" marT="2858" marB="0" anchor="ctr">
                    <a:noFill/>
                  </a:tcPr>
                </a:tc>
                <a:tc>
                  <a:txBody>
                    <a:bodyPr/>
                    <a:lstStyle/>
                    <a:p>
                      <a:pPr algn="ctr">
                        <a:defRPr sz="600">
                          <a:latin typeface="Nexa Book"/>
                        </a:defRPr>
                      </a:pPr>
                      <a:r>
                        <a:rPr sz="600">
                          <a:latin typeface="Nexa Book"/>
                        </a:rPr>
                        <a:t>-39%</a:t>
                      </a:r>
                    </a:p>
                  </a:txBody>
                  <a:tcPr marL="2858" marR="2858" marT="2858" marB="0" anchor="ctr">
                    <a:noFill/>
                  </a:tcPr>
                </a:tc>
                <a:tc>
                  <a:txBody>
                    <a:bodyPr/>
                    <a:lstStyle/>
                    <a:p>
                      <a:pPr algn="ctr">
                        <a:defRPr sz="600">
                          <a:latin typeface="Nexa Book"/>
                        </a:defRPr>
                      </a:pPr>
                      <a:r>
                        <a:rPr sz="600">
                          <a:latin typeface="Nexa Book"/>
                        </a:rPr>
                        <a:t>62%</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3 BLADE DISPOSABLE SENSITIVE 1CT</a:t>
                      </a:r>
                    </a:p>
                  </a:txBody>
                  <a:tcPr marL="2858" marR="2858" marT="2858" marB="0" anchor="ctr">
                    <a:noFill/>
                  </a:tcPr>
                </a:tc>
                <a:tc>
                  <a:txBody>
                    <a:bodyPr/>
                    <a:lstStyle/>
                    <a:p>
                      <a:pPr algn="ctr">
                        <a:defRPr sz="600">
                          <a:latin typeface="Nexa Book"/>
                        </a:defRPr>
                      </a:pPr>
                      <a:r>
                        <a:rPr sz="600">
                          <a:latin typeface="Nexa Book"/>
                        </a:rPr>
                        <a:t>45%</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 1.16</a:t>
                      </a:r>
                    </a:p>
                  </a:txBody>
                  <a:tcPr marL="2858" marR="2858" marT="2858" marB="0" anchor="ctr">
                    <a:noFill/>
                  </a:tcPr>
                </a:tc>
                <a:tc>
                  <a:txBody>
                    <a:bodyPr/>
                    <a:lstStyle/>
                    <a:p>
                      <a:pPr algn="ctr">
                        <a:defRPr sz="600">
                          <a:latin typeface="Nexa Book"/>
                        </a:defRPr>
                      </a:pPr>
                      <a:r>
                        <a:rPr sz="600">
                          <a:latin typeface="Nexa Book"/>
                        </a:rPr>
                        <a:t> 0.60</a:t>
                      </a:r>
                    </a:p>
                  </a:txBody>
                  <a:tcPr marL="2858" marR="2858" marT="2858" marB="0" anchor="ctr">
                    <a:noFill/>
                  </a:tcPr>
                </a:tc>
                <a:tc>
                  <a:txBody>
                    <a:bodyPr/>
                    <a:lstStyle/>
                    <a:p>
                      <a:pPr algn="ctr">
                        <a:defRPr sz="600">
                          <a:latin typeface="Nexa Book"/>
                        </a:defRPr>
                      </a:pPr>
                      <a:r>
                        <a:rPr sz="600">
                          <a:latin typeface="Nexa Book"/>
                        </a:rPr>
                        <a:t>7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7</a:t>
                      </a:r>
                    </a:p>
                  </a:txBody>
                  <a:tcPr marL="2858" marR="2858" marT="2858" marB="0" anchor="ctr">
                    <a:noFill/>
                  </a:tcPr>
                </a:tc>
                <a:tc>
                  <a:txBody>
                    <a:bodyPr/>
                    <a:lstStyle/>
                    <a:p>
                      <a:pPr algn="ctr">
                        <a:defRPr sz="600">
                          <a:latin typeface="Nexa Book"/>
                        </a:defRPr>
                      </a:pPr>
                      <a:r>
                        <a:rPr sz="600">
                          <a:latin typeface="Nexa Book"/>
                        </a:rPr>
                        <a:t>-64%</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HOLIDAY GIFT PACK 3 BLADE DISPOSABLE SENSITIVE 6CT</a:t>
                      </a:r>
                    </a:p>
                  </a:txBody>
                  <a:tcPr marL="2858" marR="2858" marT="2858" marB="0" anchor="ctr">
                    <a:noFill/>
                  </a:tcPr>
                </a:tc>
                <a:tc>
                  <a:txBody>
                    <a:bodyPr/>
                    <a:lstStyle/>
                    <a:p>
                      <a:pPr algn="ctr">
                        <a:defRPr sz="600">
                          <a:latin typeface="Nexa Book"/>
                        </a:defRPr>
                      </a:pPr>
                      <a:r>
                        <a:rPr sz="600">
                          <a:latin typeface="Nexa Book"/>
                        </a:rPr>
                        <a:t>23%</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6.65</a:t>
                      </a:r>
                    </a:p>
                  </a:txBody>
                  <a:tcPr marL="2858" marR="2858" marT="2858" marB="0" anchor="ctr">
                    <a:noFill/>
                  </a:tcPr>
                </a:tc>
                <a:tc>
                  <a:txBody>
                    <a:bodyPr/>
                    <a:lstStyle/>
                    <a:p>
                      <a:pPr algn="ctr">
                        <a:defRPr sz="600">
                          <a:latin typeface="Nexa Book"/>
                        </a:defRPr>
                      </a:pPr>
                      <a:r>
                        <a:rPr sz="600">
                          <a:latin typeface="Nexa Book"/>
                        </a:rPr>
                        <a:t> 5.10</a:t>
                      </a:r>
                    </a:p>
                  </a:txBody>
                  <a:tcPr marL="2858" marR="2858" marT="2858" marB="0" anchor="ctr">
                    <a:noFill/>
                  </a:tcPr>
                </a:tc>
                <a:tc>
                  <a:txBody>
                    <a:bodyPr/>
                    <a:lstStyle/>
                    <a:p>
                      <a:pPr algn="ctr">
                        <a:defRPr sz="600">
                          <a:latin typeface="Nexa Book"/>
                        </a:defRPr>
                      </a:pPr>
                      <a:r>
                        <a:rPr sz="600">
                          <a:latin typeface="Nexa Book"/>
                        </a:rPr>
                        <a:t>158</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46</a:t>
                      </a:r>
                    </a:p>
                  </a:txBody>
                  <a:tcPr marL="2858" marR="2858" marT="2858" marB="0" anchor="ctr">
                    <a:noFill/>
                  </a:tcPr>
                </a:tc>
                <a:tc>
                  <a:txBody>
                    <a:bodyPr/>
                    <a:lstStyle/>
                    <a:p>
                      <a:pPr algn="ctr">
                        <a:defRPr sz="600">
                          <a:latin typeface="Nexa Book"/>
                        </a:defRPr>
                      </a:pPr>
                      <a:r>
                        <a:rPr sz="600">
                          <a:latin typeface="Nexa Book"/>
                        </a:rPr>
                        <a:t>-96%</a:t>
                      </a:r>
                    </a:p>
                  </a:txBody>
                  <a:tcPr marL="2858" marR="2858" marT="2858" marB="0" anchor="ctr">
                    <a:noFill/>
                  </a:tcPr>
                </a:tc>
                <a:tc>
                  <a:txBody>
                    <a:bodyPr/>
                    <a:lstStyle/>
                    <a:p>
                      <a:pPr algn="ctr">
                        <a:defRPr sz="600">
                          <a:latin typeface="Nexa Book"/>
                        </a:defRPr>
                      </a:pPr>
                      <a:r>
                        <a:rPr sz="600">
                          <a:latin typeface="Nexa Book"/>
                        </a:rPr>
                        <a:t>23%</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312367864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8BC4F6D-5EE8-8034-53AD-0E49AE2C0CC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B8BC4F6D-5EE8-8034-53AD-0E49AE2C0CC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17D2688C-259E-4553-8974-97B95EE45DEE}" type="datetime1">
              <a:rPr lang="en-US"/>
              <a:pPr/>
              <a:t>8/18/2025</a:t>
            </a:fld>
            <a:endParaRPr lang="en-US"/>
          </a:p>
        </p:txBody>
      </p:sp>
      <p:sp>
        <p:nvSpPr>
          <p:cNvPr id="12" name="Footer Placeholder 11">
            <a:extLst>
              <a:ext uri="{FF2B5EF4-FFF2-40B4-BE49-F238E27FC236}">
                <a16:creationId xmlns:a16="http://schemas.microsoft.com/office/drawing/2014/main" id="{470AC834-4931-8E51-BADA-9AEDE6C820DB}"/>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78DAE09-5169-5767-CE1B-DB92CBC184BE}"/>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5</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Bj's And Sam's  |  Disposable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3556"/>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9DC869AC-8CCE-42D7-61B5-4DFA17C0718B}"/>
              </a:ext>
            </a:extLst>
          </p:cNvPr>
          <p:cNvGraphicFramePr>
            <a:graphicFrameLocks noGrp="1"/>
          </p:cNvGraphicFramePr>
          <p:nvPr>
            <p:extLst>
              <p:ext uri="{D42A27DB-BD31-4B8C-83A1-F6EECF244321}">
                <p14:modId xmlns:p14="http://schemas.microsoft.com/office/powerpoint/2010/main" val="3242603753"/>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080440">
                <a:tc>
                  <a:txBody>
                    <a:bodyPr/>
                    <a:lstStyle/>
                    <a:p>
                      <a:pPr algn="l">
                        <a:defRPr sz="600">
                          <a:latin typeface="Nexa Book"/>
                        </a:defRPr>
                      </a:pPr>
                      <a:r>
                        <a:rPr sz="600">
                          <a:latin typeface="Nexa Book"/>
                        </a:rPr>
                        <a:t>Schick</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SCHICK XTREME 3 SENSITIVE BLACK GREEN 3 BLADE DISPOSABLE SENSITIVE 20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20.24</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6.4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674'74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4%</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3%</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09386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8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2682436867"/>
                  </a:ext>
                </a:extLst>
              </a:tr>
              <a:tr h="108044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BLACK 3 BLADE DISPOSABLE SENSITIVE 20CT</a:t>
                      </a:r>
                    </a:p>
                  </a:txBody>
                  <a:tcPr marL="2858" marR="2858" marT="2858" marB="0" anchor="ctr">
                    <a:noFill/>
                  </a:tcPr>
                </a:tc>
                <a:tc>
                  <a:txBody>
                    <a:bodyPr/>
                    <a:lstStyle/>
                    <a:p>
                      <a:pPr algn="ctr">
                        <a:defRPr sz="600">
                          <a:latin typeface="Nexa Book"/>
                        </a:defRPr>
                      </a:pPr>
                      <a:r>
                        <a:rPr sz="600">
                          <a:latin typeface="Nexa Book"/>
                        </a:rPr>
                        <a:t>13%</a:t>
                      </a:r>
                    </a:p>
                  </a:txBody>
                  <a:tcPr marL="2858" marR="2858" marT="2858" marB="0" anchor="ctr">
                    <a:noFill/>
                  </a:tcPr>
                </a:tc>
                <a:tc>
                  <a:txBody>
                    <a:bodyPr/>
                    <a:lstStyle/>
                    <a:p>
                      <a:pPr algn="ctr">
                        <a:defRPr sz="600">
                          <a:latin typeface="Nexa Book"/>
                        </a:defRPr>
                      </a:pPr>
                      <a:r>
                        <a:rPr sz="600">
                          <a:latin typeface="Nexa Book"/>
                        </a:rPr>
                        <a:t>80%</a:t>
                      </a:r>
                    </a:p>
                  </a:txBody>
                  <a:tcPr marL="2858" marR="2858" marT="2858" marB="0" anchor="ctr">
                    <a:noFill/>
                  </a:tcPr>
                </a:tc>
                <a:tc>
                  <a:txBody>
                    <a:bodyPr/>
                    <a:lstStyle/>
                    <a:p>
                      <a:pPr algn="ctr">
                        <a:defRPr sz="600">
                          <a:latin typeface="Nexa Book"/>
                        </a:defRPr>
                      </a:pPr>
                      <a:r>
                        <a:rPr sz="600">
                          <a:latin typeface="Nexa Book"/>
                        </a:rPr>
                        <a:t> 22.68</a:t>
                      </a:r>
                    </a:p>
                  </a:txBody>
                  <a:tcPr marL="2858" marR="2858" marT="2858" marB="0" anchor="ctr">
                    <a:noFill/>
                  </a:tcPr>
                </a:tc>
                <a:tc>
                  <a:txBody>
                    <a:bodyPr/>
                    <a:lstStyle/>
                    <a:p>
                      <a:pPr algn="ctr">
                        <a:defRPr sz="600">
                          <a:latin typeface="Nexa Book"/>
                        </a:defRPr>
                      </a:pPr>
                      <a:r>
                        <a:rPr sz="600">
                          <a:latin typeface="Nexa Book"/>
                        </a:rPr>
                        <a:t> 19.72</a:t>
                      </a:r>
                    </a:p>
                  </a:txBody>
                  <a:tcPr marL="2858" marR="2858" marT="2858" marB="0" anchor="ctr">
                    <a:noFill/>
                  </a:tcPr>
                </a:tc>
                <a:tc>
                  <a:txBody>
                    <a:bodyPr/>
                    <a:lstStyle/>
                    <a:p>
                      <a:pPr algn="ctr">
                        <a:defRPr sz="600">
                          <a:latin typeface="Nexa Book"/>
                        </a:defRPr>
                      </a:pPr>
                      <a:r>
                        <a:rPr sz="600">
                          <a:latin typeface="Nexa Book"/>
                        </a:rPr>
                        <a:t>560'410</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26%</a:t>
                      </a:r>
                    </a:p>
                  </a:txBody>
                  <a:tcPr marL="2858" marR="2858" marT="2858" marB="0" anchor="ctr">
                    <a:noFill/>
                  </a:tcPr>
                </a:tc>
                <a:tc>
                  <a:txBody>
                    <a:bodyPr/>
                    <a:lstStyle/>
                    <a:p>
                      <a:pPr algn="ctr">
                        <a:defRPr sz="600">
                          <a:latin typeface="Nexa Book"/>
                        </a:defRPr>
                      </a:pPr>
                      <a:r>
                        <a:rPr sz="600">
                          <a:latin typeface="Nexa Book"/>
                        </a:rPr>
                        <a:t>46156</a:t>
                      </a:r>
                    </a:p>
                  </a:txBody>
                  <a:tcPr marL="2858" marR="2858" marT="2858" marB="0" anchor="ctr">
                    <a:noFill/>
                  </a:tcPr>
                </a:tc>
                <a:tc>
                  <a:txBody>
                    <a:bodyPr/>
                    <a:lstStyle/>
                    <a:p>
                      <a:pPr algn="ctr">
                        <a:defRPr sz="600">
                          <a:latin typeface="Nexa Book"/>
                        </a:defRPr>
                      </a:pPr>
                      <a:r>
                        <a:rPr sz="600">
                          <a:latin typeface="Nexa Book"/>
                        </a:rPr>
                        <a:t>55%</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08044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3 BLADE DISPOSABLE SENSITIVE 25CT</a:t>
                      </a:r>
                    </a:p>
                  </a:txBody>
                  <a:tcPr marL="2858" marR="2858" marT="2858" marB="0" anchor="ctr">
                    <a:noFill/>
                  </a:tcPr>
                </a:tc>
                <a:tc>
                  <a:txBody>
                    <a:bodyPr/>
                    <a:lstStyle/>
                    <a:p>
                      <a:pPr algn="ctr">
                        <a:defRPr sz="600">
                          <a:latin typeface="Nexa Book"/>
                        </a:defRPr>
                      </a:pPr>
                      <a:r>
                        <a:rPr sz="600">
                          <a:latin typeface="Nexa Book"/>
                        </a:rPr>
                        <a:t>17%</a:t>
                      </a:r>
                    </a:p>
                  </a:txBody>
                  <a:tcPr marL="2858" marR="2858" marT="2858" marB="0" anchor="ctr">
                    <a:noFill/>
                  </a:tcPr>
                </a:tc>
                <a:tc>
                  <a:txBody>
                    <a:bodyPr/>
                    <a:lstStyle/>
                    <a:p>
                      <a:pPr algn="ctr">
                        <a:defRPr sz="600">
                          <a:latin typeface="Nexa Book"/>
                        </a:defRPr>
                      </a:pPr>
                      <a:r>
                        <a:rPr sz="600">
                          <a:latin typeface="Nexa Book"/>
                        </a:rPr>
                        <a:t>83%</a:t>
                      </a:r>
                    </a:p>
                  </a:txBody>
                  <a:tcPr marL="2858" marR="2858" marT="2858" marB="0" anchor="ctr">
                    <a:noFill/>
                  </a:tcPr>
                </a:tc>
                <a:tc>
                  <a:txBody>
                    <a:bodyPr/>
                    <a:lstStyle/>
                    <a:p>
                      <a:pPr algn="ctr">
                        <a:defRPr sz="600">
                          <a:latin typeface="Nexa Book"/>
                        </a:defRPr>
                      </a:pPr>
                      <a:r>
                        <a:rPr sz="600">
                          <a:latin typeface="Nexa Book"/>
                        </a:rPr>
                        <a:t> 25.24</a:t>
                      </a:r>
                    </a:p>
                  </a:txBody>
                  <a:tcPr marL="2858" marR="2858" marT="2858" marB="0" anchor="ctr">
                    <a:noFill/>
                  </a:tcPr>
                </a:tc>
                <a:tc>
                  <a:txBody>
                    <a:bodyPr/>
                    <a:lstStyle/>
                    <a:p>
                      <a:pPr algn="ctr">
                        <a:defRPr sz="600">
                          <a:latin typeface="Nexa Book"/>
                        </a:defRPr>
                      </a:pPr>
                      <a:r>
                        <a:rPr sz="600">
                          <a:latin typeface="Nexa Book"/>
                        </a:rPr>
                        <a:t> 20.91</a:t>
                      </a:r>
                    </a:p>
                  </a:txBody>
                  <a:tcPr marL="2858" marR="2858" marT="2858" marB="0" anchor="ctr">
                    <a:noFill/>
                  </a:tcPr>
                </a:tc>
                <a:tc>
                  <a:txBody>
                    <a:bodyPr/>
                    <a:lstStyle/>
                    <a:p>
                      <a:pPr algn="ctr">
                        <a:defRPr sz="600">
                          <a:latin typeface="Nexa Book"/>
                        </a:defRPr>
                      </a:pPr>
                      <a:r>
                        <a:rPr sz="600">
                          <a:latin typeface="Nexa Book"/>
                        </a:rPr>
                        <a:t>17'686</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28%</a:t>
                      </a:r>
                    </a:p>
                  </a:txBody>
                  <a:tcPr marL="2858" marR="2858" marT="2858" marB="0" anchor="ctr">
                    <a:noFill/>
                  </a:tcPr>
                </a:tc>
                <a:tc>
                  <a:txBody>
                    <a:bodyPr/>
                    <a:lstStyle/>
                    <a:p>
                      <a:pPr algn="ctr">
                        <a:defRPr sz="600">
                          <a:latin typeface="Nexa Book"/>
                        </a:defRPr>
                      </a:pPr>
                      <a:r>
                        <a:rPr sz="600">
                          <a:latin typeface="Nexa Book"/>
                        </a:rPr>
                        <a:t>1081</a:t>
                      </a:r>
                    </a:p>
                  </a:txBody>
                  <a:tcPr marL="2858" marR="2858" marT="2858" marB="0" anchor="ctr">
                    <a:noFill/>
                  </a:tcPr>
                </a:tc>
                <a:tc>
                  <a:txBody>
                    <a:bodyPr/>
                    <a:lstStyle/>
                    <a:p>
                      <a:pPr algn="ctr">
                        <a:defRPr sz="600">
                          <a:latin typeface="Nexa Book"/>
                        </a:defRPr>
                      </a:pPr>
                      <a:r>
                        <a:rPr sz="600">
                          <a:latin typeface="Nexa Book"/>
                        </a:rPr>
                        <a:t>3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245846201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8BC4F6D-5EE8-8034-53AD-0E49AE2C0CC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B8BC4F6D-5EE8-8034-53AD-0E49AE2C0CC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17D2688C-259E-4553-8974-97B95EE45DEE}" type="datetime1">
              <a:rPr lang="en-US"/>
              <a:pPr/>
              <a:t>8/18/2025</a:t>
            </a:fld>
            <a:endParaRPr lang="en-US"/>
          </a:p>
        </p:txBody>
      </p:sp>
      <p:sp>
        <p:nvSpPr>
          <p:cNvPr id="12" name="Footer Placeholder 11">
            <a:extLst>
              <a:ext uri="{FF2B5EF4-FFF2-40B4-BE49-F238E27FC236}">
                <a16:creationId xmlns:a16="http://schemas.microsoft.com/office/drawing/2014/main" id="{470AC834-4931-8E51-BADA-9AEDE6C820DB}"/>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78DAE09-5169-5767-CE1B-DB92CBC184BE}"/>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Walmart  |  Disposable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3556"/>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9DC869AC-8CCE-42D7-61B5-4DFA17C0718B}"/>
              </a:ext>
            </a:extLst>
          </p:cNvPr>
          <p:cNvGraphicFramePr>
            <a:graphicFrameLocks noGrp="1"/>
          </p:cNvGraphicFramePr>
          <p:nvPr>
            <p:extLst>
              <p:ext uri="{D42A27DB-BD31-4B8C-83A1-F6EECF244321}">
                <p14:modId xmlns:p14="http://schemas.microsoft.com/office/powerpoint/2010/main" val="3242603753"/>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270110">
                <a:tc>
                  <a:txBody>
                    <a:bodyPr/>
                    <a:lstStyle/>
                    <a:p>
                      <a:pPr algn="l">
                        <a:defRPr sz="600">
                          <a:latin typeface="Nexa Book"/>
                        </a:defRPr>
                      </a:pPr>
                      <a:r>
                        <a:rPr sz="600">
                          <a:latin typeface="Nexa Book"/>
                        </a:rPr>
                        <a:t>Schick</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SCHICK XTREME 3 SENSITIVE GREEN HOLIDAY GIFT PACK 3 BLADE DISPOSABLE SENSITIVE 8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0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0.0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8.9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128'687</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4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7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20533</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6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34%</a:t>
                      </a: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292605199"/>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GREEN 3 BLADE DISPOSABLE SENSITIVE 8CT</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 11.01</a:t>
                      </a:r>
                    </a:p>
                  </a:txBody>
                  <a:tcPr marL="2858" marR="2858" marT="2858" marB="0" anchor="ctr">
                    <a:noFill/>
                  </a:tcPr>
                </a:tc>
                <a:tc>
                  <a:txBody>
                    <a:bodyPr/>
                    <a:lstStyle/>
                    <a:p>
                      <a:pPr algn="ctr">
                        <a:defRPr sz="600">
                          <a:latin typeface="Nexa Book"/>
                        </a:defRPr>
                      </a:pPr>
                      <a:r>
                        <a:rPr sz="600">
                          <a:latin typeface="Nexa Book"/>
                        </a:rPr>
                        <a:t> 9.88</a:t>
                      </a:r>
                    </a:p>
                  </a:txBody>
                  <a:tcPr marL="2858" marR="2858" marT="2858" marB="0" anchor="ctr">
                    <a:noFill/>
                  </a:tcPr>
                </a:tc>
                <a:tc>
                  <a:txBody>
                    <a:bodyPr/>
                    <a:lstStyle/>
                    <a:p>
                      <a:pPr algn="ctr">
                        <a:defRPr sz="600">
                          <a:latin typeface="Nexa Book"/>
                        </a:defRPr>
                      </a:pPr>
                      <a:r>
                        <a:rPr sz="600">
                          <a:latin typeface="Nexa Book"/>
                        </a:rPr>
                        <a:t>350'447</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65%</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BLACK GREEN 3 BLADE DISPOSABLE SENSITIVE 12CT</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 15.03</a:t>
                      </a:r>
                    </a:p>
                  </a:txBody>
                  <a:tcPr marL="2858" marR="2858" marT="2858" marB="0" anchor="ctr">
                    <a:noFill/>
                  </a:tcPr>
                </a:tc>
                <a:tc>
                  <a:txBody>
                    <a:bodyPr/>
                    <a:lstStyle/>
                    <a:p>
                      <a:pPr algn="ctr">
                        <a:defRPr sz="600">
                          <a:latin typeface="Nexa Book"/>
                        </a:defRPr>
                      </a:pPr>
                      <a:r>
                        <a:rPr sz="600">
                          <a:latin typeface="Nexa Book"/>
                        </a:rPr>
                        <a:t> 12.89</a:t>
                      </a:r>
                    </a:p>
                  </a:txBody>
                  <a:tcPr marL="2858" marR="2858" marT="2858" marB="0" anchor="ctr">
                    <a:noFill/>
                  </a:tcPr>
                </a:tc>
                <a:tc>
                  <a:txBody>
                    <a:bodyPr/>
                    <a:lstStyle/>
                    <a:p>
                      <a:pPr algn="ctr">
                        <a:defRPr sz="600">
                          <a:latin typeface="Nexa Book"/>
                        </a:defRPr>
                      </a:pPr>
                      <a:r>
                        <a:rPr sz="600">
                          <a:latin typeface="Nexa Book"/>
                        </a:rPr>
                        <a:t>161'245</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52%</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BLACK 3 BLADE DISPOSABLE SENSITIVE 4CT</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 6.50</a:t>
                      </a:r>
                    </a:p>
                  </a:txBody>
                  <a:tcPr marL="2858" marR="2858" marT="2858" marB="0" anchor="ctr">
                    <a:noFill/>
                  </a:tcPr>
                </a:tc>
                <a:tc>
                  <a:txBody>
                    <a:bodyPr/>
                    <a:lstStyle/>
                    <a:p>
                      <a:pPr algn="ctr">
                        <a:defRPr sz="600">
                          <a:latin typeface="Nexa Book"/>
                        </a:defRPr>
                      </a:pPr>
                      <a:r>
                        <a:rPr sz="600">
                          <a:latin typeface="Nexa Book"/>
                        </a:rPr>
                        <a:t> 6.01</a:t>
                      </a:r>
                    </a:p>
                  </a:txBody>
                  <a:tcPr marL="2858" marR="2858" marT="2858" marB="0" anchor="ctr">
                    <a:noFill/>
                  </a:tcPr>
                </a:tc>
                <a:tc>
                  <a:txBody>
                    <a:bodyPr/>
                    <a:lstStyle/>
                    <a:p>
                      <a:pPr algn="ctr">
                        <a:defRPr sz="600">
                          <a:latin typeface="Nexa Book"/>
                        </a:defRPr>
                      </a:pPr>
                      <a:r>
                        <a:rPr sz="600">
                          <a:latin typeface="Nexa Book"/>
                        </a:rPr>
                        <a:t>287'346</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62%</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2 SENSITIVE 2 BLADE DISPOSABLE NORMAL 12CT</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 6.50</a:t>
                      </a:r>
                    </a:p>
                  </a:txBody>
                  <a:tcPr marL="2858" marR="2858" marT="2858" marB="0" anchor="ctr">
                    <a:noFill/>
                  </a:tcPr>
                </a:tc>
                <a:tc>
                  <a:txBody>
                    <a:bodyPr/>
                    <a:lstStyle/>
                    <a:p>
                      <a:pPr algn="ctr">
                        <a:defRPr sz="600">
                          <a:latin typeface="Nexa Book"/>
                        </a:defRPr>
                      </a:pPr>
                      <a:r>
                        <a:rPr sz="600">
                          <a:latin typeface="Nexa Book"/>
                        </a:rPr>
                        <a:t> 6.06</a:t>
                      </a:r>
                    </a:p>
                  </a:txBody>
                  <a:tcPr marL="2858" marR="2858" marT="2858" marB="0" anchor="ctr">
                    <a:noFill/>
                  </a:tcPr>
                </a:tc>
                <a:tc>
                  <a:txBody>
                    <a:bodyPr/>
                    <a:lstStyle/>
                    <a:p>
                      <a:pPr algn="ctr">
                        <a:defRPr sz="600">
                          <a:latin typeface="Nexa Book"/>
                        </a:defRPr>
                      </a:pPr>
                      <a:r>
                        <a:rPr sz="600">
                          <a:latin typeface="Nexa Book"/>
                        </a:rPr>
                        <a:t>283'39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77%</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ORIGINAL HOLIDAY GIFT PACK 4 BLADE DISPOSABLE 8CT</a:t>
                      </a:r>
                    </a:p>
                  </a:txBody>
                  <a:tcPr marL="2858" marR="2858" marT="2858" marB="0" anchor="ctr">
                    <a:noFill/>
                  </a:tcPr>
                </a:tc>
                <a:tc>
                  <a:txBody>
                    <a:bodyPr/>
                    <a:lstStyle/>
                    <a:p>
                      <a:pPr algn="ctr">
                        <a:defRPr sz="600">
                          <a:latin typeface="Nexa Book"/>
                        </a:defRPr>
                      </a:pPr>
                      <a:r>
                        <a:rPr sz="600">
                          <a:latin typeface="Nexa Book"/>
                        </a:rPr>
                        <a:t>1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0.00</a:t>
                      </a:r>
                    </a:p>
                  </a:txBody>
                  <a:tcPr marL="2858" marR="2858" marT="2858" marB="0" anchor="ctr">
                    <a:noFill/>
                  </a:tcPr>
                </a:tc>
                <a:tc>
                  <a:txBody>
                    <a:bodyPr/>
                    <a:lstStyle/>
                    <a:p>
                      <a:pPr algn="ctr">
                        <a:defRPr sz="600">
                          <a:latin typeface="Nexa Book"/>
                        </a:defRPr>
                      </a:pPr>
                      <a:r>
                        <a:rPr sz="600">
                          <a:latin typeface="Nexa Book"/>
                        </a:rPr>
                        <a:t> 8.50</a:t>
                      </a:r>
                    </a:p>
                  </a:txBody>
                  <a:tcPr marL="2858" marR="2858" marT="2858" marB="0" anchor="ctr">
                    <a:noFill/>
                  </a:tcPr>
                </a:tc>
                <a:tc>
                  <a:txBody>
                    <a:bodyPr/>
                    <a:lstStyle/>
                    <a:p>
                      <a:pPr algn="ctr">
                        <a:defRPr sz="600">
                          <a:latin typeface="Nexa Book"/>
                        </a:defRPr>
                      </a:pPr>
                      <a:r>
                        <a:rPr sz="600">
                          <a:latin typeface="Nexa Book"/>
                        </a:rPr>
                        <a:t>17</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HOLIDAY GIFT PACK 3 BLADE DISPOSABLE NORMAL 8CT</a:t>
                      </a:r>
                    </a:p>
                  </a:txBody>
                  <a:tcPr marL="2858" marR="2858" marT="2858" marB="0" anchor="ctr">
                    <a:noFill/>
                  </a:tcPr>
                </a:tc>
                <a:tc>
                  <a:txBody>
                    <a:bodyPr/>
                    <a:lstStyle/>
                    <a:p>
                      <a:pPr algn="ctr">
                        <a:defRPr sz="600">
                          <a:latin typeface="Nexa Book"/>
                        </a:defRPr>
                      </a:pPr>
                      <a:r>
                        <a:rPr sz="600">
                          <a:latin typeface="Nexa Book"/>
                        </a:rPr>
                        <a:t>30%</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0.00</a:t>
                      </a:r>
                    </a:p>
                  </a:txBody>
                  <a:tcPr marL="2858" marR="2858" marT="2858" marB="0" anchor="ctr">
                    <a:noFill/>
                  </a:tcPr>
                </a:tc>
                <a:tc>
                  <a:txBody>
                    <a:bodyPr/>
                    <a:lstStyle/>
                    <a:p>
                      <a:pPr algn="ctr">
                        <a:defRPr sz="600">
                          <a:latin typeface="Nexa Book"/>
                        </a:defRPr>
                      </a:pPr>
                      <a:r>
                        <a:rPr sz="600">
                          <a:latin typeface="Nexa Book"/>
                        </a:rPr>
                        <a:t> 7.00</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4 OUTLAST 4 BLADE DISPOSABLE NORMAL 3CT</a:t>
                      </a:r>
                    </a:p>
                  </a:txBody>
                  <a:tcPr marL="2858" marR="2858" marT="2858" marB="0" anchor="ctr">
                    <a:noFill/>
                  </a:tcPr>
                </a:tc>
                <a:tc>
                  <a:txBody>
                    <a:bodyPr/>
                    <a:lstStyle/>
                    <a:p>
                      <a:pPr algn="ctr">
                        <a:defRPr sz="600">
                          <a:latin typeface="Nexa Book"/>
                        </a:defRPr>
                      </a:pPr>
                      <a:r>
                        <a:rPr sz="600">
                          <a:latin typeface="Nexa Book"/>
                        </a:rPr>
                        <a:t>86%</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 6.94</a:t>
                      </a:r>
                    </a:p>
                  </a:txBody>
                  <a:tcPr marL="2858" marR="2858" marT="2858" marB="0" anchor="ctr">
                    <a:noFill/>
                  </a:tcPr>
                </a:tc>
                <a:tc>
                  <a:txBody>
                    <a:bodyPr/>
                    <a:lstStyle/>
                    <a:p>
                      <a:pPr algn="ctr">
                        <a:defRPr sz="600">
                          <a:latin typeface="Nexa Book"/>
                        </a:defRPr>
                      </a:pPr>
                      <a:r>
                        <a:rPr sz="600">
                          <a:latin typeface="Nexa Book"/>
                        </a:rPr>
                        <a:t> 1.00</a:t>
                      </a:r>
                    </a:p>
                  </a:txBody>
                  <a:tcPr marL="2858" marR="2858" marT="2858" marB="0" anchor="ctr">
                    <a:noFill/>
                  </a:tcPr>
                </a:tc>
                <a:tc>
                  <a:txBody>
                    <a:bodyPr/>
                    <a:lstStyle/>
                    <a:p>
                      <a:pPr algn="ctr">
                        <a:defRPr sz="600">
                          <a:latin typeface="Nexa Book"/>
                        </a:defRPr>
                      </a:pPr>
                      <a:r>
                        <a:rPr sz="600">
                          <a:latin typeface="Nexa Book"/>
                        </a:rPr>
                        <a:t>1</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HOLIDAY GIFT PACK REM BLADES DISPOSABLE 8CT</a:t>
                      </a:r>
                    </a:p>
                  </a:txBody>
                  <a:tcPr marL="2858" marR="2858" marT="2858" marB="0" anchor="ctr">
                    <a:noFill/>
                  </a:tcPr>
                </a:tc>
                <a:tc>
                  <a:txBody>
                    <a:bodyPr/>
                    <a:lstStyle/>
                    <a:p>
                      <a:pPr algn="ctr">
                        <a:defRPr sz="600">
                          <a:latin typeface="Nexa Book"/>
                        </a:defRPr>
                      </a:pPr>
                      <a:r>
                        <a:rPr sz="600">
                          <a:latin typeface="Nexa Book"/>
                        </a:rPr>
                        <a:t>24%</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1.00</a:t>
                      </a:r>
                    </a:p>
                  </a:txBody>
                  <a:tcPr marL="2858" marR="2858" marT="2858" marB="0" anchor="ctr">
                    <a:noFill/>
                  </a:tcPr>
                </a:tc>
                <a:tc>
                  <a:txBody>
                    <a:bodyPr/>
                    <a:lstStyle/>
                    <a:p>
                      <a:pPr algn="ctr">
                        <a:defRPr sz="600">
                          <a:latin typeface="Nexa Book"/>
                        </a:defRPr>
                      </a:pPr>
                      <a:r>
                        <a:rPr sz="600">
                          <a:latin typeface="Nexa Book"/>
                        </a:rPr>
                        <a:t> 8.33</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DUO COMFORT 3 BLADE DISPOSABLE NORMAL 4CT</a:t>
                      </a:r>
                    </a:p>
                  </a:txBody>
                  <a:tcPr marL="2858" marR="2858" marT="2858" marB="0" anchor="ctr">
                    <a:noFill/>
                  </a:tcPr>
                </a:tc>
                <a:tc>
                  <a:txBody>
                    <a:bodyPr/>
                    <a:lstStyle/>
                    <a:p>
                      <a:pPr algn="ctr">
                        <a:defRPr sz="600">
                          <a:latin typeface="Nexa Book"/>
                        </a:defRPr>
                      </a:pPr>
                      <a:r>
                        <a:rPr sz="600">
                          <a:latin typeface="Nexa Book"/>
                        </a:rPr>
                        <a:t>63%</a:t>
                      </a:r>
                    </a:p>
                  </a:txBody>
                  <a:tcPr marL="2858" marR="2858" marT="2858" marB="0" anchor="ctr">
                    <a:noFill/>
                  </a:tcPr>
                </a:tc>
                <a:tc>
                  <a:txBody>
                    <a:bodyPr/>
                    <a:lstStyle/>
                    <a:p>
                      <a:pPr algn="ctr">
                        <a:defRPr sz="600">
                          <a:latin typeface="Nexa Book"/>
                        </a:defRPr>
                      </a:pPr>
                      <a:r>
                        <a:rPr sz="600">
                          <a:latin typeface="Nexa Book"/>
                        </a:rPr>
                        <a:t>30%</a:t>
                      </a:r>
                    </a:p>
                  </a:txBody>
                  <a:tcPr marL="2858" marR="2858" marT="2858" marB="0" anchor="ctr">
                    <a:noFill/>
                  </a:tcPr>
                </a:tc>
                <a:tc>
                  <a:txBody>
                    <a:bodyPr/>
                    <a:lstStyle/>
                    <a:p>
                      <a:pPr algn="ctr">
                        <a:defRPr sz="600">
                          <a:latin typeface="Nexa Book"/>
                        </a:defRPr>
                      </a:pPr>
                      <a:r>
                        <a:rPr sz="600">
                          <a:latin typeface="Nexa Book"/>
                        </a:rPr>
                        <a:t> 5.86</a:t>
                      </a:r>
                    </a:p>
                  </a:txBody>
                  <a:tcPr marL="2858" marR="2858" marT="2858" marB="0" anchor="ctr">
                    <a:noFill/>
                  </a:tcPr>
                </a:tc>
                <a:tc>
                  <a:txBody>
                    <a:bodyPr/>
                    <a:lstStyle/>
                    <a:p>
                      <a:pPr algn="ctr">
                        <a:defRPr sz="600">
                          <a:latin typeface="Nexa Book"/>
                        </a:defRPr>
                      </a:pPr>
                      <a:r>
                        <a:rPr sz="600">
                          <a:latin typeface="Nexa Book"/>
                        </a:rPr>
                        <a:t> 2.15</a:t>
                      </a:r>
                    </a:p>
                  </a:txBody>
                  <a:tcPr marL="2858" marR="2858" marT="2858" marB="0" anchor="ctr">
                    <a:noFill/>
                  </a:tcPr>
                </a:tc>
                <a:tc>
                  <a:txBody>
                    <a:bodyPr/>
                    <a:lstStyle/>
                    <a:p>
                      <a:pPr algn="ctr">
                        <a:defRPr sz="600">
                          <a:latin typeface="Nexa Book"/>
                        </a:defRPr>
                      </a:pPr>
                      <a:r>
                        <a:rPr sz="600">
                          <a:latin typeface="Nexa Book"/>
                        </a:rPr>
                        <a:t>28</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19</a:t>
                      </a:r>
                    </a:p>
                  </a:txBody>
                  <a:tcPr marL="2858" marR="2858" marT="2858" marB="0" anchor="ctr">
                    <a:noFill/>
                  </a:tcPr>
                </a:tc>
                <a:tc>
                  <a:txBody>
                    <a:bodyPr/>
                    <a:lstStyle/>
                    <a:p>
                      <a:pPr algn="ctr">
                        <a:defRPr sz="600">
                          <a:latin typeface="Nexa Book"/>
                        </a:defRPr>
                      </a:pPr>
                      <a:r>
                        <a:rPr sz="600">
                          <a:latin typeface="Nexa Book"/>
                        </a:rPr>
                        <a:t>-39%</a:t>
                      </a:r>
                    </a:p>
                  </a:txBody>
                  <a:tcPr marL="2858" marR="2858" marT="2858" marB="0" anchor="ctr">
                    <a:noFill/>
                  </a:tcPr>
                </a:tc>
                <a:tc>
                  <a:txBody>
                    <a:bodyPr/>
                    <a:lstStyle/>
                    <a:p>
                      <a:pPr algn="ctr">
                        <a:defRPr sz="600">
                          <a:latin typeface="Nexa Book"/>
                        </a:defRPr>
                      </a:pPr>
                      <a:r>
                        <a:rPr sz="600">
                          <a:latin typeface="Nexa Book"/>
                        </a:rPr>
                        <a:t>62%</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3 BLADE DISPOSABLE SENSITIVE 1CT</a:t>
                      </a:r>
                    </a:p>
                  </a:txBody>
                  <a:tcPr marL="2858" marR="2858" marT="2858" marB="0" anchor="ctr">
                    <a:noFill/>
                  </a:tcPr>
                </a:tc>
                <a:tc>
                  <a:txBody>
                    <a:bodyPr/>
                    <a:lstStyle/>
                    <a:p>
                      <a:pPr algn="ctr">
                        <a:defRPr sz="600">
                          <a:latin typeface="Nexa Book"/>
                        </a:defRPr>
                      </a:pPr>
                      <a:r>
                        <a:rPr sz="600">
                          <a:latin typeface="Nexa Book"/>
                        </a:rPr>
                        <a:t>45%</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 1.16</a:t>
                      </a:r>
                    </a:p>
                  </a:txBody>
                  <a:tcPr marL="2858" marR="2858" marT="2858" marB="0" anchor="ctr">
                    <a:noFill/>
                  </a:tcPr>
                </a:tc>
                <a:tc>
                  <a:txBody>
                    <a:bodyPr/>
                    <a:lstStyle/>
                    <a:p>
                      <a:pPr algn="ctr">
                        <a:defRPr sz="600">
                          <a:latin typeface="Nexa Book"/>
                        </a:defRPr>
                      </a:pPr>
                      <a:r>
                        <a:rPr sz="600">
                          <a:latin typeface="Nexa Book"/>
                        </a:rPr>
                        <a:t> 0.60</a:t>
                      </a:r>
                    </a:p>
                  </a:txBody>
                  <a:tcPr marL="2858" marR="2858" marT="2858" marB="0" anchor="ctr">
                    <a:noFill/>
                  </a:tcPr>
                </a:tc>
                <a:tc>
                  <a:txBody>
                    <a:bodyPr/>
                    <a:lstStyle/>
                    <a:p>
                      <a:pPr algn="ctr">
                        <a:defRPr sz="600">
                          <a:latin typeface="Nexa Book"/>
                        </a:defRPr>
                      </a:pPr>
                      <a:r>
                        <a:rPr sz="600">
                          <a:latin typeface="Nexa Book"/>
                        </a:rPr>
                        <a:t>7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7</a:t>
                      </a:r>
                    </a:p>
                  </a:txBody>
                  <a:tcPr marL="2858" marR="2858" marT="2858" marB="0" anchor="ctr">
                    <a:noFill/>
                  </a:tcPr>
                </a:tc>
                <a:tc>
                  <a:txBody>
                    <a:bodyPr/>
                    <a:lstStyle/>
                    <a:p>
                      <a:pPr algn="ctr">
                        <a:defRPr sz="600">
                          <a:latin typeface="Nexa Book"/>
                        </a:defRPr>
                      </a:pPr>
                      <a:r>
                        <a:rPr sz="600">
                          <a:latin typeface="Nexa Book"/>
                        </a:rPr>
                        <a:t>-64%</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HOLIDAY GIFT PACK 3 BLADE DISPOSABLE SENSITIVE 6CT</a:t>
                      </a:r>
                    </a:p>
                  </a:txBody>
                  <a:tcPr marL="2858" marR="2858" marT="2858" marB="0" anchor="ctr">
                    <a:noFill/>
                  </a:tcPr>
                </a:tc>
                <a:tc>
                  <a:txBody>
                    <a:bodyPr/>
                    <a:lstStyle/>
                    <a:p>
                      <a:pPr algn="ctr">
                        <a:defRPr sz="600">
                          <a:latin typeface="Nexa Book"/>
                        </a:defRPr>
                      </a:pPr>
                      <a:r>
                        <a:rPr sz="600">
                          <a:latin typeface="Nexa Book"/>
                        </a:rPr>
                        <a:t>23%</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6.65</a:t>
                      </a:r>
                    </a:p>
                  </a:txBody>
                  <a:tcPr marL="2858" marR="2858" marT="2858" marB="0" anchor="ctr">
                    <a:noFill/>
                  </a:tcPr>
                </a:tc>
                <a:tc>
                  <a:txBody>
                    <a:bodyPr/>
                    <a:lstStyle/>
                    <a:p>
                      <a:pPr algn="ctr">
                        <a:defRPr sz="600">
                          <a:latin typeface="Nexa Book"/>
                        </a:defRPr>
                      </a:pPr>
                      <a:r>
                        <a:rPr sz="600">
                          <a:latin typeface="Nexa Book"/>
                        </a:rPr>
                        <a:t> 5.10</a:t>
                      </a:r>
                    </a:p>
                  </a:txBody>
                  <a:tcPr marL="2858" marR="2858" marT="2858" marB="0" anchor="ctr">
                    <a:noFill/>
                  </a:tcPr>
                </a:tc>
                <a:tc>
                  <a:txBody>
                    <a:bodyPr/>
                    <a:lstStyle/>
                    <a:p>
                      <a:pPr algn="ctr">
                        <a:defRPr sz="600">
                          <a:latin typeface="Nexa Book"/>
                        </a:defRPr>
                      </a:pPr>
                      <a:r>
                        <a:rPr sz="600">
                          <a:latin typeface="Nexa Book"/>
                        </a:rPr>
                        <a:t>158</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46</a:t>
                      </a:r>
                    </a:p>
                  </a:txBody>
                  <a:tcPr marL="2858" marR="2858" marT="2858" marB="0" anchor="ctr">
                    <a:noFill/>
                  </a:tcPr>
                </a:tc>
                <a:tc>
                  <a:txBody>
                    <a:bodyPr/>
                    <a:lstStyle/>
                    <a:p>
                      <a:pPr algn="ctr">
                        <a:defRPr sz="600">
                          <a:latin typeface="Nexa Book"/>
                        </a:defRPr>
                      </a:pPr>
                      <a:r>
                        <a:rPr sz="600">
                          <a:latin typeface="Nexa Book"/>
                        </a:rPr>
                        <a:t>-96%</a:t>
                      </a:r>
                    </a:p>
                  </a:txBody>
                  <a:tcPr marL="2858" marR="2858" marT="2858" marB="0" anchor="ctr">
                    <a:noFill/>
                  </a:tcPr>
                </a:tc>
                <a:tc>
                  <a:txBody>
                    <a:bodyPr/>
                    <a:lstStyle/>
                    <a:p>
                      <a:pPr algn="ctr">
                        <a:defRPr sz="600">
                          <a:latin typeface="Nexa Book"/>
                        </a:defRPr>
                      </a:pPr>
                      <a:r>
                        <a:rPr sz="600">
                          <a:latin typeface="Nexa Book"/>
                        </a:rPr>
                        <a:t>23%</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425409665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8BC4F6D-5EE8-8034-53AD-0E49AE2C0CC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B8BC4F6D-5EE8-8034-53AD-0E49AE2C0CC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17D2688C-259E-4553-8974-97B95EE45DEE}" type="datetime1">
              <a:rPr lang="en-US"/>
              <a:pPr/>
              <a:t>8/18/2025</a:t>
            </a:fld>
            <a:endParaRPr lang="en-US"/>
          </a:p>
        </p:txBody>
      </p:sp>
      <p:sp>
        <p:nvSpPr>
          <p:cNvPr id="12" name="Footer Placeholder 11">
            <a:extLst>
              <a:ext uri="{FF2B5EF4-FFF2-40B4-BE49-F238E27FC236}">
                <a16:creationId xmlns:a16="http://schemas.microsoft.com/office/drawing/2014/main" id="{470AC834-4931-8E51-BADA-9AEDE6C820DB}"/>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78DAE09-5169-5767-CE1B-DB92CBC184BE}"/>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Bj's And Sam's  |  Razor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3556"/>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9DC869AC-8CCE-42D7-61B5-4DFA17C0718B}"/>
              </a:ext>
            </a:extLst>
          </p:cNvPr>
          <p:cNvGraphicFramePr>
            <a:graphicFrameLocks noGrp="1"/>
          </p:cNvGraphicFramePr>
          <p:nvPr>
            <p:extLst>
              <p:ext uri="{D42A27DB-BD31-4B8C-83A1-F6EECF244321}">
                <p14:modId xmlns:p14="http://schemas.microsoft.com/office/powerpoint/2010/main" val="3242603753"/>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3241320">
                <a:tc>
                  <a:txBody>
                    <a:bodyPr/>
                    <a:lstStyle/>
                    <a:p>
                      <a:pPr algn="l">
                        <a:defRPr sz="600">
                          <a:latin typeface="Nexa Book"/>
                        </a:defRPr>
                      </a:pPr>
                      <a:r>
                        <a:rPr sz="600">
                          <a:latin typeface="Nexa Book"/>
                        </a:rPr>
                        <a:t>Cremo</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CREMO HERITAGE BLACK HOLIDAY GIFT PACK REM BLADES RAZOR 5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3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0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4.3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8.8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30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8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9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197325042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8BC4F6D-5EE8-8034-53AD-0E49AE2C0CC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B8BC4F6D-5EE8-8034-53AD-0E49AE2C0CC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17D2688C-259E-4553-8974-97B95EE45DEE}" type="datetime1">
              <a:rPr lang="en-US"/>
              <a:pPr/>
              <a:t>8/18/2025</a:t>
            </a:fld>
            <a:endParaRPr lang="en-US"/>
          </a:p>
        </p:txBody>
      </p:sp>
      <p:sp>
        <p:nvSpPr>
          <p:cNvPr id="12" name="Footer Placeholder 11">
            <a:extLst>
              <a:ext uri="{FF2B5EF4-FFF2-40B4-BE49-F238E27FC236}">
                <a16:creationId xmlns:a16="http://schemas.microsoft.com/office/drawing/2014/main" id="{470AC834-4931-8E51-BADA-9AEDE6C820DB}"/>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78DAE09-5169-5767-CE1B-DB92CBC184BE}"/>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Walmart  |  Razor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3556"/>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9DC869AC-8CCE-42D7-61B5-4DFA17C0718B}"/>
              </a:ext>
            </a:extLst>
          </p:cNvPr>
          <p:cNvGraphicFramePr>
            <a:graphicFrameLocks noGrp="1"/>
          </p:cNvGraphicFramePr>
          <p:nvPr>
            <p:extLst>
              <p:ext uri="{D42A27DB-BD31-4B8C-83A1-F6EECF244321}">
                <p14:modId xmlns:p14="http://schemas.microsoft.com/office/powerpoint/2010/main" val="3242603753"/>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324132">
                <a:tc>
                  <a:txBody>
                    <a:bodyPr/>
                    <a:lstStyle/>
                    <a:p>
                      <a:pPr algn="l">
                        <a:defRPr sz="600">
                          <a:latin typeface="Nexa Book"/>
                        </a:defRPr>
                      </a:pPr>
                      <a:r>
                        <a:rPr sz="600">
                          <a:latin typeface="Nexa Book"/>
                        </a:rPr>
                        <a:t>Schick</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HYDRO 5 SENSITIVE GRAY HOLIDAY GIFT PACK 5 BLADE RAZOR SENSITIVE 3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4%</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0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0.0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8.5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356'20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8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3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39197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7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5%</a:t>
                      </a: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104603477"/>
                  </a:ext>
                </a:extLst>
              </a:tr>
              <a:tr h="32413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5 BLADE RAZOR SENSITIVE 3CT</a:t>
                      </a:r>
                    </a:p>
                  </a:txBody>
                  <a:tcPr marL="2858" marR="2858" marT="2858" marB="0" anchor="ctr">
                    <a:noFill/>
                  </a:tcPr>
                </a:tc>
                <a:tc>
                  <a:txBody>
                    <a:bodyPr/>
                    <a:lstStyle/>
                    <a:p>
                      <a:pPr algn="ctr">
                        <a:defRPr sz="600">
                          <a:latin typeface="Nexa Book"/>
                        </a:defRPr>
                      </a:pPr>
                      <a:r>
                        <a:rPr sz="600">
                          <a:latin typeface="Nexa Book"/>
                        </a:rPr>
                        <a:t>12%</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 9.96</a:t>
                      </a:r>
                    </a:p>
                  </a:txBody>
                  <a:tcPr marL="2858" marR="2858" marT="2858" marB="0" anchor="ctr">
                    <a:noFill/>
                  </a:tcPr>
                </a:tc>
                <a:tc>
                  <a:txBody>
                    <a:bodyPr/>
                    <a:lstStyle/>
                    <a:p>
                      <a:pPr algn="ctr">
                        <a:defRPr sz="600">
                          <a:latin typeface="Nexa Book"/>
                        </a:defRPr>
                      </a:pPr>
                      <a:r>
                        <a:rPr sz="600">
                          <a:latin typeface="Nexa Book"/>
                        </a:rPr>
                        <a:t> 8.72</a:t>
                      </a:r>
                    </a:p>
                  </a:txBody>
                  <a:tcPr marL="2858" marR="2858" marT="2858" marB="0" anchor="ctr">
                    <a:noFill/>
                  </a:tcPr>
                </a:tc>
                <a:tc>
                  <a:txBody>
                    <a:bodyPr/>
                    <a:lstStyle/>
                    <a:p>
                      <a:pPr algn="ctr">
                        <a:defRPr sz="600">
                          <a:latin typeface="Nexa Book"/>
                        </a:defRPr>
                      </a:pPr>
                      <a:r>
                        <a:rPr sz="600">
                          <a:latin typeface="Nexa Book"/>
                        </a:rPr>
                        <a:t>306'489</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53%</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32413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5 BLADE RAZOR SENSITIVE 3CT</a:t>
                      </a:r>
                    </a:p>
                  </a:txBody>
                  <a:tcPr marL="2858" marR="2858" marT="2858" marB="0" anchor="ctr">
                    <a:noFill/>
                  </a:tcPr>
                </a:tc>
                <a:tc>
                  <a:txBody>
                    <a:bodyPr/>
                    <a:lstStyle/>
                    <a:p>
                      <a:pPr algn="ctr">
                        <a:defRPr sz="600">
                          <a:latin typeface="Nexa Book"/>
                        </a:defRPr>
                      </a:pPr>
                      <a:r>
                        <a:rPr sz="600">
                          <a:latin typeface="Nexa Book"/>
                        </a:rPr>
                        <a:t>57%</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7.00</a:t>
                      </a:r>
                    </a:p>
                  </a:txBody>
                  <a:tcPr marL="2858" marR="2858" marT="2858" marB="0" anchor="ctr">
                    <a:noFill/>
                  </a:tcPr>
                </a:tc>
                <a:tc>
                  <a:txBody>
                    <a:bodyPr/>
                    <a:lstStyle/>
                    <a:p>
                      <a:pPr algn="ctr">
                        <a:defRPr sz="600">
                          <a:latin typeface="Nexa Book"/>
                        </a:defRPr>
                      </a:pPr>
                      <a:r>
                        <a:rPr sz="600">
                          <a:latin typeface="Nexa Book"/>
                        </a:rPr>
                        <a:t> 3.00</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4</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32413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HOLIDAY GIFT PACK REM BLADES RAZOR SENSITIVE 2CT</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0.00</a:t>
                      </a:r>
                    </a:p>
                  </a:txBody>
                  <a:tcPr marL="2858" marR="2858" marT="2858" marB="0" anchor="ctr">
                    <a:noFill/>
                  </a:tcPr>
                </a:tc>
                <a:tc>
                  <a:txBody>
                    <a:bodyPr/>
                    <a:lstStyle/>
                    <a:p>
                      <a:pPr algn="ctr">
                        <a:defRPr sz="600">
                          <a:latin typeface="Nexa Book"/>
                        </a:defRPr>
                      </a:pPr>
                      <a:r>
                        <a:rPr sz="600">
                          <a:latin typeface="Nexa Book"/>
                        </a:rPr>
                        <a:t> 7.50</a:t>
                      </a:r>
                    </a:p>
                  </a:txBody>
                  <a:tcPr marL="2858" marR="2858" marT="2858" marB="0" anchor="ctr">
                    <a:noFill/>
                  </a:tcPr>
                </a:tc>
                <a:tc>
                  <a:txBody>
                    <a:bodyPr/>
                    <a:lstStyle/>
                    <a:p>
                      <a:pPr algn="ctr">
                        <a:defRPr sz="600">
                          <a:latin typeface="Nexa Book"/>
                        </a:defRPr>
                      </a:pPr>
                      <a:r>
                        <a:rPr sz="600">
                          <a:latin typeface="Nexa Book"/>
                        </a:rPr>
                        <a:t>15</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324132">
                <a:tc>
                  <a:txBody>
                    <a:bodyPr/>
                    <a:lstStyle/>
                    <a:p>
                      <a:pPr algn="l">
                        <a:defRPr sz="600">
                          <a:latin typeface="Nexa Book"/>
                        </a:defRPr>
                      </a:pPr>
                      <a:r>
                        <a:rPr sz="600">
                          <a:latin typeface="Nexa Book"/>
                        </a:rPr>
                        <a:t>Equate</a:t>
                      </a:r>
                    </a:p>
                  </a:txBody>
                  <a:tcPr marL="2858" marR="2858" marT="2858" marB="0" anchor="ctr">
                    <a:noFill/>
                  </a:tcPr>
                </a:tc>
                <a:tc>
                  <a:txBody>
                    <a:bodyPr/>
                    <a:lstStyle/>
                    <a:p>
                      <a:pPr algn="l">
                        <a:defRPr sz="600">
                          <a:latin typeface="Nexa Book"/>
                        </a:defRPr>
                      </a:pPr>
                      <a:r>
                        <a:rPr sz="600">
                          <a:latin typeface="Nexa Book"/>
                        </a:rPr>
                        <a:t>EQUATE CALIBER 5 BLACK 5 BLADE RAZOR NORMAL 2CT</a:t>
                      </a:r>
                    </a:p>
                  </a:txBody>
                  <a:tcPr marL="2858" marR="2858" marT="2858" marB="0" anchor="ctr">
                    <a:noFill/>
                  </a:tcPr>
                </a:tc>
                <a:tc>
                  <a:txBody>
                    <a:bodyPr/>
                    <a:lstStyle/>
                    <a:p>
                      <a:pPr algn="ctr">
                        <a:defRPr sz="600">
                          <a:latin typeface="Nexa Book"/>
                        </a:defRPr>
                      </a:pPr>
                      <a:r>
                        <a:rPr sz="600">
                          <a:latin typeface="Nexa Book"/>
                        </a:rPr>
                        <a:t>60%</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 5.15</a:t>
                      </a:r>
                    </a:p>
                  </a:txBody>
                  <a:tcPr marL="2858" marR="2858" marT="2858" marB="0" anchor="ctr">
                    <a:noFill/>
                  </a:tcPr>
                </a:tc>
                <a:tc>
                  <a:txBody>
                    <a:bodyPr/>
                    <a:lstStyle/>
                    <a:p>
                      <a:pPr algn="ctr">
                        <a:defRPr sz="600">
                          <a:latin typeface="Nexa Book"/>
                        </a:defRPr>
                      </a:pPr>
                      <a:r>
                        <a:rPr sz="600">
                          <a:latin typeface="Nexa Book"/>
                        </a:rPr>
                        <a:t> 2.00</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32413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HOLIDAY GIFT PACK REM BLADES RAZOR SENSITIVE 3CT</a:t>
                      </a:r>
                    </a:p>
                  </a:txBody>
                  <a:tcPr marL="2858" marR="2858" marT="2858" marB="0" anchor="ctr">
                    <a:noFill/>
                  </a:tcPr>
                </a:tc>
                <a:tc>
                  <a:txBody>
                    <a:bodyPr/>
                    <a:lstStyle/>
                    <a:p>
                      <a:pPr algn="ctr">
                        <a:defRPr sz="600">
                          <a:latin typeface="Nexa Book"/>
                        </a:defRPr>
                      </a:pPr>
                      <a:r>
                        <a:rPr sz="600">
                          <a:latin typeface="Nexa Book"/>
                        </a:rPr>
                        <a:t>29%</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7.64</a:t>
                      </a:r>
                    </a:p>
                  </a:txBody>
                  <a:tcPr marL="2858" marR="2858" marT="2858" marB="0" anchor="ctr">
                    <a:noFill/>
                  </a:tcPr>
                </a:tc>
                <a:tc>
                  <a:txBody>
                    <a:bodyPr/>
                    <a:lstStyle/>
                    <a:p>
                      <a:pPr algn="ctr">
                        <a:defRPr sz="600">
                          <a:latin typeface="Nexa Book"/>
                        </a:defRPr>
                      </a:pPr>
                      <a:r>
                        <a:rPr sz="600">
                          <a:latin typeface="Nexa Book"/>
                        </a:rPr>
                        <a:t> 5.45</a:t>
                      </a:r>
                    </a:p>
                  </a:txBody>
                  <a:tcPr marL="2858" marR="2858" marT="2858" marB="0" anchor="ctr">
                    <a:noFill/>
                  </a:tcPr>
                </a:tc>
                <a:tc>
                  <a:txBody>
                    <a:bodyPr/>
                    <a:lstStyle/>
                    <a:p>
                      <a:pPr algn="ctr">
                        <a:defRPr sz="600">
                          <a:latin typeface="Nexa Book"/>
                        </a:defRPr>
                      </a:pPr>
                      <a:r>
                        <a:rPr sz="600">
                          <a:latin typeface="Nexa Book"/>
                        </a:rPr>
                        <a:t>12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48</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19%</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324132">
                <a:tc>
                  <a:txBody>
                    <a:bodyPr/>
                    <a:lstStyle/>
                    <a:p>
                      <a:pPr algn="l">
                        <a:defRPr sz="600">
                          <a:latin typeface="Nexa Book"/>
                        </a:defRPr>
                      </a:pPr>
                      <a:r>
                        <a:rPr sz="600">
                          <a:latin typeface="Nexa Book"/>
                        </a:rPr>
                        <a:t>Cremo</a:t>
                      </a:r>
                    </a:p>
                  </a:txBody>
                  <a:tcPr marL="2858" marR="2858" marT="2858" marB="0" anchor="ctr">
                    <a:noFill/>
                  </a:tcPr>
                </a:tc>
                <a:tc>
                  <a:txBody>
                    <a:bodyPr/>
                    <a:lstStyle/>
                    <a:p>
                      <a:pPr algn="l">
                        <a:defRPr sz="600">
                          <a:latin typeface="Nexa Book"/>
                        </a:defRPr>
                      </a:pPr>
                      <a:r>
                        <a:rPr sz="600">
                          <a:latin typeface="Nexa Book"/>
                        </a:rPr>
                        <a:t>CREMO HERITAGE RED HOLIDAY GIFT PACK REM BLADES RAZOR 2CT</a:t>
                      </a:r>
                    </a:p>
                  </a:txBody>
                  <a:tcPr marL="2858" marR="2858" marT="2858" marB="0" anchor="ctr">
                    <a:noFill/>
                  </a:tcPr>
                </a:tc>
                <a:tc>
                  <a:txBody>
                    <a:bodyPr/>
                    <a:lstStyle/>
                    <a:p>
                      <a:pPr algn="ctr">
                        <a:defRPr sz="600">
                          <a:latin typeface="Nexa Book"/>
                        </a:defRPr>
                      </a:pPr>
                      <a:r>
                        <a:rPr sz="600">
                          <a:latin typeface="Nexa Book"/>
                        </a:rPr>
                        <a:t>26%</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6.73</a:t>
                      </a:r>
                    </a:p>
                  </a:txBody>
                  <a:tcPr marL="2858" marR="2858" marT="2858" marB="0" anchor="ctr">
                    <a:noFill/>
                  </a:tcPr>
                </a:tc>
                <a:tc>
                  <a:txBody>
                    <a:bodyPr/>
                    <a:lstStyle/>
                    <a:p>
                      <a:pPr algn="ctr">
                        <a:defRPr sz="600">
                          <a:latin typeface="Nexa Book"/>
                        </a:defRPr>
                      </a:pPr>
                      <a:r>
                        <a:rPr sz="600">
                          <a:latin typeface="Nexa Book"/>
                        </a:rPr>
                        <a:t> 4.98</a:t>
                      </a:r>
                    </a:p>
                  </a:txBody>
                  <a:tcPr marL="2858" marR="2858" marT="2858" marB="0" anchor="ctr">
                    <a:noFill/>
                  </a:tcPr>
                </a:tc>
                <a:tc>
                  <a:txBody>
                    <a:bodyPr/>
                    <a:lstStyle/>
                    <a:p>
                      <a:pPr algn="ctr">
                        <a:defRPr sz="600">
                          <a:latin typeface="Nexa Book"/>
                        </a:defRPr>
                      </a:pPr>
                      <a:r>
                        <a:rPr sz="600">
                          <a:latin typeface="Nexa Book"/>
                        </a:rPr>
                        <a:t>259</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84</a:t>
                      </a:r>
                    </a:p>
                  </a:txBody>
                  <a:tcPr marL="2858" marR="2858" marT="2858" marB="0" anchor="ctr">
                    <a:noFill/>
                  </a:tcPr>
                </a:tc>
                <a:tc>
                  <a:txBody>
                    <a:bodyPr/>
                    <a:lstStyle/>
                    <a:p>
                      <a:pPr algn="ctr">
                        <a:defRPr sz="600">
                          <a:latin typeface="Nexa Book"/>
                        </a:defRPr>
                      </a:pPr>
                      <a:r>
                        <a:rPr sz="600">
                          <a:latin typeface="Nexa Book"/>
                        </a:rPr>
                        <a:t>-92%</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32413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DRY SKIN 5 BLADE RAZOR DRY 2CT</a:t>
                      </a:r>
                    </a:p>
                  </a:txBody>
                  <a:tcPr marL="2858" marR="2858" marT="2858" marB="0" anchor="ctr">
                    <a:noFill/>
                  </a:tcPr>
                </a:tc>
                <a:tc>
                  <a:txBody>
                    <a:bodyPr/>
                    <a:lstStyle/>
                    <a:p>
                      <a:pPr algn="ctr">
                        <a:defRPr sz="600">
                          <a:latin typeface="Nexa Book"/>
                        </a:defRPr>
                      </a:pPr>
                      <a:r>
                        <a:rPr sz="600">
                          <a:latin typeface="Nexa Book"/>
                        </a:rPr>
                        <a:t>50%</a:t>
                      </a:r>
                    </a:p>
                  </a:txBody>
                  <a:tcPr marL="2858" marR="2858" marT="2858" marB="0" anchor="ctr">
                    <a:noFill/>
                  </a:tcPr>
                </a:tc>
                <a:tc>
                  <a:txBody>
                    <a:bodyPr/>
                    <a:lstStyle/>
                    <a:p>
                      <a:pPr algn="ctr">
                        <a:defRPr sz="600">
                          <a:latin typeface="Nexa Book"/>
                        </a:defRPr>
                      </a:pPr>
                      <a:r>
                        <a:rPr sz="600">
                          <a:latin typeface="Nexa Book"/>
                        </a:rPr>
                        <a:t>34%</a:t>
                      </a:r>
                    </a:p>
                  </a:txBody>
                  <a:tcPr marL="2858" marR="2858" marT="2858" marB="0" anchor="ctr">
                    <a:noFill/>
                  </a:tcPr>
                </a:tc>
                <a:tc>
                  <a:txBody>
                    <a:bodyPr/>
                    <a:lstStyle/>
                    <a:p>
                      <a:pPr algn="ctr">
                        <a:defRPr sz="600">
                          <a:latin typeface="Nexa Book"/>
                        </a:defRPr>
                      </a:pPr>
                      <a:r>
                        <a:rPr sz="600">
                          <a:latin typeface="Nexa Book"/>
                        </a:rPr>
                        <a:t> 9.60</a:t>
                      </a:r>
                    </a:p>
                  </a:txBody>
                  <a:tcPr marL="2858" marR="2858" marT="2858" marB="0" anchor="ctr">
                    <a:noFill/>
                  </a:tcPr>
                </a:tc>
                <a:tc>
                  <a:txBody>
                    <a:bodyPr/>
                    <a:lstStyle/>
                    <a:p>
                      <a:pPr algn="ctr">
                        <a:defRPr sz="600">
                          <a:latin typeface="Nexa Book"/>
                        </a:defRPr>
                      </a:pPr>
                      <a:r>
                        <a:rPr sz="600">
                          <a:latin typeface="Nexa Book"/>
                        </a:rPr>
                        <a:t> 4.65</a:t>
                      </a:r>
                    </a:p>
                  </a:txBody>
                  <a:tcPr marL="2858" marR="2858" marT="2858" marB="0" anchor="ctr">
                    <a:noFill/>
                  </a:tcPr>
                </a:tc>
                <a:tc>
                  <a:txBody>
                    <a:bodyPr/>
                    <a:lstStyle/>
                    <a:p>
                      <a:pPr algn="ctr">
                        <a:defRPr sz="600">
                          <a:latin typeface="Nexa Book"/>
                        </a:defRPr>
                      </a:pPr>
                      <a:r>
                        <a:rPr sz="600">
                          <a:latin typeface="Nexa Book"/>
                        </a:rPr>
                        <a:t>344</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90</a:t>
                      </a:r>
                    </a:p>
                  </a:txBody>
                  <a:tcPr marL="2858" marR="2858" marT="2858" marB="0" anchor="ctr">
                    <a:noFill/>
                  </a:tcPr>
                </a:tc>
                <a:tc>
                  <a:txBody>
                    <a:bodyPr/>
                    <a:lstStyle/>
                    <a:p>
                      <a:pPr algn="ctr">
                        <a:defRPr sz="600">
                          <a:latin typeface="Nexa Book"/>
                        </a:defRPr>
                      </a:pPr>
                      <a:r>
                        <a:rPr sz="600">
                          <a:latin typeface="Nexa Book"/>
                        </a:rPr>
                        <a:t>-26%</a:t>
                      </a:r>
                    </a:p>
                  </a:txBody>
                  <a:tcPr marL="2858" marR="2858" marT="2858" marB="0" anchor="ctr">
                    <a:noFill/>
                  </a:tcPr>
                </a:tc>
                <a:tc>
                  <a:txBody>
                    <a:bodyPr/>
                    <a:lstStyle/>
                    <a:p>
                      <a:pPr algn="ctr">
                        <a:defRPr sz="600">
                          <a:latin typeface="Nexa Book"/>
                        </a:defRPr>
                      </a:pPr>
                      <a:r>
                        <a:rPr sz="600">
                          <a:latin typeface="Nexa Book"/>
                        </a:rPr>
                        <a:t>56%</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324132">
                <a:tc>
                  <a:txBody>
                    <a:bodyPr/>
                    <a:lstStyle/>
                    <a:p>
                      <a:pPr algn="l">
                        <a:defRPr sz="600">
                          <a:latin typeface="Nexa Book"/>
                        </a:defRPr>
                      </a:pPr>
                      <a:r>
                        <a:rPr sz="600">
                          <a:latin typeface="Nexa Book"/>
                        </a:rPr>
                        <a:t>Cremo</a:t>
                      </a:r>
                    </a:p>
                  </a:txBody>
                  <a:tcPr marL="2858" marR="2858" marT="2858" marB="0" anchor="ctr">
                    <a:noFill/>
                  </a:tcPr>
                </a:tc>
                <a:tc>
                  <a:txBody>
                    <a:bodyPr/>
                    <a:lstStyle/>
                    <a:p>
                      <a:pPr algn="l">
                        <a:defRPr sz="600">
                          <a:latin typeface="Nexa Book"/>
                        </a:defRPr>
                      </a:pPr>
                      <a:r>
                        <a:rPr sz="600">
                          <a:latin typeface="Nexa Book"/>
                        </a:rPr>
                        <a:t>CREMO HOLIDAY GIFT PACK 5 BLADE RAZOR 2CT</a:t>
                      </a:r>
                    </a:p>
                  </a:txBody>
                  <a:tcPr marL="2858" marR="2858" marT="2858" marB="0" anchor="ctr">
                    <a:noFill/>
                  </a:tcPr>
                </a:tc>
                <a:tc>
                  <a:txBody>
                    <a:bodyPr/>
                    <a:lstStyle/>
                    <a:p>
                      <a:pPr algn="ctr">
                        <a:defRPr sz="600">
                          <a:latin typeface="Nexa Book"/>
                        </a:defRPr>
                      </a:pPr>
                      <a:r>
                        <a:rPr sz="600">
                          <a:latin typeface="Nexa Book"/>
                        </a:rPr>
                        <a:t>38%</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9.08</a:t>
                      </a:r>
                    </a:p>
                  </a:txBody>
                  <a:tcPr marL="2858" marR="2858" marT="2858" marB="0" anchor="ctr">
                    <a:noFill/>
                  </a:tcPr>
                </a:tc>
                <a:tc>
                  <a:txBody>
                    <a:bodyPr/>
                    <a:lstStyle/>
                    <a:p>
                      <a:pPr algn="ctr">
                        <a:defRPr sz="600">
                          <a:latin typeface="Nexa Book"/>
                        </a:defRPr>
                      </a:pPr>
                      <a:r>
                        <a:rPr sz="600">
                          <a:latin typeface="Nexa Book"/>
                        </a:rPr>
                        <a:t> 5.62</a:t>
                      </a:r>
                    </a:p>
                  </a:txBody>
                  <a:tcPr marL="2858" marR="2858" marT="2858" marB="0" anchor="ctr">
                    <a:noFill/>
                  </a:tcPr>
                </a:tc>
                <a:tc>
                  <a:txBody>
                    <a:bodyPr/>
                    <a:lstStyle/>
                    <a:p>
                      <a:pPr algn="ctr">
                        <a:defRPr sz="600">
                          <a:latin typeface="Nexa Book"/>
                        </a:defRPr>
                      </a:pPr>
                      <a:r>
                        <a:rPr sz="600">
                          <a:latin typeface="Nexa Book"/>
                        </a:rPr>
                        <a:t>219</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13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32413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HYDRO 3 SENSITIVE 3 BLADE RAZOR SENSITIVE 4CT</a:t>
                      </a:r>
                    </a:p>
                  </a:txBody>
                  <a:tcPr marL="2858" marR="2858" marT="2858" marB="0" anchor="ctr">
                    <a:noFill/>
                  </a:tcPr>
                </a:tc>
                <a:tc>
                  <a:txBody>
                    <a:bodyPr/>
                    <a:lstStyle/>
                    <a:p>
                      <a:pPr algn="ctr">
                        <a:defRPr sz="600">
                          <a:latin typeface="Nexa Book"/>
                        </a:defRPr>
                      </a:pPr>
                      <a:r>
                        <a:rPr sz="600">
                          <a:latin typeface="Nexa Book"/>
                        </a:rPr>
                        <a:t>42%</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 9.97</a:t>
                      </a:r>
                    </a:p>
                  </a:txBody>
                  <a:tcPr marL="2858" marR="2858" marT="2858" marB="0" anchor="ctr">
                    <a:noFill/>
                  </a:tcPr>
                </a:tc>
                <a:tc>
                  <a:txBody>
                    <a:bodyPr/>
                    <a:lstStyle/>
                    <a:p>
                      <a:pPr algn="ctr">
                        <a:defRPr sz="600">
                          <a:latin typeface="Nexa Book"/>
                        </a:defRPr>
                      </a:pPr>
                      <a:r>
                        <a:rPr sz="600">
                          <a:latin typeface="Nexa Book"/>
                        </a:rPr>
                        <a:t> 5.80</a:t>
                      </a:r>
                    </a:p>
                  </a:txBody>
                  <a:tcPr marL="2858" marR="2858" marT="2858" marB="0" anchor="ctr">
                    <a:noFill/>
                  </a:tcPr>
                </a:tc>
                <a:tc>
                  <a:txBody>
                    <a:bodyPr/>
                    <a:lstStyle/>
                    <a:p>
                      <a:pPr algn="ctr">
                        <a:defRPr sz="600">
                          <a:latin typeface="Nexa Book"/>
                        </a:defRPr>
                      </a:pPr>
                      <a:r>
                        <a:rPr sz="600">
                          <a:latin typeface="Nexa Book"/>
                        </a:rPr>
                        <a:t>6'974</a:t>
                      </a:r>
                    </a:p>
                  </a:txBody>
                  <a:tcPr marL="2858" marR="2858" marT="2858" marB="0" anchor="ctr">
                    <a:noFill/>
                  </a:tcPr>
                </a:tc>
                <a:tc>
                  <a:txBody>
                    <a:bodyPr/>
                    <a:lstStyle/>
                    <a:p>
                      <a:pPr algn="ctr">
                        <a:defRPr sz="600">
                          <a:latin typeface="Nexa Book"/>
                        </a:defRPr>
                      </a:pPr>
                      <a:r>
                        <a:rPr sz="600">
                          <a:latin typeface="Nexa Book"/>
                        </a:rPr>
                        <a:t>-19%</a:t>
                      </a:r>
                    </a:p>
                  </a:txBody>
                  <a:tcPr marL="2858" marR="2858" marT="2858" marB="0" anchor="ctr">
                    <a:noFill/>
                  </a:tcPr>
                </a:tc>
                <a:tc>
                  <a:txBody>
                    <a:bodyPr/>
                    <a:lstStyle/>
                    <a:p>
                      <a:pPr algn="ctr">
                        <a:defRPr sz="600">
                          <a:latin typeface="Nexa Book"/>
                        </a:defRPr>
                      </a:pPr>
                      <a:r>
                        <a:rPr sz="600">
                          <a:latin typeface="Nexa Book"/>
                        </a:rPr>
                        <a:t>37%</a:t>
                      </a:r>
                    </a:p>
                  </a:txBody>
                  <a:tcPr marL="2858" marR="2858" marT="2858" marB="0" anchor="ctr">
                    <a:noFill/>
                  </a:tcPr>
                </a:tc>
                <a:tc>
                  <a:txBody>
                    <a:bodyPr/>
                    <a:lstStyle/>
                    <a:p>
                      <a:pPr algn="ctr">
                        <a:defRPr sz="600">
                          <a:latin typeface="Nexa Book"/>
                        </a:defRPr>
                      </a:pPr>
                      <a:r>
                        <a:rPr sz="600">
                          <a:latin typeface="Nexa Book"/>
                        </a:rPr>
                        <a:t>-2626</a:t>
                      </a:r>
                    </a:p>
                  </a:txBody>
                  <a:tcPr marL="2858" marR="2858" marT="2858" marB="0" anchor="ctr">
                    <a:noFill/>
                  </a:tcPr>
                </a:tc>
                <a:tc>
                  <a:txBody>
                    <a:bodyPr/>
                    <a:lstStyle/>
                    <a:p>
                      <a:pPr algn="ctr">
                        <a:defRPr sz="600">
                          <a:latin typeface="Nexa Book"/>
                        </a:defRPr>
                      </a:pPr>
                      <a:r>
                        <a:rPr sz="600">
                          <a:latin typeface="Nexa Book"/>
                        </a:rPr>
                        <a:t>-52%</a:t>
                      </a:r>
                    </a:p>
                  </a:txBody>
                  <a:tcPr marL="2858" marR="2858" marT="2858" marB="0" anchor="ctr">
                    <a:noFill/>
                  </a:tcPr>
                </a:tc>
                <a:tc>
                  <a:txBody>
                    <a:bodyPr/>
                    <a:lstStyle/>
                    <a:p>
                      <a:pPr algn="ctr">
                        <a:defRPr sz="600">
                          <a:latin typeface="Nexa Book"/>
                        </a:defRPr>
                      </a:pPr>
                      <a:r>
                        <a:rPr sz="600">
                          <a:latin typeface="Nexa Book"/>
                        </a:rPr>
                        <a:t>60%</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3590873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8BC4F6D-5EE8-8034-53AD-0E49AE2C0CC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B8BC4F6D-5EE8-8034-53AD-0E49AE2C0CC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17D2688C-259E-4553-8974-97B95EE45DEE}" type="datetime1">
              <a:rPr lang="en-US"/>
              <a:pPr/>
              <a:t>8/18/2025</a:t>
            </a:fld>
            <a:endParaRPr lang="en-US"/>
          </a:p>
        </p:txBody>
      </p:sp>
      <p:sp>
        <p:nvSpPr>
          <p:cNvPr id="12" name="Footer Placeholder 11">
            <a:extLst>
              <a:ext uri="{FF2B5EF4-FFF2-40B4-BE49-F238E27FC236}">
                <a16:creationId xmlns:a16="http://schemas.microsoft.com/office/drawing/2014/main" id="{470AC834-4931-8E51-BADA-9AEDE6C820DB}"/>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78DAE09-5169-5767-CE1B-DB92CBC184BE}"/>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Top 20 Promotions By Value and Incremental | Walmart  |  Refill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Top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3556"/>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9DC869AC-8CCE-42D7-61B5-4DFA17C0718B}"/>
              </a:ext>
            </a:extLst>
          </p:cNvPr>
          <p:cNvGraphicFramePr>
            <a:graphicFrameLocks noGrp="1"/>
          </p:cNvGraphicFramePr>
          <p:nvPr>
            <p:extLst>
              <p:ext uri="{D42A27DB-BD31-4B8C-83A1-F6EECF244321}">
                <p14:modId xmlns:p14="http://schemas.microsoft.com/office/powerpoint/2010/main" val="3242603753"/>
              </p:ext>
            </p:extLst>
          </p:nvPr>
        </p:nvGraphicFramePr>
        <p:xfrm>
          <a:off x="503238" y="1140180"/>
          <a:ext cx="8125623" cy="3596868"/>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231522">
                <a:tc>
                  <a:txBody>
                    <a:bodyPr/>
                    <a:lstStyle/>
                    <a:p>
                      <a:pPr algn="l">
                        <a:defRPr sz="600">
                          <a:latin typeface="Nexa Book"/>
                        </a:defRPr>
                      </a:pPr>
                      <a:r>
                        <a:rPr sz="600">
                          <a:latin typeface="Nexa Book"/>
                        </a:rPr>
                        <a:t>Equate</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EQUATE EASY FIT 5 5 BLADE REFILL NORMAL 12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20.0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5.9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3'48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44%</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6967</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68%</a:t>
                      </a: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2365975895"/>
                  </a:ext>
                </a:extLst>
              </a:tr>
              <a:tr h="23152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5 BLADE REFILL SENSITIVE 4CT</a:t>
                      </a:r>
                    </a:p>
                  </a:txBody>
                  <a:tcPr marL="2858" marR="2858" marT="2858" marB="0" anchor="ctr">
                    <a:noFill/>
                  </a:tcPr>
                </a:tc>
                <a:tc>
                  <a:txBody>
                    <a:bodyPr/>
                    <a:lstStyle/>
                    <a:p>
                      <a:pPr algn="ctr">
                        <a:defRPr sz="600">
                          <a:latin typeface="Nexa Book"/>
                        </a:defRPr>
                      </a:pPr>
                      <a:r>
                        <a:rPr sz="600">
                          <a:latin typeface="Nexa Book"/>
                        </a:rPr>
                        <a:t>23%</a:t>
                      </a:r>
                    </a:p>
                  </a:txBody>
                  <a:tcPr marL="2858" marR="2858" marT="2858" marB="0" anchor="ctr">
                    <a:noFill/>
                  </a:tcPr>
                </a:tc>
                <a:tc>
                  <a:txBody>
                    <a:bodyPr/>
                    <a:lstStyle/>
                    <a:p>
                      <a:pPr algn="ctr">
                        <a:defRPr sz="600">
                          <a:latin typeface="Nexa Book"/>
                        </a:defRPr>
                      </a:pPr>
                      <a:r>
                        <a:rPr sz="600">
                          <a:latin typeface="Nexa Book"/>
                        </a:rPr>
                        <a:t>51%</a:t>
                      </a:r>
                    </a:p>
                  </a:txBody>
                  <a:tcPr marL="2858" marR="2858" marT="2858" marB="0" anchor="ctr">
                    <a:noFill/>
                  </a:tcPr>
                </a:tc>
                <a:tc>
                  <a:txBody>
                    <a:bodyPr/>
                    <a:lstStyle/>
                    <a:p>
                      <a:pPr algn="ctr">
                        <a:defRPr sz="600">
                          <a:latin typeface="Nexa Book"/>
                        </a:defRPr>
                      </a:pPr>
                      <a:r>
                        <a:rPr sz="600">
                          <a:latin typeface="Nexa Book"/>
                        </a:rPr>
                        <a:t> 7.72</a:t>
                      </a:r>
                    </a:p>
                  </a:txBody>
                  <a:tcPr marL="2858" marR="2858" marT="2858" marB="0" anchor="ctr">
                    <a:noFill/>
                  </a:tcPr>
                </a:tc>
                <a:tc>
                  <a:txBody>
                    <a:bodyPr/>
                    <a:lstStyle/>
                    <a:p>
                      <a:pPr algn="ctr">
                        <a:defRPr sz="600">
                          <a:latin typeface="Nexa Book"/>
                        </a:defRPr>
                      </a:pPr>
                      <a:r>
                        <a:rPr sz="600">
                          <a:latin typeface="Nexa Book"/>
                        </a:rPr>
                        <a:t> 5.60</a:t>
                      </a:r>
                    </a:p>
                  </a:txBody>
                  <a:tcPr marL="2858" marR="2858" marT="2858" marB="0" anchor="ctr">
                    <a:noFill/>
                  </a:tcPr>
                </a:tc>
                <a:tc>
                  <a:txBody>
                    <a:bodyPr/>
                    <a:lstStyle/>
                    <a:p>
                      <a:pPr algn="ctr">
                        <a:defRPr sz="600">
                          <a:latin typeface="Nexa Book"/>
                        </a:defRPr>
                      </a:pPr>
                      <a:r>
                        <a:rPr sz="600">
                          <a:latin typeface="Nexa Book"/>
                        </a:rPr>
                        <a:t>2'699</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r>
                        <a:rPr sz="600">
                          <a:latin typeface="Nexa Book"/>
                        </a:rPr>
                        <a:t>1%</a:t>
                      </a:r>
                    </a:p>
                  </a:txBody>
                  <a:tcPr marL="2858" marR="2858" marT="2858" marB="0" anchor="ctr">
                    <a:noFill/>
                  </a:tcPr>
                </a:tc>
                <a:tc>
                  <a:txBody>
                    <a:bodyPr/>
                    <a:lstStyle/>
                    <a:p>
                      <a:pPr algn="ctr">
                        <a:defRPr sz="600">
                          <a:latin typeface="Nexa Book"/>
                        </a:defRPr>
                      </a:pPr>
                      <a:r>
                        <a:rPr sz="600">
                          <a:latin typeface="Nexa Book"/>
                        </a:rPr>
                        <a:t>79%</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231522">
                <a:tc>
                  <a:txBody>
                    <a:bodyPr/>
                    <a:lstStyle/>
                    <a:p>
                      <a:pPr algn="l">
                        <a:defRPr sz="600">
                          <a:latin typeface="Nexa Book"/>
                        </a:defRPr>
                      </a:pPr>
                      <a:r>
                        <a:rPr sz="600">
                          <a:latin typeface="Nexa Book"/>
                        </a:rPr>
                        <a:t>Equate</a:t>
                      </a:r>
                    </a:p>
                  </a:txBody>
                  <a:tcPr marL="2858" marR="2858" marT="2858" marB="0" anchor="ctr">
                    <a:noFill/>
                  </a:tcPr>
                </a:tc>
                <a:tc>
                  <a:txBody>
                    <a:bodyPr/>
                    <a:lstStyle/>
                    <a:p>
                      <a:pPr algn="l">
                        <a:defRPr sz="600">
                          <a:latin typeface="Nexa Book"/>
                        </a:defRPr>
                      </a:pPr>
                      <a:r>
                        <a:rPr sz="600">
                          <a:latin typeface="Nexa Book"/>
                        </a:rPr>
                        <a:t>EQUATE EASY FIT 3 3 BLADE REFILL NORMAL 5CT</a:t>
                      </a:r>
                    </a:p>
                  </a:txBody>
                  <a:tcPr marL="2858" marR="2858" marT="2858" marB="0" anchor="ctr">
                    <a:noFill/>
                  </a:tcPr>
                </a:tc>
                <a:tc>
                  <a:txBody>
                    <a:bodyPr/>
                    <a:lstStyle/>
                    <a:p>
                      <a:pPr algn="ctr">
                        <a:defRPr sz="600">
                          <a:latin typeface="Nexa Book"/>
                        </a:defRPr>
                      </a:pPr>
                      <a:r>
                        <a:rPr sz="600">
                          <a:latin typeface="Nexa Book"/>
                        </a:rPr>
                        <a:t>67%</a:t>
                      </a:r>
                    </a:p>
                  </a:txBody>
                  <a:tcPr marL="2858" marR="2858" marT="2858" marB="0" anchor="ctr">
                    <a:noFill/>
                  </a:tcPr>
                </a:tc>
                <a:tc>
                  <a:txBody>
                    <a:bodyPr/>
                    <a:lstStyle/>
                    <a:p>
                      <a:pPr algn="ctr">
                        <a:defRPr sz="600">
                          <a:latin typeface="Nexa Book"/>
                        </a:defRPr>
                      </a:pPr>
                      <a:r>
                        <a:rPr sz="600">
                          <a:latin typeface="Nexa Book"/>
                        </a:rPr>
                        <a:t>20%</a:t>
                      </a:r>
                    </a:p>
                  </a:txBody>
                  <a:tcPr marL="2858" marR="2858" marT="2858" marB="0" anchor="ctr">
                    <a:noFill/>
                  </a:tcPr>
                </a:tc>
                <a:tc>
                  <a:txBody>
                    <a:bodyPr/>
                    <a:lstStyle/>
                    <a:p>
                      <a:pPr algn="ctr">
                        <a:defRPr sz="600">
                          <a:latin typeface="Nexa Book"/>
                        </a:defRPr>
                      </a:pPr>
                      <a:r>
                        <a:rPr sz="600">
                          <a:latin typeface="Nexa Book"/>
                        </a:rPr>
                        <a:t> 6.00</a:t>
                      </a:r>
                    </a:p>
                  </a:txBody>
                  <a:tcPr marL="2858" marR="2858" marT="2858" marB="0" anchor="ctr">
                    <a:noFill/>
                  </a:tcPr>
                </a:tc>
                <a:tc>
                  <a:txBody>
                    <a:bodyPr/>
                    <a:lstStyle/>
                    <a:p>
                      <a:pPr algn="ctr">
                        <a:defRPr sz="600">
                          <a:latin typeface="Nexa Book"/>
                        </a:defRPr>
                      </a:pPr>
                      <a:r>
                        <a:rPr sz="600">
                          <a:latin typeface="Nexa Book"/>
                        </a:rPr>
                        <a:t> 2.00</a:t>
                      </a:r>
                    </a:p>
                  </a:txBody>
                  <a:tcPr marL="2858" marR="2858" marT="2858" marB="0" anchor="ctr">
                    <a:noFill/>
                  </a:tcPr>
                </a:tc>
                <a:tc>
                  <a:txBody>
                    <a:bodyPr/>
                    <a:lstStyle/>
                    <a:p>
                      <a:pPr algn="ctr">
                        <a:defRPr sz="600">
                          <a:latin typeface="Nexa Book"/>
                        </a:defRPr>
                      </a:pPr>
                      <a:r>
                        <a:rPr sz="600">
                          <a:latin typeface="Nexa Book"/>
                        </a:rPr>
                        <a:t>2</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4</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23152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QUATTRO FOR MEN 4 BLADE REFILL NORMAL 4CT</a:t>
                      </a:r>
                    </a:p>
                  </a:txBody>
                  <a:tcPr marL="2858" marR="2858" marT="2858" marB="0" anchor="ctr">
                    <a:noFill/>
                  </a:tcPr>
                </a:tc>
                <a:tc>
                  <a:txBody>
                    <a:bodyPr/>
                    <a:lstStyle/>
                    <a:p>
                      <a:pPr algn="ctr">
                        <a:defRPr sz="600">
                          <a:latin typeface="Nexa Book"/>
                        </a:defRPr>
                      </a:pPr>
                      <a:r>
                        <a:rPr sz="600">
                          <a:latin typeface="Nexa Book"/>
                        </a:rPr>
                        <a:t>90%</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 10.33</a:t>
                      </a:r>
                    </a:p>
                  </a:txBody>
                  <a:tcPr marL="2858" marR="2858" marT="2858" marB="0" anchor="ctr">
                    <a:noFill/>
                  </a:tcPr>
                </a:tc>
                <a:tc>
                  <a:txBody>
                    <a:bodyPr/>
                    <a:lstStyle/>
                    <a:p>
                      <a:pPr algn="ctr">
                        <a:defRPr sz="600">
                          <a:latin typeface="Nexa Book"/>
                        </a:defRPr>
                      </a:pPr>
                      <a:r>
                        <a:rPr sz="600">
                          <a:latin typeface="Nexa Book"/>
                        </a:rPr>
                        <a:t> 1.00</a:t>
                      </a:r>
                    </a:p>
                  </a:txBody>
                  <a:tcPr marL="2858" marR="2858" marT="2858" marB="0" anchor="ctr">
                    <a:noFill/>
                  </a:tcPr>
                </a:tc>
                <a:tc>
                  <a:txBody>
                    <a:bodyPr/>
                    <a:lstStyle/>
                    <a:p>
                      <a:pPr algn="ctr">
                        <a:defRPr sz="600">
                          <a:latin typeface="Nexa Book"/>
                        </a:defRPr>
                      </a:pPr>
                      <a:r>
                        <a:rPr sz="600">
                          <a:latin typeface="Nexa Book"/>
                        </a:rPr>
                        <a:t>1</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23152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QUATTRO FOR MEN 4 BLADE REFILL NORMAL 8CT</a:t>
                      </a:r>
                    </a:p>
                  </a:txBody>
                  <a:tcPr marL="2858" marR="2858" marT="2858" marB="0" anchor="ctr">
                    <a:noFill/>
                  </a:tcPr>
                </a:tc>
                <a:tc>
                  <a:txBody>
                    <a:bodyPr/>
                    <a:lstStyle/>
                    <a:p>
                      <a:pPr algn="ctr">
                        <a:defRPr sz="600">
                          <a:latin typeface="Nexa Book"/>
                        </a:defRPr>
                      </a:pPr>
                      <a:r>
                        <a:rPr sz="600">
                          <a:latin typeface="Nexa Book"/>
                        </a:rPr>
                        <a:t>70%</a:t>
                      </a:r>
                    </a:p>
                  </a:txBody>
                  <a:tcPr marL="2858" marR="2858" marT="2858" marB="0" anchor="ctr">
                    <a:noFill/>
                  </a:tcPr>
                </a:tc>
                <a:tc>
                  <a:txBody>
                    <a:bodyPr/>
                    <a:lstStyle/>
                    <a:p>
                      <a:pPr algn="ctr">
                        <a:defRPr sz="600">
                          <a:latin typeface="Nexa Book"/>
                        </a:defRPr>
                      </a:pPr>
                      <a:r>
                        <a:rPr sz="600">
                          <a:latin typeface="Nexa Book"/>
                        </a:rPr>
                        <a:t>13%</a:t>
                      </a:r>
                    </a:p>
                  </a:txBody>
                  <a:tcPr marL="2858" marR="2858" marT="2858" marB="0" anchor="ctr">
                    <a:noFill/>
                  </a:tcPr>
                </a:tc>
                <a:tc>
                  <a:txBody>
                    <a:bodyPr/>
                    <a:lstStyle/>
                    <a:p>
                      <a:pPr algn="ctr">
                        <a:defRPr sz="600">
                          <a:latin typeface="Nexa Book"/>
                        </a:defRPr>
                      </a:pPr>
                      <a:r>
                        <a:rPr sz="600">
                          <a:latin typeface="Nexa Book"/>
                        </a:rPr>
                        <a:t> 6.87</a:t>
                      </a:r>
                    </a:p>
                  </a:txBody>
                  <a:tcPr marL="2858" marR="2858" marT="2858" marB="0" anchor="ctr">
                    <a:noFill/>
                  </a:tcPr>
                </a:tc>
                <a:tc>
                  <a:txBody>
                    <a:bodyPr/>
                    <a:lstStyle/>
                    <a:p>
                      <a:pPr algn="ctr">
                        <a:defRPr sz="600">
                          <a:latin typeface="Nexa Book"/>
                        </a:defRPr>
                      </a:pPr>
                      <a:r>
                        <a:rPr sz="600">
                          <a:latin typeface="Nexa Book"/>
                        </a:rPr>
                        <a:t> 3.30</a:t>
                      </a:r>
                    </a:p>
                  </a:txBody>
                  <a:tcPr marL="2858" marR="2858" marT="2858" marB="0" anchor="ctr">
                    <a:noFill/>
                  </a:tcPr>
                </a:tc>
                <a:tc>
                  <a:txBody>
                    <a:bodyPr/>
                    <a:lstStyle/>
                    <a:p>
                      <a:pPr algn="ctr">
                        <a:defRPr sz="600">
                          <a:latin typeface="Nexa Book"/>
                        </a:defRPr>
                      </a:pPr>
                      <a:r>
                        <a:rPr sz="600">
                          <a:latin typeface="Nexa Book"/>
                        </a:rPr>
                        <a:t>33</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17</a:t>
                      </a:r>
                    </a:p>
                  </a:txBody>
                  <a:tcPr marL="2858" marR="2858" marT="2858" marB="0" anchor="ctr">
                    <a:noFill/>
                  </a:tcPr>
                </a:tc>
                <a:tc>
                  <a:txBody>
                    <a:bodyPr/>
                    <a:lstStyle/>
                    <a:p>
                      <a:pPr algn="ctr">
                        <a:defRPr sz="600">
                          <a:latin typeface="Nexa Book"/>
                        </a:defRPr>
                      </a:pPr>
                      <a:r>
                        <a:rPr sz="600">
                          <a:latin typeface="Nexa Book"/>
                        </a:rPr>
                        <a:t>-22%</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23152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DRY SKIN 5 BLADE REFILL DRY 8CT</a:t>
                      </a:r>
                    </a:p>
                  </a:txBody>
                  <a:tcPr marL="2858" marR="2858" marT="2858" marB="0" anchor="ctr">
                    <a:noFill/>
                  </a:tcPr>
                </a:tc>
                <a:tc>
                  <a:txBody>
                    <a:bodyPr/>
                    <a:lstStyle/>
                    <a:p>
                      <a:pPr algn="ctr">
                        <a:defRPr sz="600">
                          <a:latin typeface="Nexa Book"/>
                        </a:defRPr>
                      </a:pPr>
                      <a:r>
                        <a:rPr sz="600">
                          <a:latin typeface="Nexa Book"/>
                        </a:rPr>
                        <a:t>86%</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r>
                        <a:rPr sz="600">
                          <a:latin typeface="Nexa Book"/>
                        </a:rPr>
                        <a:t> 18.18</a:t>
                      </a:r>
                    </a:p>
                  </a:txBody>
                  <a:tcPr marL="2858" marR="2858" marT="2858" marB="0" anchor="ctr">
                    <a:noFill/>
                  </a:tcPr>
                </a:tc>
                <a:tc>
                  <a:txBody>
                    <a:bodyPr/>
                    <a:lstStyle/>
                    <a:p>
                      <a:pPr algn="ctr">
                        <a:defRPr sz="600">
                          <a:latin typeface="Nexa Book"/>
                        </a:defRPr>
                      </a:pPr>
                      <a:r>
                        <a:rPr sz="600">
                          <a:latin typeface="Nexa Book"/>
                        </a:rPr>
                        <a:t> 4.00</a:t>
                      </a:r>
                    </a:p>
                  </a:txBody>
                  <a:tcPr marL="2858" marR="2858" marT="2858" marB="0" anchor="ctr">
                    <a:noFill/>
                  </a:tcPr>
                </a:tc>
                <a:tc>
                  <a:txBody>
                    <a:bodyPr/>
                    <a:lstStyle/>
                    <a:p>
                      <a:pPr algn="ctr">
                        <a:defRPr sz="600">
                          <a:latin typeface="Nexa Book"/>
                        </a:defRPr>
                      </a:pPr>
                      <a:r>
                        <a:rPr sz="600">
                          <a:latin typeface="Nexa Book"/>
                        </a:rPr>
                        <a:t>4</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231522">
                <a:tc>
                  <a:txBody>
                    <a:bodyPr/>
                    <a:lstStyle/>
                    <a:p>
                      <a:pPr algn="l">
                        <a:defRPr sz="600">
                          <a:latin typeface="Nexa Book"/>
                        </a:defRPr>
                      </a:pPr>
                      <a:r>
                        <a:rPr sz="600">
                          <a:latin typeface="Nexa Book"/>
                        </a:rPr>
                        <a:t>Cremo</a:t>
                      </a:r>
                    </a:p>
                  </a:txBody>
                  <a:tcPr marL="2858" marR="2858" marT="2858" marB="0" anchor="ctr">
                    <a:noFill/>
                  </a:tcPr>
                </a:tc>
                <a:tc>
                  <a:txBody>
                    <a:bodyPr/>
                    <a:lstStyle/>
                    <a:p>
                      <a:pPr algn="l">
                        <a:defRPr sz="600">
                          <a:latin typeface="Nexa Book"/>
                        </a:defRPr>
                      </a:pPr>
                      <a:r>
                        <a:rPr sz="600">
                          <a:latin typeface="Nexa Book"/>
                        </a:rPr>
                        <a:t>CREMO 5 BLADE REFILL NORMAL 4CT</a:t>
                      </a:r>
                    </a:p>
                  </a:txBody>
                  <a:tcPr marL="2858" marR="2858" marT="2858" marB="0" anchor="ctr">
                    <a:noFill/>
                  </a:tcPr>
                </a:tc>
                <a:tc>
                  <a:txBody>
                    <a:bodyPr/>
                    <a:lstStyle/>
                    <a:p>
                      <a:pPr algn="ctr">
                        <a:defRPr sz="600">
                          <a:latin typeface="Nexa Book"/>
                        </a:defRPr>
                      </a:pPr>
                      <a:r>
                        <a:rPr sz="600">
                          <a:latin typeface="Nexa Book"/>
                        </a:rPr>
                        <a:t>63%</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 13.86</a:t>
                      </a:r>
                    </a:p>
                  </a:txBody>
                  <a:tcPr marL="2858" marR="2858" marT="2858" marB="0" anchor="ctr">
                    <a:noFill/>
                  </a:tcPr>
                </a:tc>
                <a:tc>
                  <a:txBody>
                    <a:bodyPr/>
                    <a:lstStyle/>
                    <a:p>
                      <a:pPr algn="ctr">
                        <a:defRPr sz="600">
                          <a:latin typeface="Nexa Book"/>
                        </a:defRPr>
                      </a:pPr>
                      <a:r>
                        <a:rPr sz="600">
                          <a:latin typeface="Nexa Book"/>
                        </a:rPr>
                        <a:t> 5.08</a:t>
                      </a:r>
                    </a:p>
                  </a:txBody>
                  <a:tcPr marL="2858" marR="2858" marT="2858" marB="0" anchor="ctr">
                    <a:noFill/>
                  </a:tcPr>
                </a:tc>
                <a:tc>
                  <a:txBody>
                    <a:bodyPr/>
                    <a:lstStyle/>
                    <a:p>
                      <a:pPr algn="ctr">
                        <a:defRPr sz="600">
                          <a:latin typeface="Nexa Book"/>
                        </a:defRPr>
                      </a:pPr>
                      <a:r>
                        <a:rPr sz="600">
                          <a:latin typeface="Nexa Book"/>
                        </a:rPr>
                        <a:t>889</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9</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r>
                        <a:rPr sz="600">
                          <a:latin typeface="Nexa Book"/>
                        </a:rPr>
                        <a:t>71%</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231522">
                <a:tc>
                  <a:txBody>
                    <a:bodyPr/>
                    <a:lstStyle/>
                    <a:p>
                      <a:pPr algn="l">
                        <a:defRPr sz="600">
                          <a:latin typeface="Nexa Book"/>
                        </a:defRPr>
                      </a:pPr>
                      <a:r>
                        <a:rPr sz="600">
                          <a:latin typeface="Nexa Book"/>
                        </a:rPr>
                        <a:t>Equate</a:t>
                      </a:r>
                    </a:p>
                  </a:txBody>
                  <a:tcPr marL="2858" marR="2858" marT="2858" marB="0" anchor="ctr">
                    <a:noFill/>
                  </a:tcPr>
                </a:tc>
                <a:tc>
                  <a:txBody>
                    <a:bodyPr/>
                    <a:lstStyle/>
                    <a:p>
                      <a:pPr algn="l">
                        <a:defRPr sz="600">
                          <a:latin typeface="Nexa Book"/>
                        </a:defRPr>
                      </a:pPr>
                      <a:r>
                        <a:rPr sz="600">
                          <a:latin typeface="Nexa Book"/>
                        </a:rPr>
                        <a:t>EQUATE CALIBER 5 5 BLADE REFILL NORMAL 8CT</a:t>
                      </a:r>
                    </a:p>
                  </a:txBody>
                  <a:tcPr marL="2858" marR="2858" marT="2858" marB="0" anchor="ctr">
                    <a:noFill/>
                  </a:tcPr>
                </a:tc>
                <a:tc>
                  <a:txBody>
                    <a:bodyPr/>
                    <a:lstStyle/>
                    <a:p>
                      <a:pPr algn="ctr">
                        <a:defRPr sz="600">
                          <a:latin typeface="Nexa Book"/>
                        </a:defRPr>
                      </a:pPr>
                      <a:r>
                        <a:rPr sz="600">
                          <a:latin typeface="Nexa Book"/>
                        </a:rPr>
                        <a:t>72%</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 9.86</a:t>
                      </a:r>
                    </a:p>
                  </a:txBody>
                  <a:tcPr marL="2858" marR="2858" marT="2858" marB="0" anchor="ctr">
                    <a:noFill/>
                  </a:tcPr>
                </a:tc>
                <a:tc>
                  <a:txBody>
                    <a:bodyPr/>
                    <a:lstStyle/>
                    <a:p>
                      <a:pPr algn="ctr">
                        <a:defRPr sz="600">
                          <a:latin typeface="Nexa Book"/>
                        </a:defRPr>
                      </a:pPr>
                      <a:r>
                        <a:rPr sz="600">
                          <a:latin typeface="Nexa Book"/>
                        </a:rPr>
                        <a:t> 3.60</a:t>
                      </a:r>
                    </a:p>
                  </a:txBody>
                  <a:tcPr marL="2858" marR="2858" marT="2858" marB="0" anchor="ctr">
                    <a:noFill/>
                  </a:tcPr>
                </a:tc>
                <a:tc>
                  <a:txBody>
                    <a:bodyPr/>
                    <a:lstStyle/>
                    <a:p>
                      <a:pPr algn="ctr">
                        <a:defRPr sz="600">
                          <a:latin typeface="Nexa Book"/>
                        </a:defRPr>
                      </a:pPr>
                      <a:r>
                        <a:rPr sz="600">
                          <a:latin typeface="Nexa Book"/>
                        </a:rPr>
                        <a:t>18</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42</a:t>
                      </a:r>
                    </a:p>
                  </a:txBody>
                  <a:tcPr marL="2858" marR="2858" marT="2858" marB="0" anchor="ctr">
                    <a:noFill/>
                  </a:tcPr>
                </a:tc>
                <a:tc>
                  <a:txBody>
                    <a:bodyPr/>
                    <a:lstStyle/>
                    <a:p>
                      <a:pPr algn="ctr">
                        <a:defRPr sz="600">
                          <a:latin typeface="Nexa Book"/>
                        </a:defRPr>
                      </a:pPr>
                      <a:r>
                        <a:rPr sz="600">
                          <a:latin typeface="Nexa Book"/>
                        </a:rPr>
                        <a:t>-89%</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23152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QUATTRO FOR MEN 4 BLADE REFILL NORMAL 6CT</a:t>
                      </a:r>
                    </a:p>
                  </a:txBody>
                  <a:tcPr marL="2858" marR="2858" marT="2858" marB="0" anchor="ctr">
                    <a:noFill/>
                  </a:tcPr>
                </a:tc>
                <a:tc>
                  <a:txBody>
                    <a:bodyPr/>
                    <a:lstStyle/>
                    <a:p>
                      <a:pPr algn="ctr">
                        <a:defRPr sz="600">
                          <a:latin typeface="Nexa Book"/>
                        </a:defRPr>
                      </a:pPr>
                      <a:r>
                        <a:rPr sz="600">
                          <a:latin typeface="Nexa Book"/>
                        </a:rPr>
                        <a:t>56%</a:t>
                      </a:r>
                    </a:p>
                  </a:txBody>
                  <a:tcPr marL="2858" marR="2858" marT="2858" marB="0" anchor="ctr">
                    <a:noFill/>
                  </a:tcPr>
                </a:tc>
                <a:tc>
                  <a:txBody>
                    <a:bodyPr/>
                    <a:lstStyle/>
                    <a:p>
                      <a:pPr algn="ctr">
                        <a:defRPr sz="600">
                          <a:latin typeface="Nexa Book"/>
                        </a:defRPr>
                      </a:pPr>
                      <a:r>
                        <a:rPr sz="600">
                          <a:latin typeface="Nexa Book"/>
                        </a:rPr>
                        <a:t>72%</a:t>
                      </a:r>
                    </a:p>
                  </a:txBody>
                  <a:tcPr marL="2858" marR="2858" marT="2858" marB="0" anchor="ctr">
                    <a:noFill/>
                  </a:tcPr>
                </a:tc>
                <a:tc>
                  <a:txBody>
                    <a:bodyPr/>
                    <a:lstStyle/>
                    <a:p>
                      <a:pPr algn="ctr">
                        <a:defRPr sz="600">
                          <a:latin typeface="Nexa Book"/>
                        </a:defRPr>
                      </a:pPr>
                      <a:r>
                        <a:rPr sz="600">
                          <a:latin typeface="Nexa Book"/>
                        </a:rPr>
                        <a:t> 8.00</a:t>
                      </a:r>
                    </a:p>
                  </a:txBody>
                  <a:tcPr marL="2858" marR="2858" marT="2858" marB="0" anchor="ctr">
                    <a:noFill/>
                  </a:tcPr>
                </a:tc>
                <a:tc>
                  <a:txBody>
                    <a:bodyPr/>
                    <a:lstStyle/>
                    <a:p>
                      <a:pPr algn="ctr">
                        <a:defRPr sz="600">
                          <a:latin typeface="Nexa Book"/>
                        </a:defRPr>
                      </a:pPr>
                      <a:r>
                        <a:rPr sz="600">
                          <a:latin typeface="Nexa Book"/>
                        </a:rPr>
                        <a:t> 3.36</a:t>
                      </a:r>
                    </a:p>
                  </a:txBody>
                  <a:tcPr marL="2858" marR="2858" marT="2858" marB="0" anchor="ctr">
                    <a:noFill/>
                  </a:tcPr>
                </a:tc>
                <a:tc>
                  <a:txBody>
                    <a:bodyPr/>
                    <a:lstStyle/>
                    <a:p>
                      <a:pPr algn="ctr">
                        <a:defRPr sz="600">
                          <a:latin typeface="Nexa Book"/>
                        </a:defRPr>
                      </a:pPr>
                      <a:r>
                        <a:rPr sz="600">
                          <a:latin typeface="Nexa Book"/>
                        </a:rPr>
                        <a:t>111</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50</a:t>
                      </a:r>
                    </a:p>
                  </a:txBody>
                  <a:tcPr marL="2858" marR="2858" marT="2858" marB="0" anchor="ctr">
                    <a:noFill/>
                  </a:tcPr>
                </a:tc>
                <a:tc>
                  <a:txBody>
                    <a:bodyPr/>
                    <a:lstStyle/>
                    <a:p>
                      <a:pPr algn="ctr">
                        <a:defRPr sz="600">
                          <a:latin typeface="Nexa Book"/>
                        </a:defRPr>
                      </a:pPr>
                      <a:r>
                        <a:rPr sz="600">
                          <a:latin typeface="Nexa Book"/>
                        </a:rPr>
                        <a:t>-35%</a:t>
                      </a:r>
                    </a:p>
                  </a:txBody>
                  <a:tcPr marL="2858" marR="2858" marT="2858" marB="0" anchor="ctr">
                    <a:noFill/>
                  </a:tcPr>
                </a:tc>
                <a:tc>
                  <a:txBody>
                    <a:bodyPr/>
                    <a:lstStyle/>
                    <a:p>
                      <a:pPr algn="ctr">
                        <a:defRPr sz="600">
                          <a:latin typeface="Nexa Book"/>
                        </a:defRPr>
                      </a:pPr>
                      <a:r>
                        <a:rPr sz="600">
                          <a:latin typeface="Nexa Book"/>
                        </a:rPr>
                        <a:t>71%</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23152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DRY SKIN 5 BLADE REFILL NORMAL 4CT</a:t>
                      </a:r>
                    </a:p>
                  </a:txBody>
                  <a:tcPr marL="2858" marR="2858" marT="2858" marB="0" anchor="ctr">
                    <a:noFill/>
                  </a:tcPr>
                </a:tc>
                <a:tc>
                  <a:txBody>
                    <a:bodyPr/>
                    <a:lstStyle/>
                    <a:p>
                      <a:pPr algn="ctr">
                        <a:defRPr sz="600">
                          <a:latin typeface="Nexa Book"/>
                        </a:defRPr>
                      </a:pPr>
                      <a:r>
                        <a:rPr sz="600">
                          <a:latin typeface="Nexa Book"/>
                        </a:rPr>
                        <a:t>59%</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 6.09</a:t>
                      </a:r>
                    </a:p>
                  </a:txBody>
                  <a:tcPr marL="2858" marR="2858" marT="2858" marB="0" anchor="ctr">
                    <a:noFill/>
                  </a:tcPr>
                </a:tc>
                <a:tc>
                  <a:txBody>
                    <a:bodyPr/>
                    <a:lstStyle/>
                    <a:p>
                      <a:pPr algn="ctr">
                        <a:defRPr sz="600">
                          <a:latin typeface="Nexa Book"/>
                        </a:defRPr>
                      </a:pPr>
                      <a:r>
                        <a:rPr sz="600">
                          <a:latin typeface="Nexa Book"/>
                        </a:rPr>
                        <a:t> 2.44</a:t>
                      </a:r>
                    </a:p>
                  </a:txBody>
                  <a:tcPr marL="2858" marR="2858" marT="2858" marB="0" anchor="ctr">
                    <a:noFill/>
                  </a:tcPr>
                </a:tc>
                <a:tc>
                  <a:txBody>
                    <a:bodyPr/>
                    <a:lstStyle/>
                    <a:p>
                      <a:pPr algn="ctr">
                        <a:defRPr sz="600">
                          <a:latin typeface="Nexa Book"/>
                        </a:defRPr>
                      </a:pPr>
                      <a:r>
                        <a:rPr sz="600">
                          <a:latin typeface="Nexa Book"/>
                        </a:rPr>
                        <a:t>61</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131</a:t>
                      </a:r>
                    </a:p>
                  </a:txBody>
                  <a:tcPr marL="2858" marR="2858" marT="2858" marB="0" anchor="ctr">
                    <a:noFill/>
                  </a:tcPr>
                </a:tc>
                <a:tc>
                  <a:txBody>
                    <a:bodyPr/>
                    <a:lstStyle/>
                    <a:p>
                      <a:pPr algn="ctr">
                        <a:defRPr sz="600">
                          <a:latin typeface="Nexa Book"/>
                        </a:defRPr>
                      </a:pPr>
                      <a:r>
                        <a:rPr sz="600">
                          <a:latin typeface="Nexa Book"/>
                        </a:rPr>
                        <a:t>-147%</a:t>
                      </a:r>
                    </a:p>
                  </a:txBody>
                  <a:tcPr marL="2858" marR="2858" marT="2858" marB="0" anchor="ctr">
                    <a:noFill/>
                  </a:tcPr>
                </a:tc>
                <a:tc>
                  <a:txBody>
                    <a:bodyPr/>
                    <a:lstStyle/>
                    <a:p>
                      <a:pPr algn="ctr">
                        <a:defRPr sz="600">
                          <a:latin typeface="Nexa Book"/>
                        </a:defRPr>
                      </a:pPr>
                      <a:r>
                        <a:rPr sz="600">
                          <a:latin typeface="Nexa Book"/>
                        </a:rPr>
                        <a:t>80%</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23152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5 BLADE REFILL SENSITIVE 12CT</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29%</a:t>
                      </a:r>
                    </a:p>
                  </a:txBody>
                  <a:tcPr marL="2858" marR="2858" marT="2858" marB="0" anchor="ctr">
                    <a:noFill/>
                  </a:tcPr>
                </a:tc>
                <a:tc>
                  <a:txBody>
                    <a:bodyPr/>
                    <a:lstStyle/>
                    <a:p>
                      <a:pPr algn="ctr">
                        <a:defRPr sz="600">
                          <a:latin typeface="Nexa Book"/>
                        </a:defRPr>
                      </a:pPr>
                      <a:r>
                        <a:rPr sz="600">
                          <a:latin typeface="Nexa Book"/>
                        </a:rPr>
                        <a:t> 26.97</a:t>
                      </a:r>
                    </a:p>
                  </a:txBody>
                  <a:tcPr marL="2858" marR="2858" marT="2858" marB="0" anchor="ctr">
                    <a:noFill/>
                  </a:tcPr>
                </a:tc>
                <a:tc>
                  <a:txBody>
                    <a:bodyPr/>
                    <a:lstStyle/>
                    <a:p>
                      <a:pPr algn="ctr">
                        <a:defRPr sz="600">
                          <a:latin typeface="Nexa Book"/>
                        </a:defRPr>
                      </a:pPr>
                      <a:r>
                        <a:rPr sz="600">
                          <a:latin typeface="Nexa Book"/>
                        </a:rPr>
                        <a:t> 24.15</a:t>
                      </a:r>
                    </a:p>
                  </a:txBody>
                  <a:tcPr marL="2858" marR="2858" marT="2858" marB="0" anchor="ctr">
                    <a:noFill/>
                  </a:tcPr>
                </a:tc>
                <a:tc>
                  <a:txBody>
                    <a:bodyPr/>
                    <a:lstStyle/>
                    <a:p>
                      <a:pPr algn="ctr">
                        <a:defRPr sz="600">
                          <a:latin typeface="Nexa Book"/>
                        </a:defRPr>
                      </a:pPr>
                      <a:r>
                        <a:rPr sz="600">
                          <a:latin typeface="Nexa Book"/>
                        </a:rPr>
                        <a:t>914'106</a:t>
                      </a:r>
                    </a:p>
                  </a:txBody>
                  <a:tcPr marL="2858" marR="2858" marT="2858" marB="0" anchor="ctr">
                    <a:noFill/>
                  </a:tcPr>
                </a:tc>
                <a:tc>
                  <a:txBody>
                    <a:bodyPr/>
                    <a:lstStyle/>
                    <a:p>
                      <a:pPr algn="ctr">
                        <a:defRPr sz="600">
                          <a:latin typeface="Nexa Book"/>
                        </a:defRPr>
                      </a:pPr>
                      <a:r>
                        <a:rPr sz="600">
                          <a:latin typeface="Nexa Book"/>
                        </a:rPr>
                        <a:t>-2%</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2900</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r>
                        <a:rPr sz="600">
                          <a:latin typeface="Nexa Book"/>
                        </a:rPr>
                        <a:t>69%</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23152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HYDRO 3 SENSITIVE 3 BLADE REFILL SENSITIVE 5CT</a:t>
                      </a:r>
                    </a:p>
                  </a:txBody>
                  <a:tcPr marL="2858" marR="2858" marT="2858" marB="0" anchor="ctr">
                    <a:noFill/>
                  </a:tcPr>
                </a:tc>
                <a:tc>
                  <a:txBody>
                    <a:bodyPr/>
                    <a:lstStyle/>
                    <a:p>
                      <a:pPr algn="ctr">
                        <a:defRPr sz="600">
                          <a:latin typeface="Nexa Book"/>
                        </a:defRPr>
                      </a:pPr>
                      <a:r>
                        <a:rPr sz="600">
                          <a:latin typeface="Nexa Book"/>
                        </a:rPr>
                        <a:t>58%</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 9.92</a:t>
                      </a:r>
                    </a:p>
                  </a:txBody>
                  <a:tcPr marL="2858" marR="2858" marT="2858" marB="0" anchor="ctr">
                    <a:noFill/>
                  </a:tcPr>
                </a:tc>
                <a:tc>
                  <a:txBody>
                    <a:bodyPr/>
                    <a:lstStyle/>
                    <a:p>
                      <a:pPr algn="ctr">
                        <a:defRPr sz="600">
                          <a:latin typeface="Nexa Book"/>
                        </a:defRPr>
                      </a:pPr>
                      <a:r>
                        <a:rPr sz="600">
                          <a:latin typeface="Nexa Book"/>
                        </a:rPr>
                        <a:t> 4.17</a:t>
                      </a:r>
                    </a:p>
                  </a:txBody>
                  <a:tcPr marL="2858" marR="2858" marT="2858" marB="0" anchor="ctr">
                    <a:noFill/>
                  </a:tcPr>
                </a:tc>
                <a:tc>
                  <a:txBody>
                    <a:bodyPr/>
                    <a:lstStyle/>
                    <a:p>
                      <a:pPr algn="ctr">
                        <a:defRPr sz="600">
                          <a:latin typeface="Nexa Book"/>
                        </a:defRPr>
                      </a:pPr>
                      <a:r>
                        <a:rPr sz="600">
                          <a:latin typeface="Nexa Book"/>
                        </a:rPr>
                        <a:t>12'839</a:t>
                      </a:r>
                    </a:p>
                  </a:txBody>
                  <a:tcPr marL="2858" marR="2858" marT="2858" marB="0" anchor="ctr">
                    <a:noFill/>
                  </a:tcPr>
                </a:tc>
                <a:tc>
                  <a:txBody>
                    <a:bodyPr/>
                    <a:lstStyle/>
                    <a:p>
                      <a:pPr algn="ctr">
                        <a:defRPr sz="600">
                          <a:latin typeface="Nexa Book"/>
                        </a:defRPr>
                      </a:pPr>
                      <a:r>
                        <a:rPr sz="600">
                          <a:latin typeface="Nexa Book"/>
                        </a:rPr>
                        <a:t>-21%</a:t>
                      </a:r>
                    </a:p>
                  </a:txBody>
                  <a:tcPr marL="2858" marR="2858" marT="2858" marB="0" anchor="ctr">
                    <a:noFill/>
                  </a:tcPr>
                </a:tc>
                <a:tc>
                  <a:txBody>
                    <a:bodyPr/>
                    <a:lstStyle/>
                    <a:p>
                      <a:pPr algn="ctr">
                        <a:defRPr sz="600">
                          <a:latin typeface="Nexa Book"/>
                        </a:defRPr>
                      </a:pPr>
                      <a:r>
                        <a:rPr sz="600">
                          <a:latin typeface="Nexa Book"/>
                        </a:rPr>
                        <a:t>74%</a:t>
                      </a:r>
                    </a:p>
                  </a:txBody>
                  <a:tcPr marL="2858" marR="2858" marT="2858" marB="0" anchor="ctr">
                    <a:noFill/>
                  </a:tcPr>
                </a:tc>
                <a:tc>
                  <a:txBody>
                    <a:bodyPr/>
                    <a:lstStyle/>
                    <a:p>
                      <a:pPr algn="ctr">
                        <a:defRPr sz="600">
                          <a:latin typeface="Nexa Book"/>
                        </a:defRPr>
                      </a:pPr>
                      <a:r>
                        <a:rPr sz="600">
                          <a:latin typeface="Nexa Book"/>
                        </a:rPr>
                        <a:t>-4632</a:t>
                      </a:r>
                    </a:p>
                  </a:txBody>
                  <a:tcPr marL="2858" marR="2858" marT="2858" marB="0" anchor="ctr">
                    <a:noFill/>
                  </a:tcPr>
                </a:tc>
                <a:tc>
                  <a:txBody>
                    <a:bodyPr/>
                    <a:lstStyle/>
                    <a:p>
                      <a:pPr algn="ctr">
                        <a:defRPr sz="600">
                          <a:latin typeface="Nexa Book"/>
                        </a:defRPr>
                      </a:pPr>
                      <a:r>
                        <a:rPr sz="600">
                          <a:latin typeface="Nexa Book"/>
                        </a:rPr>
                        <a:t>-26%</a:t>
                      </a:r>
                    </a:p>
                  </a:txBody>
                  <a:tcPr marL="2858" marR="2858" marT="2858" marB="0" anchor="ctr">
                    <a:noFill/>
                  </a:tcPr>
                </a:tc>
                <a:tc>
                  <a:txBody>
                    <a:bodyPr/>
                    <a:lstStyle/>
                    <a:p>
                      <a:pPr algn="ctr">
                        <a:defRPr sz="600">
                          <a:latin typeface="Nexa Book"/>
                        </a:defRPr>
                      </a:pPr>
                      <a:r>
                        <a:rPr sz="600">
                          <a:latin typeface="Nexa Book"/>
                        </a:rPr>
                        <a:t>73%</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231522">
                <a:tc>
                  <a:txBody>
                    <a:bodyPr/>
                    <a:lstStyle/>
                    <a:p>
                      <a:pPr algn="l">
                        <a:defRPr sz="600">
                          <a:latin typeface="Nexa Book"/>
                        </a:defRPr>
                      </a:pPr>
                      <a:r>
                        <a:rPr sz="600">
                          <a:latin typeface="Nexa Book"/>
                        </a:rPr>
                        <a:t>Equate</a:t>
                      </a:r>
                    </a:p>
                  </a:txBody>
                  <a:tcPr marL="2858" marR="2858" marT="2858" marB="0" anchor="ctr">
                    <a:noFill/>
                  </a:tcPr>
                </a:tc>
                <a:tc>
                  <a:txBody>
                    <a:bodyPr/>
                    <a:lstStyle/>
                    <a:p>
                      <a:pPr algn="l">
                        <a:defRPr sz="600">
                          <a:latin typeface="Nexa Book"/>
                        </a:defRPr>
                      </a:pPr>
                      <a:r>
                        <a:rPr sz="600">
                          <a:latin typeface="Nexa Book"/>
                        </a:rPr>
                        <a:t>EQUATE EASY FIT 5 5 BLADE REFILL NORMAL 8CT</a:t>
                      </a:r>
                    </a:p>
                  </a:txBody>
                  <a:tcPr marL="2858" marR="2858" marT="2858" marB="0" anchor="ctr">
                    <a:noFill/>
                  </a:tcPr>
                </a:tc>
                <a:tc>
                  <a:txBody>
                    <a:bodyPr/>
                    <a:lstStyle/>
                    <a:p>
                      <a:pPr algn="ctr">
                        <a:defRPr sz="600">
                          <a:latin typeface="Nexa Book"/>
                        </a:defRPr>
                      </a:pPr>
                      <a:r>
                        <a:rPr sz="600">
                          <a:latin typeface="Nexa Book"/>
                        </a:rPr>
                        <a:t>39%</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 15.95</a:t>
                      </a:r>
                    </a:p>
                  </a:txBody>
                  <a:tcPr marL="2858" marR="2858" marT="2858" marB="0" anchor="ctr">
                    <a:noFill/>
                  </a:tcPr>
                </a:tc>
                <a:tc>
                  <a:txBody>
                    <a:bodyPr/>
                    <a:lstStyle/>
                    <a:p>
                      <a:pPr algn="ctr">
                        <a:defRPr sz="600">
                          <a:latin typeface="Nexa Book"/>
                        </a:defRPr>
                      </a:pPr>
                      <a:r>
                        <a:rPr sz="600">
                          <a:latin typeface="Nexa Book"/>
                        </a:rPr>
                        <a:t> 9.77</a:t>
                      </a:r>
                    </a:p>
                  </a:txBody>
                  <a:tcPr marL="2858" marR="2858" marT="2858" marB="0" anchor="ctr">
                    <a:noFill/>
                  </a:tcPr>
                </a:tc>
                <a:tc>
                  <a:txBody>
                    <a:bodyPr/>
                    <a:lstStyle/>
                    <a:p>
                      <a:pPr algn="ctr">
                        <a:defRPr sz="600">
                          <a:latin typeface="Nexa Book"/>
                        </a:defRPr>
                      </a:pPr>
                      <a:r>
                        <a:rPr sz="600">
                          <a:latin typeface="Nexa Book"/>
                        </a:rPr>
                        <a:t>150'016</a:t>
                      </a:r>
                    </a:p>
                  </a:txBody>
                  <a:tcPr marL="2858" marR="2858" marT="2858" marB="0" anchor="ctr">
                    <a:noFill/>
                  </a:tcPr>
                </a:tc>
                <a:tc>
                  <a:txBody>
                    <a:bodyPr/>
                    <a:lstStyle/>
                    <a:p>
                      <a:pPr algn="ctr">
                        <a:defRPr sz="600">
                          <a:latin typeface="Nexa Book"/>
                        </a:defRPr>
                      </a:pPr>
                      <a:r>
                        <a:rPr sz="600">
                          <a:latin typeface="Nexa Book"/>
                        </a:rPr>
                        <a:t>-16%</a:t>
                      </a:r>
                    </a:p>
                  </a:txBody>
                  <a:tcPr marL="2858" marR="2858" marT="2858" marB="0" anchor="ctr">
                    <a:noFill/>
                  </a:tcPr>
                </a:tc>
                <a:tc>
                  <a:txBody>
                    <a:bodyPr/>
                    <a:lstStyle/>
                    <a:p>
                      <a:pPr algn="ctr">
                        <a:defRPr sz="600">
                          <a:latin typeface="Nexa Book"/>
                        </a:defRPr>
                      </a:pPr>
                      <a:r>
                        <a:rPr sz="600">
                          <a:latin typeface="Nexa Book"/>
                        </a:rPr>
                        <a:t>34%</a:t>
                      </a:r>
                    </a:p>
                  </a:txBody>
                  <a:tcPr marL="2858" marR="2858" marT="2858" marB="0" anchor="ctr">
                    <a:noFill/>
                  </a:tcPr>
                </a:tc>
                <a:tc>
                  <a:txBody>
                    <a:bodyPr/>
                    <a:lstStyle/>
                    <a:p>
                      <a:pPr algn="ctr">
                        <a:defRPr sz="600">
                          <a:latin typeface="Nexa Book"/>
                        </a:defRPr>
                      </a:pPr>
                      <a:r>
                        <a:rPr sz="600">
                          <a:latin typeface="Nexa Book"/>
                        </a:rPr>
                        <a:t>-42801</a:t>
                      </a:r>
                    </a:p>
                  </a:txBody>
                  <a:tcPr marL="2858" marR="2858" marT="2858" marB="0" anchor="ctr">
                    <a:noFill/>
                  </a:tcPr>
                </a:tc>
                <a:tc>
                  <a:txBody>
                    <a:bodyPr/>
                    <a:lstStyle/>
                    <a:p>
                      <a:pPr algn="ctr">
                        <a:defRPr sz="600">
                          <a:latin typeface="Nexa Book"/>
                        </a:defRPr>
                      </a:pPr>
                      <a:r>
                        <a:rPr sz="600">
                          <a:latin typeface="Nexa Book"/>
                        </a:rPr>
                        <a:t>-45%</a:t>
                      </a:r>
                    </a:p>
                  </a:txBody>
                  <a:tcPr marL="2858" marR="2858" marT="2858" marB="0" anchor="ctr">
                    <a:noFill/>
                  </a:tcPr>
                </a:tc>
                <a:tc>
                  <a:txBody>
                    <a:bodyPr/>
                    <a:lstStyle/>
                    <a:p>
                      <a:pPr algn="ctr">
                        <a:defRPr sz="600">
                          <a:latin typeface="Nexa Book"/>
                        </a:defRPr>
                      </a:pPr>
                      <a:r>
                        <a:rPr sz="600">
                          <a:latin typeface="Nexa Book"/>
                        </a:rPr>
                        <a:t>71%</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23152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5 BLADE REFILL SENSITIVE 6CT</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28%</a:t>
                      </a:r>
                    </a:p>
                  </a:txBody>
                  <a:tcPr marL="2858" marR="2858" marT="2858" marB="0" anchor="ctr">
                    <a:noFill/>
                  </a:tcPr>
                </a:tc>
                <a:tc>
                  <a:txBody>
                    <a:bodyPr/>
                    <a:lstStyle/>
                    <a:p>
                      <a:pPr algn="ctr">
                        <a:defRPr sz="600">
                          <a:latin typeface="Nexa Book"/>
                        </a:defRPr>
                      </a:pPr>
                      <a:r>
                        <a:rPr sz="600">
                          <a:latin typeface="Nexa Book"/>
                        </a:rPr>
                        <a:t> 14.91</a:t>
                      </a:r>
                    </a:p>
                  </a:txBody>
                  <a:tcPr marL="2858" marR="2858" marT="2858" marB="0" anchor="ctr">
                    <a:noFill/>
                  </a:tcPr>
                </a:tc>
                <a:tc>
                  <a:txBody>
                    <a:bodyPr/>
                    <a:lstStyle/>
                    <a:p>
                      <a:pPr algn="ctr">
                        <a:defRPr sz="600">
                          <a:latin typeface="Nexa Book"/>
                        </a:defRPr>
                      </a:pPr>
                      <a:r>
                        <a:rPr sz="600">
                          <a:latin typeface="Nexa Book"/>
                        </a:rPr>
                        <a:t> 13.84</a:t>
                      </a:r>
                    </a:p>
                  </a:txBody>
                  <a:tcPr marL="2858" marR="2858" marT="2858" marB="0" anchor="ctr">
                    <a:noFill/>
                  </a:tcPr>
                </a:tc>
                <a:tc>
                  <a:txBody>
                    <a:bodyPr/>
                    <a:lstStyle/>
                    <a:p>
                      <a:pPr algn="ctr">
                        <a:defRPr sz="600">
                          <a:latin typeface="Nexa Book"/>
                        </a:defRPr>
                      </a:pPr>
                      <a:r>
                        <a:rPr sz="600">
                          <a:latin typeface="Nexa Book"/>
                        </a:rPr>
                        <a:t>1'432'558</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r>
                        <a:rPr sz="600">
                          <a:latin typeface="Nexa Book"/>
                        </a:rPr>
                        <a:t>2%</a:t>
                      </a:r>
                    </a:p>
                  </a:txBody>
                  <a:tcPr marL="2858" marR="2858" marT="2858" marB="0" anchor="ctr">
                    <a:noFill/>
                  </a:tcPr>
                </a:tc>
                <a:tc>
                  <a:txBody>
                    <a:bodyPr/>
                    <a:lstStyle/>
                    <a:p>
                      <a:pPr algn="ctr">
                        <a:defRPr sz="600">
                          <a:latin typeface="Nexa Book"/>
                        </a:defRPr>
                      </a:pPr>
                      <a:r>
                        <a:rPr sz="600">
                          <a:latin typeface="Nexa Book"/>
                        </a:rPr>
                        <a:t>-77819</a:t>
                      </a:r>
                    </a:p>
                  </a:txBody>
                  <a:tcPr marL="2858" marR="2858" marT="2858" marB="0" anchor="ctr">
                    <a:noFill/>
                  </a:tcPr>
                </a:tc>
                <a:tc>
                  <a:txBody>
                    <a:bodyPr/>
                    <a:lstStyle/>
                    <a:p>
                      <a:pPr algn="ctr">
                        <a:defRPr sz="600">
                          <a:latin typeface="Nexa Book"/>
                        </a:defRPr>
                      </a:pPr>
                      <a:r>
                        <a:rPr sz="600">
                          <a:latin typeface="Nexa Book"/>
                        </a:rPr>
                        <a:t>-69%</a:t>
                      </a:r>
                    </a:p>
                  </a:txBody>
                  <a:tcPr marL="2858" marR="2858" marT="2858" marB="0" anchor="ctr">
                    <a:noFill/>
                  </a:tcPr>
                </a:tc>
                <a:tc>
                  <a:txBody>
                    <a:bodyPr/>
                    <a:lstStyle/>
                    <a:p>
                      <a:pPr algn="ctr">
                        <a:defRPr sz="600">
                          <a:latin typeface="Nexa Book"/>
                        </a:defRPr>
                      </a:pPr>
                      <a:r>
                        <a:rPr sz="600">
                          <a:latin typeface="Nexa Book"/>
                        </a:rPr>
                        <a:t>69%</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9158440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8/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Bj's And Sam's | Disposables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6"/>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1079921">
                <a:tc>
                  <a:txBody>
                    <a:bodyPr/>
                    <a:lstStyle/>
                    <a:p>
                      <a:pPr algn="ctr">
                        <a:defRPr sz="800">
                          <a:latin typeface="Nexa Bold"/>
                        </a:defRPr>
                      </a:pPr>
                      <a:r>
                        <a:t>Gille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68,37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1079921">
                <a:tc>
                  <a:txBody>
                    <a:bodyPr/>
                    <a:lstStyle/>
                    <a:p>
                      <a:pPr algn="ctr">
                        <a:defRPr sz="800">
                          <a:latin typeface="Nexa Bold"/>
                        </a:defRPr>
                      </a:pPr>
                      <a:r>
                        <a:t>Schick</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52,87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1079921">
                <a:tc>
                  <a:txBody>
                    <a:bodyPr/>
                    <a:lstStyle/>
                    <a:p>
                      <a:pPr algn="ctr">
                        <a:defRPr sz="800">
                          <a:latin typeface="Nexa Bold"/>
                        </a:defRPr>
                      </a:pPr>
                      <a:r>
                        <a:t>Bic</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2,45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48117355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6C832E98-8678-A693-5643-768C58A832B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6C832E98-8678-A693-5643-768C58A832B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D64701B2-2460-45D5-865F-3FB4D1BD3AB0}" type="datetime1">
              <a:rPr lang="en-US"/>
              <a:pPr/>
              <a:t>8/18/2025</a:t>
            </a:fld>
            <a:endParaRPr lang="en-US"/>
          </a:p>
        </p:txBody>
      </p:sp>
      <p:sp>
        <p:nvSpPr>
          <p:cNvPr id="12" name="Footer Placeholder 11">
            <a:extLst>
              <a:ext uri="{FF2B5EF4-FFF2-40B4-BE49-F238E27FC236}">
                <a16:creationId xmlns:a16="http://schemas.microsoft.com/office/drawing/2014/main" id="{7BE67518-82EE-BCF7-A57F-695B8A635C15}"/>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9274C1D-4570-8715-ED07-3FEB8DF0862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Bottom 20 Promotions By Value and Incremental | Manual Shave Men  |  Bj's And Sam'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Bottom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9884"/>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C8526F18-9B48-AA97-5928-5A2BA7578A65}"/>
              </a:ext>
            </a:extLst>
          </p:cNvPr>
          <p:cNvGraphicFramePr>
            <a:graphicFrameLocks noGrp="1"/>
          </p:cNvGraphicFramePr>
          <p:nvPr>
            <p:extLst>
              <p:ext uri="{D42A27DB-BD31-4B8C-83A1-F6EECF244321}">
                <p14:modId xmlns:p14="http://schemas.microsoft.com/office/powerpoint/2010/main" val="1625795460"/>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810330">
                <a:tc>
                  <a:txBody>
                    <a:bodyPr/>
                    <a:lstStyle/>
                    <a:p>
                      <a:pPr algn="l">
                        <a:defRPr sz="600">
                          <a:latin typeface="Nexa Book"/>
                        </a:defRPr>
                      </a:pPr>
                      <a:r>
                        <a:rPr sz="600">
                          <a:latin typeface="Nexa Book"/>
                        </a:rPr>
                        <a:t>Cremo</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CREMO HERITAGE BLACK HOLIDAY GIFT PACK REM BLADES RAZOR 5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3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0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4.3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8.8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30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8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9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2361446966"/>
                  </a:ext>
                </a:extLst>
              </a:tr>
              <a:tr h="81033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3 BLADE DISPOSABLE SENSITIVE 25CT</a:t>
                      </a:r>
                    </a:p>
                  </a:txBody>
                  <a:tcPr marL="2858" marR="2858" marT="2858" marB="0" anchor="ctr">
                    <a:noFill/>
                  </a:tcPr>
                </a:tc>
                <a:tc>
                  <a:txBody>
                    <a:bodyPr/>
                    <a:lstStyle/>
                    <a:p>
                      <a:pPr algn="ctr">
                        <a:defRPr sz="600">
                          <a:latin typeface="Nexa Book"/>
                        </a:defRPr>
                      </a:pPr>
                      <a:r>
                        <a:rPr sz="600">
                          <a:latin typeface="Nexa Book"/>
                        </a:rPr>
                        <a:t>17%</a:t>
                      </a:r>
                    </a:p>
                  </a:txBody>
                  <a:tcPr marL="2858" marR="2858" marT="2858" marB="0" anchor="ctr">
                    <a:noFill/>
                  </a:tcPr>
                </a:tc>
                <a:tc>
                  <a:txBody>
                    <a:bodyPr/>
                    <a:lstStyle/>
                    <a:p>
                      <a:pPr algn="ctr">
                        <a:defRPr sz="600">
                          <a:latin typeface="Nexa Book"/>
                        </a:defRPr>
                      </a:pPr>
                      <a:r>
                        <a:rPr sz="600">
                          <a:latin typeface="Nexa Book"/>
                        </a:rPr>
                        <a:t>83%</a:t>
                      </a:r>
                    </a:p>
                  </a:txBody>
                  <a:tcPr marL="2858" marR="2858" marT="2858" marB="0" anchor="ctr">
                    <a:noFill/>
                  </a:tcPr>
                </a:tc>
                <a:tc>
                  <a:txBody>
                    <a:bodyPr/>
                    <a:lstStyle/>
                    <a:p>
                      <a:pPr algn="ctr">
                        <a:defRPr sz="600">
                          <a:latin typeface="Nexa Book"/>
                        </a:defRPr>
                      </a:pPr>
                      <a:r>
                        <a:rPr sz="600">
                          <a:latin typeface="Nexa Book"/>
                        </a:rPr>
                        <a:t> 25.24</a:t>
                      </a:r>
                    </a:p>
                  </a:txBody>
                  <a:tcPr marL="2858" marR="2858" marT="2858" marB="0" anchor="ctr">
                    <a:noFill/>
                  </a:tcPr>
                </a:tc>
                <a:tc>
                  <a:txBody>
                    <a:bodyPr/>
                    <a:lstStyle/>
                    <a:p>
                      <a:pPr algn="ctr">
                        <a:defRPr sz="600">
                          <a:latin typeface="Nexa Book"/>
                        </a:defRPr>
                      </a:pPr>
                      <a:r>
                        <a:rPr sz="600">
                          <a:latin typeface="Nexa Book"/>
                        </a:rPr>
                        <a:t> 20.91</a:t>
                      </a:r>
                    </a:p>
                  </a:txBody>
                  <a:tcPr marL="2858" marR="2858" marT="2858" marB="0" anchor="ctr">
                    <a:noFill/>
                  </a:tcPr>
                </a:tc>
                <a:tc>
                  <a:txBody>
                    <a:bodyPr/>
                    <a:lstStyle/>
                    <a:p>
                      <a:pPr algn="ctr">
                        <a:defRPr sz="600">
                          <a:latin typeface="Nexa Book"/>
                        </a:defRPr>
                      </a:pPr>
                      <a:r>
                        <a:rPr sz="600">
                          <a:latin typeface="Nexa Book"/>
                        </a:rPr>
                        <a:t>17'686</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28%</a:t>
                      </a:r>
                    </a:p>
                  </a:txBody>
                  <a:tcPr marL="2858" marR="2858" marT="2858" marB="0" anchor="ctr">
                    <a:noFill/>
                  </a:tcPr>
                </a:tc>
                <a:tc>
                  <a:txBody>
                    <a:bodyPr/>
                    <a:lstStyle/>
                    <a:p>
                      <a:pPr algn="ctr">
                        <a:defRPr sz="600">
                          <a:latin typeface="Nexa Book"/>
                        </a:defRPr>
                      </a:pPr>
                      <a:r>
                        <a:rPr sz="600">
                          <a:latin typeface="Nexa Book"/>
                        </a:rPr>
                        <a:t>1081</a:t>
                      </a:r>
                    </a:p>
                  </a:txBody>
                  <a:tcPr marL="2858" marR="2858" marT="2858" marB="0" anchor="ctr">
                    <a:noFill/>
                  </a:tcPr>
                </a:tc>
                <a:tc>
                  <a:txBody>
                    <a:bodyPr/>
                    <a:lstStyle/>
                    <a:p>
                      <a:pPr algn="ctr">
                        <a:defRPr sz="600">
                          <a:latin typeface="Nexa Book"/>
                        </a:defRPr>
                      </a:pPr>
                      <a:r>
                        <a:rPr sz="600">
                          <a:latin typeface="Nexa Book"/>
                        </a:rPr>
                        <a:t>3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81033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BLACK 3 BLADE DISPOSABLE SENSITIVE 20CT</a:t>
                      </a:r>
                    </a:p>
                  </a:txBody>
                  <a:tcPr marL="2858" marR="2858" marT="2858" marB="0" anchor="ctr">
                    <a:noFill/>
                  </a:tcPr>
                </a:tc>
                <a:tc>
                  <a:txBody>
                    <a:bodyPr/>
                    <a:lstStyle/>
                    <a:p>
                      <a:pPr algn="ctr">
                        <a:defRPr sz="600">
                          <a:latin typeface="Nexa Book"/>
                        </a:defRPr>
                      </a:pPr>
                      <a:r>
                        <a:rPr sz="600">
                          <a:latin typeface="Nexa Book"/>
                        </a:rPr>
                        <a:t>13%</a:t>
                      </a:r>
                    </a:p>
                  </a:txBody>
                  <a:tcPr marL="2858" marR="2858" marT="2858" marB="0" anchor="ctr">
                    <a:noFill/>
                  </a:tcPr>
                </a:tc>
                <a:tc>
                  <a:txBody>
                    <a:bodyPr/>
                    <a:lstStyle/>
                    <a:p>
                      <a:pPr algn="ctr">
                        <a:defRPr sz="600">
                          <a:latin typeface="Nexa Book"/>
                        </a:defRPr>
                      </a:pPr>
                      <a:r>
                        <a:rPr sz="600">
                          <a:latin typeface="Nexa Book"/>
                        </a:rPr>
                        <a:t>80%</a:t>
                      </a:r>
                    </a:p>
                  </a:txBody>
                  <a:tcPr marL="2858" marR="2858" marT="2858" marB="0" anchor="ctr">
                    <a:noFill/>
                  </a:tcPr>
                </a:tc>
                <a:tc>
                  <a:txBody>
                    <a:bodyPr/>
                    <a:lstStyle/>
                    <a:p>
                      <a:pPr algn="ctr">
                        <a:defRPr sz="600">
                          <a:latin typeface="Nexa Book"/>
                        </a:defRPr>
                      </a:pPr>
                      <a:r>
                        <a:rPr sz="600">
                          <a:latin typeface="Nexa Book"/>
                        </a:rPr>
                        <a:t> 22.68</a:t>
                      </a:r>
                    </a:p>
                  </a:txBody>
                  <a:tcPr marL="2858" marR="2858" marT="2858" marB="0" anchor="ctr">
                    <a:noFill/>
                  </a:tcPr>
                </a:tc>
                <a:tc>
                  <a:txBody>
                    <a:bodyPr/>
                    <a:lstStyle/>
                    <a:p>
                      <a:pPr algn="ctr">
                        <a:defRPr sz="600">
                          <a:latin typeface="Nexa Book"/>
                        </a:defRPr>
                      </a:pPr>
                      <a:r>
                        <a:rPr sz="600">
                          <a:latin typeface="Nexa Book"/>
                        </a:rPr>
                        <a:t> 19.72</a:t>
                      </a:r>
                    </a:p>
                  </a:txBody>
                  <a:tcPr marL="2858" marR="2858" marT="2858" marB="0" anchor="ctr">
                    <a:noFill/>
                  </a:tcPr>
                </a:tc>
                <a:tc>
                  <a:txBody>
                    <a:bodyPr/>
                    <a:lstStyle/>
                    <a:p>
                      <a:pPr algn="ctr">
                        <a:defRPr sz="600">
                          <a:latin typeface="Nexa Book"/>
                        </a:defRPr>
                      </a:pPr>
                      <a:r>
                        <a:rPr sz="600">
                          <a:latin typeface="Nexa Book"/>
                        </a:rPr>
                        <a:t>560'410</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26%</a:t>
                      </a:r>
                    </a:p>
                  </a:txBody>
                  <a:tcPr marL="2858" marR="2858" marT="2858" marB="0" anchor="ctr">
                    <a:noFill/>
                  </a:tcPr>
                </a:tc>
                <a:tc>
                  <a:txBody>
                    <a:bodyPr/>
                    <a:lstStyle/>
                    <a:p>
                      <a:pPr algn="ctr">
                        <a:defRPr sz="600">
                          <a:latin typeface="Nexa Book"/>
                        </a:defRPr>
                      </a:pPr>
                      <a:r>
                        <a:rPr sz="600">
                          <a:latin typeface="Nexa Book"/>
                        </a:rPr>
                        <a:t>46156</a:t>
                      </a:r>
                    </a:p>
                  </a:txBody>
                  <a:tcPr marL="2858" marR="2858" marT="2858" marB="0" anchor="ctr">
                    <a:noFill/>
                  </a:tcPr>
                </a:tc>
                <a:tc>
                  <a:txBody>
                    <a:bodyPr/>
                    <a:lstStyle/>
                    <a:p>
                      <a:pPr algn="ctr">
                        <a:defRPr sz="600">
                          <a:latin typeface="Nexa Book"/>
                        </a:defRPr>
                      </a:pPr>
                      <a:r>
                        <a:rPr sz="600">
                          <a:latin typeface="Nexa Book"/>
                        </a:rPr>
                        <a:t>55%</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81033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BLACK GREEN 3 BLADE DISPOSABLE SENSITIVE 20CT</a:t>
                      </a:r>
                    </a:p>
                  </a:txBody>
                  <a:tcPr marL="2858" marR="2858" marT="2858" marB="0" anchor="ctr">
                    <a:noFill/>
                  </a:tcPr>
                </a:tc>
                <a:tc>
                  <a:txBody>
                    <a:bodyPr/>
                    <a:lstStyle/>
                    <a:p>
                      <a:pPr algn="ctr">
                        <a:defRPr sz="600">
                          <a:latin typeface="Nexa Book"/>
                        </a:defRPr>
                      </a:pPr>
                      <a:r>
                        <a:rPr sz="600">
                          <a:latin typeface="Nexa Book"/>
                        </a:rPr>
                        <a:t>19%</a:t>
                      </a:r>
                    </a:p>
                  </a:txBody>
                  <a:tcPr marL="2858" marR="2858" marT="2858" marB="0" anchor="ctr">
                    <a:noFill/>
                  </a:tcPr>
                </a:tc>
                <a:tc>
                  <a:txBody>
                    <a:bodyPr/>
                    <a:lstStyle/>
                    <a:p>
                      <a:pPr algn="ctr">
                        <a:defRPr sz="600">
                          <a:latin typeface="Nexa Book"/>
                        </a:defRPr>
                      </a:pPr>
                      <a:r>
                        <a:rPr sz="600">
                          <a:latin typeface="Nexa Book"/>
                        </a:rPr>
                        <a:t>56%</a:t>
                      </a:r>
                    </a:p>
                  </a:txBody>
                  <a:tcPr marL="2858" marR="2858" marT="2858" marB="0" anchor="ctr">
                    <a:noFill/>
                  </a:tcPr>
                </a:tc>
                <a:tc>
                  <a:txBody>
                    <a:bodyPr/>
                    <a:lstStyle/>
                    <a:p>
                      <a:pPr algn="ctr">
                        <a:defRPr sz="600">
                          <a:latin typeface="Nexa Book"/>
                        </a:defRPr>
                      </a:pPr>
                      <a:r>
                        <a:rPr sz="600">
                          <a:latin typeface="Nexa Book"/>
                        </a:rPr>
                        <a:t> 20.24</a:t>
                      </a:r>
                    </a:p>
                  </a:txBody>
                  <a:tcPr marL="2858" marR="2858" marT="2858" marB="0" anchor="ctr">
                    <a:noFill/>
                  </a:tcPr>
                </a:tc>
                <a:tc>
                  <a:txBody>
                    <a:bodyPr/>
                    <a:lstStyle/>
                    <a:p>
                      <a:pPr algn="ctr">
                        <a:defRPr sz="600">
                          <a:latin typeface="Nexa Book"/>
                        </a:defRPr>
                      </a:pPr>
                      <a:r>
                        <a:rPr sz="600">
                          <a:latin typeface="Nexa Book"/>
                        </a:rPr>
                        <a:t> 16.48</a:t>
                      </a:r>
                    </a:p>
                  </a:txBody>
                  <a:tcPr marL="2858" marR="2858" marT="2858" marB="0" anchor="ctr">
                    <a:noFill/>
                  </a:tcPr>
                </a:tc>
                <a:tc>
                  <a:txBody>
                    <a:bodyPr/>
                    <a:lstStyle/>
                    <a:p>
                      <a:pPr algn="ctr">
                        <a:defRPr sz="600">
                          <a:latin typeface="Nexa Book"/>
                        </a:defRPr>
                      </a:pPr>
                      <a:r>
                        <a:rPr sz="600">
                          <a:latin typeface="Nexa Book"/>
                        </a:rPr>
                        <a:t>5'674'749</a:t>
                      </a:r>
                    </a:p>
                  </a:txBody>
                  <a:tcPr marL="2858" marR="2858" marT="2858" marB="0" anchor="ctr">
                    <a:noFill/>
                  </a:tcPr>
                </a:tc>
                <a:tc>
                  <a:txBody>
                    <a:bodyPr/>
                    <a:lstStyle/>
                    <a:p>
                      <a:pPr algn="ctr">
                        <a:defRPr sz="600">
                          <a:latin typeface="Nexa Book"/>
                        </a:defRPr>
                      </a:pPr>
                      <a:r>
                        <a:rPr sz="600">
                          <a:latin typeface="Nexa Book"/>
                        </a:rPr>
                        <a:t>24%</a:t>
                      </a:r>
                    </a:p>
                  </a:txBody>
                  <a:tcPr marL="2858" marR="2858" marT="2858" marB="0" anchor="ctr">
                    <a:noFill/>
                  </a:tcPr>
                </a:tc>
                <a:tc>
                  <a:txBody>
                    <a:bodyPr/>
                    <a:lstStyle/>
                    <a:p>
                      <a:pPr algn="ctr">
                        <a:defRPr sz="600">
                          <a:latin typeface="Nexa Book"/>
                        </a:defRPr>
                      </a:pPr>
                      <a:r>
                        <a:rPr sz="600">
                          <a:latin typeface="Nexa Book"/>
                        </a:rPr>
                        <a:t>53%</a:t>
                      </a:r>
                    </a:p>
                  </a:txBody>
                  <a:tcPr marL="2858" marR="2858" marT="2858" marB="0" anchor="ctr">
                    <a:noFill/>
                  </a:tcPr>
                </a:tc>
                <a:tc>
                  <a:txBody>
                    <a:bodyPr/>
                    <a:lstStyle/>
                    <a:p>
                      <a:pPr algn="ctr">
                        <a:defRPr sz="600">
                          <a:latin typeface="Nexa Book"/>
                        </a:defRPr>
                      </a:pPr>
                      <a:r>
                        <a:rPr sz="600">
                          <a:latin typeface="Nexa Book"/>
                        </a:rPr>
                        <a:t>1093869</a:t>
                      </a:r>
                    </a:p>
                  </a:txBody>
                  <a:tcPr marL="2858" marR="2858" marT="2858" marB="0" anchor="ctr">
                    <a:noFill/>
                  </a:tcPr>
                </a:tc>
                <a:tc>
                  <a:txBody>
                    <a:bodyPr/>
                    <a:lstStyle/>
                    <a:p>
                      <a:pPr algn="ctr">
                        <a:defRPr sz="600">
                          <a:latin typeface="Nexa Book"/>
                        </a:defRPr>
                      </a:pPr>
                      <a:r>
                        <a:rPr sz="600">
                          <a:latin typeface="Nexa Book"/>
                        </a:rPr>
                        <a:t>85%</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312053627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6C832E98-8678-A693-5643-768C58A832B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6C832E98-8678-A693-5643-768C58A832B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D64701B2-2460-45D5-865F-3FB4D1BD3AB0}" type="datetime1">
              <a:rPr lang="en-US"/>
              <a:pPr/>
              <a:t>8/18/2025</a:t>
            </a:fld>
            <a:endParaRPr lang="en-US"/>
          </a:p>
        </p:txBody>
      </p:sp>
      <p:sp>
        <p:nvSpPr>
          <p:cNvPr id="12" name="Footer Placeholder 11">
            <a:extLst>
              <a:ext uri="{FF2B5EF4-FFF2-40B4-BE49-F238E27FC236}">
                <a16:creationId xmlns:a16="http://schemas.microsoft.com/office/drawing/2014/main" id="{7BE67518-82EE-BCF7-A57F-695B8A635C15}"/>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9274C1D-4570-8715-ED07-3FEB8DF0862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Bottom 20 Promotions By Value and Incremental | Manual Shave Men  |  Walmart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Bottom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9884"/>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C8526F18-9B48-AA97-5928-5A2BA7578A65}"/>
              </a:ext>
            </a:extLst>
          </p:cNvPr>
          <p:cNvGraphicFramePr>
            <a:graphicFrameLocks noGrp="1"/>
          </p:cNvGraphicFramePr>
          <p:nvPr>
            <p:extLst>
              <p:ext uri="{D42A27DB-BD31-4B8C-83A1-F6EECF244321}">
                <p14:modId xmlns:p14="http://schemas.microsoft.com/office/powerpoint/2010/main" val="1625795460"/>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a:defRPr sz="600">
                          <a:latin typeface="Nexa Book"/>
                        </a:defRPr>
                      </a:pPr>
                      <a:r>
                        <a:rPr sz="600">
                          <a:latin typeface="Nexa Book"/>
                        </a:rPr>
                        <a:t>Schick</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HYDRO 5 SENSITIVE 5 BLADE REFILL SENSITIVE 6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7%</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4.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3.84</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432'55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7781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6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69%</a:t>
                      </a: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a:defRPr sz="600">
                          <a:latin typeface="Nexa Book"/>
                        </a:defRPr>
                      </a:pPr>
                      <a:r>
                        <a:rPr sz="600">
                          <a:latin typeface="Nexa Book"/>
                        </a:rPr>
                        <a:t>Equate</a:t>
                      </a:r>
                    </a:p>
                  </a:txBody>
                  <a:tcPr marL="2858" marR="2858" marT="2858" marB="0" anchor="ctr">
                    <a:noFill/>
                  </a:tcPr>
                </a:tc>
                <a:tc>
                  <a:txBody>
                    <a:bodyPr/>
                    <a:lstStyle/>
                    <a:p>
                      <a:pPr algn="l">
                        <a:defRPr sz="600">
                          <a:latin typeface="Nexa Book"/>
                        </a:defRPr>
                      </a:pPr>
                      <a:r>
                        <a:rPr sz="600">
                          <a:latin typeface="Nexa Book"/>
                        </a:rPr>
                        <a:t>EQUATE EASY FIT 5 5 BLADE REFILL NORMAL 8CT</a:t>
                      </a:r>
                    </a:p>
                  </a:txBody>
                  <a:tcPr marL="2858" marR="2858" marT="2858" marB="0" anchor="ctr">
                    <a:noFill/>
                  </a:tcPr>
                </a:tc>
                <a:tc>
                  <a:txBody>
                    <a:bodyPr/>
                    <a:lstStyle/>
                    <a:p>
                      <a:pPr algn="ctr">
                        <a:defRPr sz="600">
                          <a:latin typeface="Nexa Book"/>
                        </a:defRPr>
                      </a:pPr>
                      <a:r>
                        <a:rPr sz="600">
                          <a:latin typeface="Nexa Book"/>
                        </a:rPr>
                        <a:t>39%</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 15.95</a:t>
                      </a:r>
                    </a:p>
                  </a:txBody>
                  <a:tcPr marL="2858" marR="2858" marT="2858" marB="0" anchor="ctr">
                    <a:noFill/>
                  </a:tcPr>
                </a:tc>
                <a:tc>
                  <a:txBody>
                    <a:bodyPr/>
                    <a:lstStyle/>
                    <a:p>
                      <a:pPr algn="ctr">
                        <a:defRPr sz="600">
                          <a:latin typeface="Nexa Book"/>
                        </a:defRPr>
                      </a:pPr>
                      <a:r>
                        <a:rPr sz="600">
                          <a:latin typeface="Nexa Book"/>
                        </a:rPr>
                        <a:t> 9.77</a:t>
                      </a:r>
                    </a:p>
                  </a:txBody>
                  <a:tcPr marL="2858" marR="2858" marT="2858" marB="0" anchor="ctr">
                    <a:noFill/>
                  </a:tcPr>
                </a:tc>
                <a:tc>
                  <a:txBody>
                    <a:bodyPr/>
                    <a:lstStyle/>
                    <a:p>
                      <a:pPr algn="ctr">
                        <a:defRPr sz="600">
                          <a:latin typeface="Nexa Book"/>
                        </a:defRPr>
                      </a:pPr>
                      <a:r>
                        <a:rPr sz="600">
                          <a:latin typeface="Nexa Book"/>
                        </a:rPr>
                        <a:t>150'016</a:t>
                      </a:r>
                    </a:p>
                  </a:txBody>
                  <a:tcPr marL="2858" marR="2858" marT="2858" marB="0" anchor="ctr">
                    <a:noFill/>
                  </a:tcPr>
                </a:tc>
                <a:tc>
                  <a:txBody>
                    <a:bodyPr/>
                    <a:lstStyle/>
                    <a:p>
                      <a:pPr algn="ctr">
                        <a:defRPr sz="600">
                          <a:latin typeface="Nexa Book"/>
                        </a:defRPr>
                      </a:pPr>
                      <a:r>
                        <a:rPr sz="600">
                          <a:latin typeface="Nexa Book"/>
                        </a:rPr>
                        <a:t>-16%</a:t>
                      </a:r>
                    </a:p>
                  </a:txBody>
                  <a:tcPr marL="2858" marR="2858" marT="2858" marB="0" anchor="ctr">
                    <a:noFill/>
                  </a:tcPr>
                </a:tc>
                <a:tc>
                  <a:txBody>
                    <a:bodyPr/>
                    <a:lstStyle/>
                    <a:p>
                      <a:pPr algn="ctr">
                        <a:defRPr sz="600">
                          <a:latin typeface="Nexa Book"/>
                        </a:defRPr>
                      </a:pPr>
                      <a:r>
                        <a:rPr sz="600">
                          <a:latin typeface="Nexa Book"/>
                        </a:rPr>
                        <a:t>34%</a:t>
                      </a:r>
                    </a:p>
                  </a:txBody>
                  <a:tcPr marL="2858" marR="2858" marT="2858" marB="0" anchor="ctr">
                    <a:noFill/>
                  </a:tcPr>
                </a:tc>
                <a:tc>
                  <a:txBody>
                    <a:bodyPr/>
                    <a:lstStyle/>
                    <a:p>
                      <a:pPr algn="ctr">
                        <a:defRPr sz="600">
                          <a:latin typeface="Nexa Book"/>
                        </a:defRPr>
                      </a:pPr>
                      <a:r>
                        <a:rPr sz="600">
                          <a:latin typeface="Nexa Book"/>
                        </a:rPr>
                        <a:t>-42801</a:t>
                      </a:r>
                    </a:p>
                  </a:txBody>
                  <a:tcPr marL="2858" marR="2858" marT="2858" marB="0" anchor="ctr">
                    <a:noFill/>
                  </a:tcPr>
                </a:tc>
                <a:tc>
                  <a:txBody>
                    <a:bodyPr/>
                    <a:lstStyle/>
                    <a:p>
                      <a:pPr algn="ctr">
                        <a:defRPr sz="600">
                          <a:latin typeface="Nexa Book"/>
                        </a:defRPr>
                      </a:pPr>
                      <a:r>
                        <a:rPr sz="600">
                          <a:latin typeface="Nexa Book"/>
                        </a:rPr>
                        <a:t>-45%</a:t>
                      </a:r>
                    </a:p>
                  </a:txBody>
                  <a:tcPr marL="2858" marR="2858" marT="2858" marB="0" anchor="ctr">
                    <a:noFill/>
                  </a:tcPr>
                </a:tc>
                <a:tc>
                  <a:txBody>
                    <a:bodyPr/>
                    <a:lstStyle/>
                    <a:p>
                      <a:pPr algn="ctr">
                        <a:defRPr sz="600">
                          <a:latin typeface="Nexa Book"/>
                        </a:defRPr>
                      </a:pPr>
                      <a:r>
                        <a:rPr sz="600">
                          <a:latin typeface="Nexa Book"/>
                        </a:rPr>
                        <a:t>71%</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HYDRO 3 SENSITIVE 3 BLADE REFILL SENSITIVE 5CT</a:t>
                      </a:r>
                    </a:p>
                  </a:txBody>
                  <a:tcPr marL="2858" marR="2858" marT="2858" marB="0" anchor="ctr">
                    <a:noFill/>
                  </a:tcPr>
                </a:tc>
                <a:tc>
                  <a:txBody>
                    <a:bodyPr/>
                    <a:lstStyle/>
                    <a:p>
                      <a:pPr algn="ctr">
                        <a:defRPr sz="600">
                          <a:latin typeface="Nexa Book"/>
                        </a:defRPr>
                      </a:pPr>
                      <a:r>
                        <a:rPr sz="600">
                          <a:latin typeface="Nexa Book"/>
                        </a:rPr>
                        <a:t>58%</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 9.92</a:t>
                      </a:r>
                    </a:p>
                  </a:txBody>
                  <a:tcPr marL="2858" marR="2858" marT="2858" marB="0" anchor="ctr">
                    <a:noFill/>
                  </a:tcPr>
                </a:tc>
                <a:tc>
                  <a:txBody>
                    <a:bodyPr/>
                    <a:lstStyle/>
                    <a:p>
                      <a:pPr algn="ctr">
                        <a:defRPr sz="600">
                          <a:latin typeface="Nexa Book"/>
                        </a:defRPr>
                      </a:pPr>
                      <a:r>
                        <a:rPr sz="600">
                          <a:latin typeface="Nexa Book"/>
                        </a:rPr>
                        <a:t> 4.17</a:t>
                      </a:r>
                    </a:p>
                  </a:txBody>
                  <a:tcPr marL="2858" marR="2858" marT="2858" marB="0" anchor="ctr">
                    <a:noFill/>
                  </a:tcPr>
                </a:tc>
                <a:tc>
                  <a:txBody>
                    <a:bodyPr/>
                    <a:lstStyle/>
                    <a:p>
                      <a:pPr algn="ctr">
                        <a:defRPr sz="600">
                          <a:latin typeface="Nexa Book"/>
                        </a:defRPr>
                      </a:pPr>
                      <a:r>
                        <a:rPr sz="600">
                          <a:latin typeface="Nexa Book"/>
                        </a:rPr>
                        <a:t>12'839</a:t>
                      </a:r>
                    </a:p>
                  </a:txBody>
                  <a:tcPr marL="2858" marR="2858" marT="2858" marB="0" anchor="ctr">
                    <a:noFill/>
                  </a:tcPr>
                </a:tc>
                <a:tc>
                  <a:txBody>
                    <a:bodyPr/>
                    <a:lstStyle/>
                    <a:p>
                      <a:pPr algn="ctr">
                        <a:defRPr sz="600">
                          <a:latin typeface="Nexa Book"/>
                        </a:defRPr>
                      </a:pPr>
                      <a:r>
                        <a:rPr sz="600">
                          <a:latin typeface="Nexa Book"/>
                        </a:rPr>
                        <a:t>-21%</a:t>
                      </a:r>
                    </a:p>
                  </a:txBody>
                  <a:tcPr marL="2858" marR="2858" marT="2858" marB="0" anchor="ctr">
                    <a:noFill/>
                  </a:tcPr>
                </a:tc>
                <a:tc>
                  <a:txBody>
                    <a:bodyPr/>
                    <a:lstStyle/>
                    <a:p>
                      <a:pPr algn="ctr">
                        <a:defRPr sz="600">
                          <a:latin typeface="Nexa Book"/>
                        </a:defRPr>
                      </a:pPr>
                      <a:r>
                        <a:rPr sz="600">
                          <a:latin typeface="Nexa Book"/>
                        </a:rPr>
                        <a:t>74%</a:t>
                      </a:r>
                    </a:p>
                  </a:txBody>
                  <a:tcPr marL="2858" marR="2858" marT="2858" marB="0" anchor="ctr">
                    <a:noFill/>
                  </a:tcPr>
                </a:tc>
                <a:tc>
                  <a:txBody>
                    <a:bodyPr/>
                    <a:lstStyle/>
                    <a:p>
                      <a:pPr algn="ctr">
                        <a:defRPr sz="600">
                          <a:latin typeface="Nexa Book"/>
                        </a:defRPr>
                      </a:pPr>
                      <a:r>
                        <a:rPr sz="600">
                          <a:latin typeface="Nexa Book"/>
                        </a:rPr>
                        <a:t>-4632</a:t>
                      </a:r>
                    </a:p>
                  </a:txBody>
                  <a:tcPr marL="2858" marR="2858" marT="2858" marB="0" anchor="ctr">
                    <a:noFill/>
                  </a:tcPr>
                </a:tc>
                <a:tc>
                  <a:txBody>
                    <a:bodyPr/>
                    <a:lstStyle/>
                    <a:p>
                      <a:pPr algn="ctr">
                        <a:defRPr sz="600">
                          <a:latin typeface="Nexa Book"/>
                        </a:defRPr>
                      </a:pPr>
                      <a:r>
                        <a:rPr sz="600">
                          <a:latin typeface="Nexa Book"/>
                        </a:rPr>
                        <a:t>-26%</a:t>
                      </a:r>
                    </a:p>
                  </a:txBody>
                  <a:tcPr marL="2858" marR="2858" marT="2858" marB="0" anchor="ctr">
                    <a:noFill/>
                  </a:tcPr>
                </a:tc>
                <a:tc>
                  <a:txBody>
                    <a:bodyPr/>
                    <a:lstStyle/>
                    <a:p>
                      <a:pPr algn="ctr">
                        <a:defRPr sz="600">
                          <a:latin typeface="Nexa Book"/>
                        </a:defRPr>
                      </a:pPr>
                      <a:r>
                        <a:rPr sz="600">
                          <a:latin typeface="Nexa Book"/>
                        </a:rPr>
                        <a:t>73%</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5 BLADE REFILL SENSITIVE 12CT</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29%</a:t>
                      </a:r>
                    </a:p>
                  </a:txBody>
                  <a:tcPr marL="2858" marR="2858" marT="2858" marB="0" anchor="ctr">
                    <a:noFill/>
                  </a:tcPr>
                </a:tc>
                <a:tc>
                  <a:txBody>
                    <a:bodyPr/>
                    <a:lstStyle/>
                    <a:p>
                      <a:pPr algn="ctr">
                        <a:defRPr sz="600">
                          <a:latin typeface="Nexa Book"/>
                        </a:defRPr>
                      </a:pPr>
                      <a:r>
                        <a:rPr sz="600">
                          <a:latin typeface="Nexa Book"/>
                        </a:rPr>
                        <a:t> 26.97</a:t>
                      </a:r>
                    </a:p>
                  </a:txBody>
                  <a:tcPr marL="2858" marR="2858" marT="2858" marB="0" anchor="ctr">
                    <a:noFill/>
                  </a:tcPr>
                </a:tc>
                <a:tc>
                  <a:txBody>
                    <a:bodyPr/>
                    <a:lstStyle/>
                    <a:p>
                      <a:pPr algn="ctr">
                        <a:defRPr sz="600">
                          <a:latin typeface="Nexa Book"/>
                        </a:defRPr>
                      </a:pPr>
                      <a:r>
                        <a:rPr sz="600">
                          <a:latin typeface="Nexa Book"/>
                        </a:rPr>
                        <a:t> 24.15</a:t>
                      </a:r>
                    </a:p>
                  </a:txBody>
                  <a:tcPr marL="2858" marR="2858" marT="2858" marB="0" anchor="ctr">
                    <a:noFill/>
                  </a:tcPr>
                </a:tc>
                <a:tc>
                  <a:txBody>
                    <a:bodyPr/>
                    <a:lstStyle/>
                    <a:p>
                      <a:pPr algn="ctr">
                        <a:defRPr sz="600">
                          <a:latin typeface="Nexa Book"/>
                        </a:defRPr>
                      </a:pPr>
                      <a:r>
                        <a:rPr sz="600">
                          <a:latin typeface="Nexa Book"/>
                        </a:rPr>
                        <a:t>914'106</a:t>
                      </a:r>
                    </a:p>
                  </a:txBody>
                  <a:tcPr marL="2858" marR="2858" marT="2858" marB="0" anchor="ctr">
                    <a:noFill/>
                  </a:tcPr>
                </a:tc>
                <a:tc>
                  <a:txBody>
                    <a:bodyPr/>
                    <a:lstStyle/>
                    <a:p>
                      <a:pPr algn="ctr">
                        <a:defRPr sz="600">
                          <a:latin typeface="Nexa Book"/>
                        </a:defRPr>
                      </a:pPr>
                      <a:r>
                        <a:rPr sz="600">
                          <a:latin typeface="Nexa Book"/>
                        </a:rPr>
                        <a:t>-2%</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2900</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r>
                        <a:rPr sz="600">
                          <a:latin typeface="Nexa Book"/>
                        </a:rPr>
                        <a:t>69%</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HYDRO 3 SENSITIVE 3 BLADE RAZOR SENSITIVE 4CT</a:t>
                      </a:r>
                    </a:p>
                  </a:txBody>
                  <a:tcPr marL="2858" marR="2858" marT="2858" marB="0" anchor="ctr">
                    <a:noFill/>
                  </a:tcPr>
                </a:tc>
                <a:tc>
                  <a:txBody>
                    <a:bodyPr/>
                    <a:lstStyle/>
                    <a:p>
                      <a:pPr algn="ctr">
                        <a:defRPr sz="600">
                          <a:latin typeface="Nexa Book"/>
                        </a:defRPr>
                      </a:pPr>
                      <a:r>
                        <a:rPr sz="600">
                          <a:latin typeface="Nexa Book"/>
                        </a:rPr>
                        <a:t>42%</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 9.97</a:t>
                      </a:r>
                    </a:p>
                  </a:txBody>
                  <a:tcPr marL="2858" marR="2858" marT="2858" marB="0" anchor="ctr">
                    <a:noFill/>
                  </a:tcPr>
                </a:tc>
                <a:tc>
                  <a:txBody>
                    <a:bodyPr/>
                    <a:lstStyle/>
                    <a:p>
                      <a:pPr algn="ctr">
                        <a:defRPr sz="600">
                          <a:latin typeface="Nexa Book"/>
                        </a:defRPr>
                      </a:pPr>
                      <a:r>
                        <a:rPr sz="600">
                          <a:latin typeface="Nexa Book"/>
                        </a:rPr>
                        <a:t> 5.80</a:t>
                      </a:r>
                    </a:p>
                  </a:txBody>
                  <a:tcPr marL="2858" marR="2858" marT="2858" marB="0" anchor="ctr">
                    <a:noFill/>
                  </a:tcPr>
                </a:tc>
                <a:tc>
                  <a:txBody>
                    <a:bodyPr/>
                    <a:lstStyle/>
                    <a:p>
                      <a:pPr algn="ctr">
                        <a:defRPr sz="600">
                          <a:latin typeface="Nexa Book"/>
                        </a:defRPr>
                      </a:pPr>
                      <a:r>
                        <a:rPr sz="600">
                          <a:latin typeface="Nexa Book"/>
                        </a:rPr>
                        <a:t>6'974</a:t>
                      </a:r>
                    </a:p>
                  </a:txBody>
                  <a:tcPr marL="2858" marR="2858" marT="2858" marB="0" anchor="ctr">
                    <a:noFill/>
                  </a:tcPr>
                </a:tc>
                <a:tc>
                  <a:txBody>
                    <a:bodyPr/>
                    <a:lstStyle/>
                    <a:p>
                      <a:pPr algn="ctr">
                        <a:defRPr sz="600">
                          <a:latin typeface="Nexa Book"/>
                        </a:defRPr>
                      </a:pPr>
                      <a:r>
                        <a:rPr sz="600">
                          <a:latin typeface="Nexa Book"/>
                        </a:rPr>
                        <a:t>-19%</a:t>
                      </a:r>
                    </a:p>
                  </a:txBody>
                  <a:tcPr marL="2858" marR="2858" marT="2858" marB="0" anchor="ctr">
                    <a:noFill/>
                  </a:tcPr>
                </a:tc>
                <a:tc>
                  <a:txBody>
                    <a:bodyPr/>
                    <a:lstStyle/>
                    <a:p>
                      <a:pPr algn="ctr">
                        <a:defRPr sz="600">
                          <a:latin typeface="Nexa Book"/>
                        </a:defRPr>
                      </a:pPr>
                      <a:r>
                        <a:rPr sz="600">
                          <a:latin typeface="Nexa Book"/>
                        </a:rPr>
                        <a:t>37%</a:t>
                      </a:r>
                    </a:p>
                  </a:txBody>
                  <a:tcPr marL="2858" marR="2858" marT="2858" marB="0" anchor="ctr">
                    <a:noFill/>
                  </a:tcPr>
                </a:tc>
                <a:tc>
                  <a:txBody>
                    <a:bodyPr/>
                    <a:lstStyle/>
                    <a:p>
                      <a:pPr algn="ctr">
                        <a:defRPr sz="600">
                          <a:latin typeface="Nexa Book"/>
                        </a:defRPr>
                      </a:pPr>
                      <a:r>
                        <a:rPr sz="600">
                          <a:latin typeface="Nexa Book"/>
                        </a:rPr>
                        <a:t>-2626</a:t>
                      </a:r>
                    </a:p>
                  </a:txBody>
                  <a:tcPr marL="2858" marR="2858" marT="2858" marB="0" anchor="ctr">
                    <a:noFill/>
                  </a:tcPr>
                </a:tc>
                <a:tc>
                  <a:txBody>
                    <a:bodyPr/>
                    <a:lstStyle/>
                    <a:p>
                      <a:pPr algn="ctr">
                        <a:defRPr sz="600">
                          <a:latin typeface="Nexa Book"/>
                        </a:defRPr>
                      </a:pPr>
                      <a:r>
                        <a:rPr sz="600">
                          <a:latin typeface="Nexa Book"/>
                        </a:rPr>
                        <a:t>-52%</a:t>
                      </a:r>
                    </a:p>
                  </a:txBody>
                  <a:tcPr marL="2858" marR="2858" marT="2858" marB="0" anchor="ctr">
                    <a:noFill/>
                  </a:tcPr>
                </a:tc>
                <a:tc>
                  <a:txBody>
                    <a:bodyPr/>
                    <a:lstStyle/>
                    <a:p>
                      <a:pPr algn="ctr">
                        <a:defRPr sz="600">
                          <a:latin typeface="Nexa Book"/>
                        </a:defRPr>
                      </a:pPr>
                      <a:r>
                        <a:rPr sz="600">
                          <a:latin typeface="Nexa Book"/>
                        </a:rPr>
                        <a:t>60%</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a:defRPr sz="600">
                          <a:latin typeface="Nexa Book"/>
                        </a:defRPr>
                      </a:pPr>
                      <a:r>
                        <a:rPr sz="600">
                          <a:latin typeface="Nexa Book"/>
                        </a:rPr>
                        <a:t>Cremo</a:t>
                      </a:r>
                    </a:p>
                  </a:txBody>
                  <a:tcPr marL="2858" marR="2858" marT="2858" marB="0" anchor="ctr">
                    <a:noFill/>
                  </a:tcPr>
                </a:tc>
                <a:tc>
                  <a:txBody>
                    <a:bodyPr/>
                    <a:lstStyle/>
                    <a:p>
                      <a:pPr algn="l">
                        <a:defRPr sz="600">
                          <a:latin typeface="Nexa Book"/>
                        </a:defRPr>
                      </a:pPr>
                      <a:r>
                        <a:rPr sz="600">
                          <a:latin typeface="Nexa Book"/>
                        </a:rPr>
                        <a:t>CREMO HOLIDAY GIFT PACK 5 BLADE RAZOR 2CT</a:t>
                      </a:r>
                    </a:p>
                  </a:txBody>
                  <a:tcPr marL="2858" marR="2858" marT="2858" marB="0" anchor="ctr">
                    <a:noFill/>
                  </a:tcPr>
                </a:tc>
                <a:tc>
                  <a:txBody>
                    <a:bodyPr/>
                    <a:lstStyle/>
                    <a:p>
                      <a:pPr algn="ctr">
                        <a:defRPr sz="600">
                          <a:latin typeface="Nexa Book"/>
                        </a:defRPr>
                      </a:pPr>
                      <a:r>
                        <a:rPr sz="600">
                          <a:latin typeface="Nexa Book"/>
                        </a:rPr>
                        <a:t>38%</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9.08</a:t>
                      </a:r>
                    </a:p>
                  </a:txBody>
                  <a:tcPr marL="2858" marR="2858" marT="2858" marB="0" anchor="ctr">
                    <a:noFill/>
                  </a:tcPr>
                </a:tc>
                <a:tc>
                  <a:txBody>
                    <a:bodyPr/>
                    <a:lstStyle/>
                    <a:p>
                      <a:pPr algn="ctr">
                        <a:defRPr sz="600">
                          <a:latin typeface="Nexa Book"/>
                        </a:defRPr>
                      </a:pPr>
                      <a:r>
                        <a:rPr sz="600">
                          <a:latin typeface="Nexa Book"/>
                        </a:rPr>
                        <a:t> 5.62</a:t>
                      </a:r>
                    </a:p>
                  </a:txBody>
                  <a:tcPr marL="2858" marR="2858" marT="2858" marB="0" anchor="ctr">
                    <a:noFill/>
                  </a:tcPr>
                </a:tc>
                <a:tc>
                  <a:txBody>
                    <a:bodyPr/>
                    <a:lstStyle/>
                    <a:p>
                      <a:pPr algn="ctr">
                        <a:defRPr sz="600">
                          <a:latin typeface="Nexa Book"/>
                        </a:defRPr>
                      </a:pPr>
                      <a:r>
                        <a:rPr sz="600">
                          <a:latin typeface="Nexa Book"/>
                        </a:rPr>
                        <a:t>219</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13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DRY SKIN 5 BLADE REFILL NORMAL 4CT</a:t>
                      </a:r>
                    </a:p>
                  </a:txBody>
                  <a:tcPr marL="2858" marR="2858" marT="2858" marB="0" anchor="ctr">
                    <a:noFill/>
                  </a:tcPr>
                </a:tc>
                <a:tc>
                  <a:txBody>
                    <a:bodyPr/>
                    <a:lstStyle/>
                    <a:p>
                      <a:pPr algn="ctr">
                        <a:defRPr sz="600">
                          <a:latin typeface="Nexa Book"/>
                        </a:defRPr>
                      </a:pPr>
                      <a:r>
                        <a:rPr sz="600">
                          <a:latin typeface="Nexa Book"/>
                        </a:rPr>
                        <a:t>59%</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 6.09</a:t>
                      </a:r>
                    </a:p>
                  </a:txBody>
                  <a:tcPr marL="2858" marR="2858" marT="2858" marB="0" anchor="ctr">
                    <a:noFill/>
                  </a:tcPr>
                </a:tc>
                <a:tc>
                  <a:txBody>
                    <a:bodyPr/>
                    <a:lstStyle/>
                    <a:p>
                      <a:pPr algn="ctr">
                        <a:defRPr sz="600">
                          <a:latin typeface="Nexa Book"/>
                        </a:defRPr>
                      </a:pPr>
                      <a:r>
                        <a:rPr sz="600">
                          <a:latin typeface="Nexa Book"/>
                        </a:rPr>
                        <a:t> 2.44</a:t>
                      </a:r>
                    </a:p>
                  </a:txBody>
                  <a:tcPr marL="2858" marR="2858" marT="2858" marB="0" anchor="ctr">
                    <a:noFill/>
                  </a:tcPr>
                </a:tc>
                <a:tc>
                  <a:txBody>
                    <a:bodyPr/>
                    <a:lstStyle/>
                    <a:p>
                      <a:pPr algn="ctr">
                        <a:defRPr sz="600">
                          <a:latin typeface="Nexa Book"/>
                        </a:defRPr>
                      </a:pPr>
                      <a:r>
                        <a:rPr sz="600">
                          <a:latin typeface="Nexa Book"/>
                        </a:rPr>
                        <a:t>61</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131</a:t>
                      </a:r>
                    </a:p>
                  </a:txBody>
                  <a:tcPr marL="2858" marR="2858" marT="2858" marB="0" anchor="ctr">
                    <a:noFill/>
                  </a:tcPr>
                </a:tc>
                <a:tc>
                  <a:txBody>
                    <a:bodyPr/>
                    <a:lstStyle/>
                    <a:p>
                      <a:pPr algn="ctr">
                        <a:defRPr sz="600">
                          <a:latin typeface="Nexa Book"/>
                        </a:defRPr>
                      </a:pPr>
                      <a:r>
                        <a:rPr sz="600">
                          <a:latin typeface="Nexa Book"/>
                        </a:rPr>
                        <a:t>-147%</a:t>
                      </a:r>
                    </a:p>
                  </a:txBody>
                  <a:tcPr marL="2858" marR="2858" marT="2858" marB="0" anchor="ctr">
                    <a:noFill/>
                  </a:tcPr>
                </a:tc>
                <a:tc>
                  <a:txBody>
                    <a:bodyPr/>
                    <a:lstStyle/>
                    <a:p>
                      <a:pPr algn="ctr">
                        <a:defRPr sz="600">
                          <a:latin typeface="Nexa Book"/>
                        </a:defRPr>
                      </a:pPr>
                      <a:r>
                        <a:rPr sz="600">
                          <a:latin typeface="Nexa Book"/>
                        </a:rPr>
                        <a:t>80%</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DRY SKIN 5 BLADE RAZOR DRY 2CT</a:t>
                      </a:r>
                    </a:p>
                  </a:txBody>
                  <a:tcPr marL="2858" marR="2858" marT="2858" marB="0" anchor="ctr">
                    <a:noFill/>
                  </a:tcPr>
                </a:tc>
                <a:tc>
                  <a:txBody>
                    <a:bodyPr/>
                    <a:lstStyle/>
                    <a:p>
                      <a:pPr algn="ctr">
                        <a:defRPr sz="600">
                          <a:latin typeface="Nexa Book"/>
                        </a:defRPr>
                      </a:pPr>
                      <a:r>
                        <a:rPr sz="600">
                          <a:latin typeface="Nexa Book"/>
                        </a:rPr>
                        <a:t>50%</a:t>
                      </a:r>
                    </a:p>
                  </a:txBody>
                  <a:tcPr marL="2858" marR="2858" marT="2858" marB="0" anchor="ctr">
                    <a:noFill/>
                  </a:tcPr>
                </a:tc>
                <a:tc>
                  <a:txBody>
                    <a:bodyPr/>
                    <a:lstStyle/>
                    <a:p>
                      <a:pPr algn="ctr">
                        <a:defRPr sz="600">
                          <a:latin typeface="Nexa Book"/>
                        </a:defRPr>
                      </a:pPr>
                      <a:r>
                        <a:rPr sz="600">
                          <a:latin typeface="Nexa Book"/>
                        </a:rPr>
                        <a:t>34%</a:t>
                      </a:r>
                    </a:p>
                  </a:txBody>
                  <a:tcPr marL="2858" marR="2858" marT="2858" marB="0" anchor="ctr">
                    <a:noFill/>
                  </a:tcPr>
                </a:tc>
                <a:tc>
                  <a:txBody>
                    <a:bodyPr/>
                    <a:lstStyle/>
                    <a:p>
                      <a:pPr algn="ctr">
                        <a:defRPr sz="600">
                          <a:latin typeface="Nexa Book"/>
                        </a:defRPr>
                      </a:pPr>
                      <a:r>
                        <a:rPr sz="600">
                          <a:latin typeface="Nexa Book"/>
                        </a:rPr>
                        <a:t> 9.60</a:t>
                      </a:r>
                    </a:p>
                  </a:txBody>
                  <a:tcPr marL="2858" marR="2858" marT="2858" marB="0" anchor="ctr">
                    <a:noFill/>
                  </a:tcPr>
                </a:tc>
                <a:tc>
                  <a:txBody>
                    <a:bodyPr/>
                    <a:lstStyle/>
                    <a:p>
                      <a:pPr algn="ctr">
                        <a:defRPr sz="600">
                          <a:latin typeface="Nexa Book"/>
                        </a:defRPr>
                      </a:pPr>
                      <a:r>
                        <a:rPr sz="600">
                          <a:latin typeface="Nexa Book"/>
                        </a:rPr>
                        <a:t> 4.65</a:t>
                      </a:r>
                    </a:p>
                  </a:txBody>
                  <a:tcPr marL="2858" marR="2858" marT="2858" marB="0" anchor="ctr">
                    <a:noFill/>
                  </a:tcPr>
                </a:tc>
                <a:tc>
                  <a:txBody>
                    <a:bodyPr/>
                    <a:lstStyle/>
                    <a:p>
                      <a:pPr algn="ctr">
                        <a:defRPr sz="600">
                          <a:latin typeface="Nexa Book"/>
                        </a:defRPr>
                      </a:pPr>
                      <a:r>
                        <a:rPr sz="600">
                          <a:latin typeface="Nexa Book"/>
                        </a:rPr>
                        <a:t>344</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90</a:t>
                      </a:r>
                    </a:p>
                  </a:txBody>
                  <a:tcPr marL="2858" marR="2858" marT="2858" marB="0" anchor="ctr">
                    <a:noFill/>
                  </a:tcPr>
                </a:tc>
                <a:tc>
                  <a:txBody>
                    <a:bodyPr/>
                    <a:lstStyle/>
                    <a:p>
                      <a:pPr algn="ctr">
                        <a:defRPr sz="600">
                          <a:latin typeface="Nexa Book"/>
                        </a:defRPr>
                      </a:pPr>
                      <a:r>
                        <a:rPr sz="600">
                          <a:latin typeface="Nexa Book"/>
                        </a:rPr>
                        <a:t>-26%</a:t>
                      </a:r>
                    </a:p>
                  </a:txBody>
                  <a:tcPr marL="2858" marR="2858" marT="2858" marB="0" anchor="ctr">
                    <a:noFill/>
                  </a:tcPr>
                </a:tc>
                <a:tc>
                  <a:txBody>
                    <a:bodyPr/>
                    <a:lstStyle/>
                    <a:p>
                      <a:pPr algn="ctr">
                        <a:defRPr sz="600">
                          <a:latin typeface="Nexa Book"/>
                        </a:defRPr>
                      </a:pPr>
                      <a:r>
                        <a:rPr sz="600">
                          <a:latin typeface="Nexa Book"/>
                        </a:rPr>
                        <a:t>56%</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a:defRPr sz="600">
                          <a:latin typeface="Nexa Book"/>
                        </a:defRPr>
                      </a:pPr>
                      <a:r>
                        <a:rPr sz="600">
                          <a:latin typeface="Nexa Book"/>
                        </a:rPr>
                        <a:t>Cremo</a:t>
                      </a:r>
                    </a:p>
                  </a:txBody>
                  <a:tcPr marL="2858" marR="2858" marT="2858" marB="0" anchor="ctr">
                    <a:noFill/>
                  </a:tcPr>
                </a:tc>
                <a:tc>
                  <a:txBody>
                    <a:bodyPr/>
                    <a:lstStyle/>
                    <a:p>
                      <a:pPr algn="l">
                        <a:defRPr sz="600">
                          <a:latin typeface="Nexa Book"/>
                        </a:defRPr>
                      </a:pPr>
                      <a:r>
                        <a:rPr sz="600">
                          <a:latin typeface="Nexa Book"/>
                        </a:rPr>
                        <a:t>CREMO HERITAGE RED HOLIDAY GIFT PACK REM BLADES RAZOR 2CT</a:t>
                      </a:r>
                    </a:p>
                  </a:txBody>
                  <a:tcPr marL="2858" marR="2858" marT="2858" marB="0" anchor="ctr">
                    <a:noFill/>
                  </a:tcPr>
                </a:tc>
                <a:tc>
                  <a:txBody>
                    <a:bodyPr/>
                    <a:lstStyle/>
                    <a:p>
                      <a:pPr algn="ctr">
                        <a:defRPr sz="600">
                          <a:latin typeface="Nexa Book"/>
                        </a:defRPr>
                      </a:pPr>
                      <a:r>
                        <a:rPr sz="600">
                          <a:latin typeface="Nexa Book"/>
                        </a:rPr>
                        <a:t>26%</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6.73</a:t>
                      </a:r>
                    </a:p>
                  </a:txBody>
                  <a:tcPr marL="2858" marR="2858" marT="2858" marB="0" anchor="ctr">
                    <a:noFill/>
                  </a:tcPr>
                </a:tc>
                <a:tc>
                  <a:txBody>
                    <a:bodyPr/>
                    <a:lstStyle/>
                    <a:p>
                      <a:pPr algn="ctr">
                        <a:defRPr sz="600">
                          <a:latin typeface="Nexa Book"/>
                        </a:defRPr>
                      </a:pPr>
                      <a:r>
                        <a:rPr sz="600">
                          <a:latin typeface="Nexa Book"/>
                        </a:rPr>
                        <a:t> 4.98</a:t>
                      </a:r>
                    </a:p>
                  </a:txBody>
                  <a:tcPr marL="2858" marR="2858" marT="2858" marB="0" anchor="ctr">
                    <a:noFill/>
                  </a:tcPr>
                </a:tc>
                <a:tc>
                  <a:txBody>
                    <a:bodyPr/>
                    <a:lstStyle/>
                    <a:p>
                      <a:pPr algn="ctr">
                        <a:defRPr sz="600">
                          <a:latin typeface="Nexa Book"/>
                        </a:defRPr>
                      </a:pPr>
                      <a:r>
                        <a:rPr sz="600">
                          <a:latin typeface="Nexa Book"/>
                        </a:rPr>
                        <a:t>259</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84</a:t>
                      </a:r>
                    </a:p>
                  </a:txBody>
                  <a:tcPr marL="2858" marR="2858" marT="2858" marB="0" anchor="ctr">
                    <a:noFill/>
                  </a:tcPr>
                </a:tc>
                <a:tc>
                  <a:txBody>
                    <a:bodyPr/>
                    <a:lstStyle/>
                    <a:p>
                      <a:pPr algn="ctr">
                        <a:defRPr sz="600">
                          <a:latin typeface="Nexa Book"/>
                        </a:defRPr>
                      </a:pPr>
                      <a:r>
                        <a:rPr sz="600">
                          <a:latin typeface="Nexa Book"/>
                        </a:rPr>
                        <a:t>-92%</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QUATTRO FOR MEN 4 BLADE REFILL NORMAL 6CT</a:t>
                      </a:r>
                    </a:p>
                  </a:txBody>
                  <a:tcPr marL="2858" marR="2858" marT="2858" marB="0" anchor="ctr">
                    <a:noFill/>
                  </a:tcPr>
                </a:tc>
                <a:tc>
                  <a:txBody>
                    <a:bodyPr/>
                    <a:lstStyle/>
                    <a:p>
                      <a:pPr algn="ctr">
                        <a:defRPr sz="600">
                          <a:latin typeface="Nexa Book"/>
                        </a:defRPr>
                      </a:pPr>
                      <a:r>
                        <a:rPr sz="600">
                          <a:latin typeface="Nexa Book"/>
                        </a:rPr>
                        <a:t>56%</a:t>
                      </a:r>
                    </a:p>
                  </a:txBody>
                  <a:tcPr marL="2858" marR="2858" marT="2858" marB="0" anchor="ctr">
                    <a:noFill/>
                  </a:tcPr>
                </a:tc>
                <a:tc>
                  <a:txBody>
                    <a:bodyPr/>
                    <a:lstStyle/>
                    <a:p>
                      <a:pPr algn="ctr">
                        <a:defRPr sz="600">
                          <a:latin typeface="Nexa Book"/>
                        </a:defRPr>
                      </a:pPr>
                      <a:r>
                        <a:rPr sz="600">
                          <a:latin typeface="Nexa Book"/>
                        </a:rPr>
                        <a:t>72%</a:t>
                      </a:r>
                    </a:p>
                  </a:txBody>
                  <a:tcPr marL="2858" marR="2858" marT="2858" marB="0" anchor="ctr">
                    <a:noFill/>
                  </a:tcPr>
                </a:tc>
                <a:tc>
                  <a:txBody>
                    <a:bodyPr/>
                    <a:lstStyle/>
                    <a:p>
                      <a:pPr algn="ctr">
                        <a:defRPr sz="600">
                          <a:latin typeface="Nexa Book"/>
                        </a:defRPr>
                      </a:pPr>
                      <a:r>
                        <a:rPr sz="600">
                          <a:latin typeface="Nexa Book"/>
                        </a:rPr>
                        <a:t> 8.00</a:t>
                      </a:r>
                    </a:p>
                  </a:txBody>
                  <a:tcPr marL="2858" marR="2858" marT="2858" marB="0" anchor="ctr">
                    <a:noFill/>
                  </a:tcPr>
                </a:tc>
                <a:tc>
                  <a:txBody>
                    <a:bodyPr/>
                    <a:lstStyle/>
                    <a:p>
                      <a:pPr algn="ctr">
                        <a:defRPr sz="600">
                          <a:latin typeface="Nexa Book"/>
                        </a:defRPr>
                      </a:pPr>
                      <a:r>
                        <a:rPr sz="600">
                          <a:latin typeface="Nexa Book"/>
                        </a:rPr>
                        <a:t> 3.36</a:t>
                      </a:r>
                    </a:p>
                  </a:txBody>
                  <a:tcPr marL="2858" marR="2858" marT="2858" marB="0" anchor="ctr">
                    <a:noFill/>
                  </a:tcPr>
                </a:tc>
                <a:tc>
                  <a:txBody>
                    <a:bodyPr/>
                    <a:lstStyle/>
                    <a:p>
                      <a:pPr algn="ctr">
                        <a:defRPr sz="600">
                          <a:latin typeface="Nexa Book"/>
                        </a:defRPr>
                      </a:pPr>
                      <a:r>
                        <a:rPr sz="600">
                          <a:latin typeface="Nexa Book"/>
                        </a:rPr>
                        <a:t>111</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50</a:t>
                      </a:r>
                    </a:p>
                  </a:txBody>
                  <a:tcPr marL="2858" marR="2858" marT="2858" marB="0" anchor="ctr">
                    <a:noFill/>
                  </a:tcPr>
                </a:tc>
                <a:tc>
                  <a:txBody>
                    <a:bodyPr/>
                    <a:lstStyle/>
                    <a:p>
                      <a:pPr algn="ctr">
                        <a:defRPr sz="600">
                          <a:latin typeface="Nexa Book"/>
                        </a:defRPr>
                      </a:pPr>
                      <a:r>
                        <a:rPr sz="600">
                          <a:latin typeface="Nexa Book"/>
                        </a:rPr>
                        <a:t>-35%</a:t>
                      </a:r>
                    </a:p>
                  </a:txBody>
                  <a:tcPr marL="2858" marR="2858" marT="2858" marB="0" anchor="ctr">
                    <a:noFill/>
                  </a:tcPr>
                </a:tc>
                <a:tc>
                  <a:txBody>
                    <a:bodyPr/>
                    <a:lstStyle/>
                    <a:p>
                      <a:pPr algn="ctr">
                        <a:defRPr sz="600">
                          <a:latin typeface="Nexa Book"/>
                        </a:defRPr>
                      </a:pPr>
                      <a:r>
                        <a:rPr sz="600">
                          <a:latin typeface="Nexa Book"/>
                        </a:rPr>
                        <a:t>71%</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HOLIDAY GIFT PACK REM BLADES RAZOR SENSITIVE 3CT</a:t>
                      </a:r>
                    </a:p>
                  </a:txBody>
                  <a:tcPr marL="2858" marR="2858" marT="2858" marB="0" anchor="ctr">
                    <a:noFill/>
                  </a:tcPr>
                </a:tc>
                <a:tc>
                  <a:txBody>
                    <a:bodyPr/>
                    <a:lstStyle/>
                    <a:p>
                      <a:pPr algn="ctr">
                        <a:defRPr sz="600">
                          <a:latin typeface="Nexa Book"/>
                        </a:defRPr>
                      </a:pPr>
                      <a:r>
                        <a:rPr sz="600">
                          <a:latin typeface="Nexa Book"/>
                        </a:rPr>
                        <a:t>29%</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7.64</a:t>
                      </a:r>
                    </a:p>
                  </a:txBody>
                  <a:tcPr marL="2858" marR="2858" marT="2858" marB="0" anchor="ctr">
                    <a:noFill/>
                  </a:tcPr>
                </a:tc>
                <a:tc>
                  <a:txBody>
                    <a:bodyPr/>
                    <a:lstStyle/>
                    <a:p>
                      <a:pPr algn="ctr">
                        <a:defRPr sz="600">
                          <a:latin typeface="Nexa Book"/>
                        </a:defRPr>
                      </a:pPr>
                      <a:r>
                        <a:rPr sz="600">
                          <a:latin typeface="Nexa Book"/>
                        </a:rPr>
                        <a:t> 5.45</a:t>
                      </a:r>
                    </a:p>
                  </a:txBody>
                  <a:tcPr marL="2858" marR="2858" marT="2858" marB="0" anchor="ctr">
                    <a:noFill/>
                  </a:tcPr>
                </a:tc>
                <a:tc>
                  <a:txBody>
                    <a:bodyPr/>
                    <a:lstStyle/>
                    <a:p>
                      <a:pPr algn="ctr">
                        <a:defRPr sz="600">
                          <a:latin typeface="Nexa Book"/>
                        </a:defRPr>
                      </a:pPr>
                      <a:r>
                        <a:rPr sz="600">
                          <a:latin typeface="Nexa Book"/>
                        </a:rPr>
                        <a:t>12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48</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19%</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HOLIDAY GIFT PACK 3 BLADE DISPOSABLE SENSITIVE 6CT</a:t>
                      </a:r>
                    </a:p>
                  </a:txBody>
                  <a:tcPr marL="2858" marR="2858" marT="2858" marB="0" anchor="ctr">
                    <a:noFill/>
                  </a:tcPr>
                </a:tc>
                <a:tc>
                  <a:txBody>
                    <a:bodyPr/>
                    <a:lstStyle/>
                    <a:p>
                      <a:pPr algn="ctr">
                        <a:defRPr sz="600">
                          <a:latin typeface="Nexa Book"/>
                        </a:defRPr>
                      </a:pPr>
                      <a:r>
                        <a:rPr sz="600">
                          <a:latin typeface="Nexa Book"/>
                        </a:rPr>
                        <a:t>23%</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6.65</a:t>
                      </a:r>
                    </a:p>
                  </a:txBody>
                  <a:tcPr marL="2858" marR="2858" marT="2858" marB="0" anchor="ctr">
                    <a:noFill/>
                  </a:tcPr>
                </a:tc>
                <a:tc>
                  <a:txBody>
                    <a:bodyPr/>
                    <a:lstStyle/>
                    <a:p>
                      <a:pPr algn="ctr">
                        <a:defRPr sz="600">
                          <a:latin typeface="Nexa Book"/>
                        </a:defRPr>
                      </a:pPr>
                      <a:r>
                        <a:rPr sz="600">
                          <a:latin typeface="Nexa Book"/>
                        </a:rPr>
                        <a:t> 5.10</a:t>
                      </a:r>
                    </a:p>
                  </a:txBody>
                  <a:tcPr marL="2858" marR="2858" marT="2858" marB="0" anchor="ctr">
                    <a:noFill/>
                  </a:tcPr>
                </a:tc>
                <a:tc>
                  <a:txBody>
                    <a:bodyPr/>
                    <a:lstStyle/>
                    <a:p>
                      <a:pPr algn="ctr">
                        <a:defRPr sz="600">
                          <a:latin typeface="Nexa Book"/>
                        </a:defRPr>
                      </a:pPr>
                      <a:r>
                        <a:rPr sz="600">
                          <a:latin typeface="Nexa Book"/>
                        </a:rPr>
                        <a:t>158</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46</a:t>
                      </a:r>
                    </a:p>
                  </a:txBody>
                  <a:tcPr marL="2858" marR="2858" marT="2858" marB="0" anchor="ctr">
                    <a:noFill/>
                  </a:tcPr>
                </a:tc>
                <a:tc>
                  <a:txBody>
                    <a:bodyPr/>
                    <a:lstStyle/>
                    <a:p>
                      <a:pPr algn="ctr">
                        <a:defRPr sz="600">
                          <a:latin typeface="Nexa Book"/>
                        </a:defRPr>
                      </a:pPr>
                      <a:r>
                        <a:rPr sz="600">
                          <a:latin typeface="Nexa Book"/>
                        </a:rPr>
                        <a:t>-96%</a:t>
                      </a:r>
                    </a:p>
                  </a:txBody>
                  <a:tcPr marL="2858" marR="2858" marT="2858" marB="0" anchor="ctr">
                    <a:noFill/>
                  </a:tcPr>
                </a:tc>
                <a:tc>
                  <a:txBody>
                    <a:bodyPr/>
                    <a:lstStyle/>
                    <a:p>
                      <a:pPr algn="ctr">
                        <a:defRPr sz="600">
                          <a:latin typeface="Nexa Book"/>
                        </a:defRPr>
                      </a:pPr>
                      <a:r>
                        <a:rPr sz="600">
                          <a:latin typeface="Nexa Book"/>
                        </a:rPr>
                        <a:t>23%</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a:defRPr sz="600">
                          <a:latin typeface="Nexa Book"/>
                        </a:defRPr>
                      </a:pPr>
                      <a:r>
                        <a:rPr sz="600">
                          <a:latin typeface="Nexa Book"/>
                        </a:rPr>
                        <a:t>Equate</a:t>
                      </a:r>
                    </a:p>
                  </a:txBody>
                  <a:tcPr marL="2858" marR="2858" marT="2858" marB="0" anchor="ctr">
                    <a:noFill/>
                  </a:tcPr>
                </a:tc>
                <a:tc>
                  <a:txBody>
                    <a:bodyPr/>
                    <a:lstStyle/>
                    <a:p>
                      <a:pPr algn="l">
                        <a:defRPr sz="600">
                          <a:latin typeface="Nexa Book"/>
                        </a:defRPr>
                      </a:pPr>
                      <a:r>
                        <a:rPr sz="600">
                          <a:latin typeface="Nexa Book"/>
                        </a:rPr>
                        <a:t>EQUATE CALIBER 5 5 BLADE REFILL NORMAL 8CT</a:t>
                      </a:r>
                    </a:p>
                  </a:txBody>
                  <a:tcPr marL="2858" marR="2858" marT="2858" marB="0" anchor="ctr">
                    <a:noFill/>
                  </a:tcPr>
                </a:tc>
                <a:tc>
                  <a:txBody>
                    <a:bodyPr/>
                    <a:lstStyle/>
                    <a:p>
                      <a:pPr algn="ctr">
                        <a:defRPr sz="600">
                          <a:latin typeface="Nexa Book"/>
                        </a:defRPr>
                      </a:pPr>
                      <a:r>
                        <a:rPr sz="600">
                          <a:latin typeface="Nexa Book"/>
                        </a:rPr>
                        <a:t>72%</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 9.86</a:t>
                      </a:r>
                    </a:p>
                  </a:txBody>
                  <a:tcPr marL="2858" marR="2858" marT="2858" marB="0" anchor="ctr">
                    <a:noFill/>
                  </a:tcPr>
                </a:tc>
                <a:tc>
                  <a:txBody>
                    <a:bodyPr/>
                    <a:lstStyle/>
                    <a:p>
                      <a:pPr algn="ctr">
                        <a:defRPr sz="600">
                          <a:latin typeface="Nexa Book"/>
                        </a:defRPr>
                      </a:pPr>
                      <a:r>
                        <a:rPr sz="600">
                          <a:latin typeface="Nexa Book"/>
                        </a:rPr>
                        <a:t> 3.60</a:t>
                      </a:r>
                    </a:p>
                  </a:txBody>
                  <a:tcPr marL="2858" marR="2858" marT="2858" marB="0" anchor="ctr">
                    <a:noFill/>
                  </a:tcPr>
                </a:tc>
                <a:tc>
                  <a:txBody>
                    <a:bodyPr/>
                    <a:lstStyle/>
                    <a:p>
                      <a:pPr algn="ctr">
                        <a:defRPr sz="600">
                          <a:latin typeface="Nexa Book"/>
                        </a:defRPr>
                      </a:pPr>
                      <a:r>
                        <a:rPr sz="600">
                          <a:latin typeface="Nexa Book"/>
                        </a:rPr>
                        <a:t>18</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42</a:t>
                      </a:r>
                    </a:p>
                  </a:txBody>
                  <a:tcPr marL="2858" marR="2858" marT="2858" marB="0" anchor="ctr">
                    <a:noFill/>
                  </a:tcPr>
                </a:tc>
                <a:tc>
                  <a:txBody>
                    <a:bodyPr/>
                    <a:lstStyle/>
                    <a:p>
                      <a:pPr algn="ctr">
                        <a:defRPr sz="600">
                          <a:latin typeface="Nexa Book"/>
                        </a:defRPr>
                      </a:pPr>
                      <a:r>
                        <a:rPr sz="600">
                          <a:latin typeface="Nexa Book"/>
                        </a:rPr>
                        <a:t>-89%</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a:defRPr sz="600">
                          <a:latin typeface="Nexa Book"/>
                        </a:defRPr>
                      </a:pPr>
                      <a:r>
                        <a:rPr sz="600">
                          <a:latin typeface="Nexa Book"/>
                        </a:rPr>
                        <a:t>Cremo</a:t>
                      </a:r>
                    </a:p>
                  </a:txBody>
                  <a:tcPr marL="2858" marR="2858" marT="2858" marB="0" anchor="ctr">
                    <a:noFill/>
                  </a:tcPr>
                </a:tc>
                <a:tc>
                  <a:txBody>
                    <a:bodyPr/>
                    <a:lstStyle/>
                    <a:p>
                      <a:pPr algn="l">
                        <a:defRPr sz="600">
                          <a:latin typeface="Nexa Book"/>
                        </a:defRPr>
                      </a:pPr>
                      <a:r>
                        <a:rPr sz="600">
                          <a:latin typeface="Nexa Book"/>
                        </a:rPr>
                        <a:t>CREMO 5 BLADE REFILL NORMAL 4CT</a:t>
                      </a:r>
                    </a:p>
                  </a:txBody>
                  <a:tcPr marL="2858" marR="2858" marT="2858" marB="0" anchor="ctr">
                    <a:noFill/>
                  </a:tcPr>
                </a:tc>
                <a:tc>
                  <a:txBody>
                    <a:bodyPr/>
                    <a:lstStyle/>
                    <a:p>
                      <a:pPr algn="ctr">
                        <a:defRPr sz="600">
                          <a:latin typeface="Nexa Book"/>
                        </a:defRPr>
                      </a:pPr>
                      <a:r>
                        <a:rPr sz="600">
                          <a:latin typeface="Nexa Book"/>
                        </a:rPr>
                        <a:t>63%</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 13.86</a:t>
                      </a:r>
                    </a:p>
                  </a:txBody>
                  <a:tcPr marL="2858" marR="2858" marT="2858" marB="0" anchor="ctr">
                    <a:noFill/>
                  </a:tcPr>
                </a:tc>
                <a:tc>
                  <a:txBody>
                    <a:bodyPr/>
                    <a:lstStyle/>
                    <a:p>
                      <a:pPr algn="ctr">
                        <a:defRPr sz="600">
                          <a:latin typeface="Nexa Book"/>
                        </a:defRPr>
                      </a:pPr>
                      <a:r>
                        <a:rPr sz="600">
                          <a:latin typeface="Nexa Book"/>
                        </a:rPr>
                        <a:t> 5.08</a:t>
                      </a:r>
                    </a:p>
                  </a:txBody>
                  <a:tcPr marL="2858" marR="2858" marT="2858" marB="0" anchor="ctr">
                    <a:noFill/>
                  </a:tcPr>
                </a:tc>
                <a:tc>
                  <a:txBody>
                    <a:bodyPr/>
                    <a:lstStyle/>
                    <a:p>
                      <a:pPr algn="ctr">
                        <a:defRPr sz="600">
                          <a:latin typeface="Nexa Book"/>
                        </a:defRPr>
                      </a:pPr>
                      <a:r>
                        <a:rPr sz="600">
                          <a:latin typeface="Nexa Book"/>
                        </a:rPr>
                        <a:t>889</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9</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r>
                        <a:rPr sz="600">
                          <a:latin typeface="Nexa Book"/>
                        </a:rPr>
                        <a:t>71%</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BAMBOO 3 BLADE HYBRID NORMAL 3CT</a:t>
                      </a:r>
                    </a:p>
                  </a:txBody>
                  <a:tcPr marL="2858" marR="2858" marT="2858" marB="0" anchor="ctr">
                    <a:noFill/>
                  </a:tcPr>
                </a:tc>
                <a:tc>
                  <a:txBody>
                    <a:bodyPr/>
                    <a:lstStyle/>
                    <a:p>
                      <a:pPr algn="ctr">
                        <a:defRPr sz="600">
                          <a:latin typeface="Nexa Book"/>
                        </a:defRPr>
                      </a:pPr>
                      <a:r>
                        <a:rPr sz="600">
                          <a:latin typeface="Nexa Book"/>
                        </a:rPr>
                        <a:t>58%</a:t>
                      </a:r>
                    </a:p>
                  </a:txBody>
                  <a:tcPr marL="2858" marR="2858" marT="2858" marB="0" anchor="ctr">
                    <a:noFill/>
                  </a:tcPr>
                </a:tc>
                <a:tc>
                  <a:txBody>
                    <a:bodyPr/>
                    <a:lstStyle/>
                    <a:p>
                      <a:pPr algn="ctr">
                        <a:defRPr sz="600">
                          <a:latin typeface="Nexa Book"/>
                        </a:defRPr>
                      </a:pPr>
                      <a:r>
                        <a:rPr sz="600">
                          <a:latin typeface="Nexa Book"/>
                        </a:rPr>
                        <a:t>16%</a:t>
                      </a:r>
                    </a:p>
                  </a:txBody>
                  <a:tcPr marL="2858" marR="2858" marT="2858" marB="0" anchor="ctr">
                    <a:noFill/>
                  </a:tcPr>
                </a:tc>
                <a:tc>
                  <a:txBody>
                    <a:bodyPr/>
                    <a:lstStyle/>
                    <a:p>
                      <a:pPr algn="ctr">
                        <a:defRPr sz="600">
                          <a:latin typeface="Nexa Book"/>
                        </a:defRPr>
                      </a:pPr>
                      <a:r>
                        <a:rPr sz="600">
                          <a:latin typeface="Nexa Book"/>
                        </a:rPr>
                        <a:t> 5.35</a:t>
                      </a:r>
                    </a:p>
                  </a:txBody>
                  <a:tcPr marL="2858" marR="2858" marT="2858" marB="0" anchor="ctr">
                    <a:noFill/>
                  </a:tcPr>
                </a:tc>
                <a:tc>
                  <a:txBody>
                    <a:bodyPr/>
                    <a:lstStyle/>
                    <a:p>
                      <a:pPr algn="ctr">
                        <a:defRPr sz="600">
                          <a:latin typeface="Nexa Book"/>
                        </a:defRPr>
                      </a:pPr>
                      <a:r>
                        <a:rPr sz="600">
                          <a:latin typeface="Nexa Book"/>
                        </a:rPr>
                        <a:t> 2.50</a:t>
                      </a:r>
                    </a:p>
                  </a:txBody>
                  <a:tcPr marL="2858" marR="2858" marT="2858" marB="0" anchor="ctr">
                    <a:noFill/>
                  </a:tcPr>
                </a:tc>
                <a:tc>
                  <a:txBody>
                    <a:bodyPr/>
                    <a:lstStyle/>
                    <a:p>
                      <a:pPr algn="ctr">
                        <a:defRPr sz="600">
                          <a:latin typeface="Nexa Book"/>
                        </a:defRPr>
                      </a:pPr>
                      <a:r>
                        <a:rPr sz="600">
                          <a:latin typeface="Nexa Book"/>
                        </a:rPr>
                        <a:t>65</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8</a:t>
                      </a:r>
                    </a:p>
                  </a:txBody>
                  <a:tcPr marL="2858" marR="2858" marT="2858" marB="0" anchor="ctr">
                    <a:noFill/>
                  </a:tcPr>
                </a:tc>
                <a:tc>
                  <a:txBody>
                    <a:bodyPr/>
                    <a:lstStyle/>
                    <a:p>
                      <a:pPr algn="ctr">
                        <a:defRPr sz="600">
                          <a:latin typeface="Nexa Book"/>
                        </a:defRPr>
                      </a:pPr>
                      <a:r>
                        <a:rPr sz="600">
                          <a:latin typeface="Nexa Book"/>
                        </a:rPr>
                        <a:t>-43%</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3 BLADE DISPOSABLE SENSITIVE 1CT</a:t>
                      </a:r>
                    </a:p>
                  </a:txBody>
                  <a:tcPr marL="2858" marR="2858" marT="2858" marB="0" anchor="ctr">
                    <a:noFill/>
                  </a:tcPr>
                </a:tc>
                <a:tc>
                  <a:txBody>
                    <a:bodyPr/>
                    <a:lstStyle/>
                    <a:p>
                      <a:pPr algn="ctr">
                        <a:defRPr sz="600">
                          <a:latin typeface="Nexa Book"/>
                        </a:defRPr>
                      </a:pPr>
                      <a:r>
                        <a:rPr sz="600">
                          <a:latin typeface="Nexa Book"/>
                        </a:rPr>
                        <a:t>45%</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 1.16</a:t>
                      </a:r>
                    </a:p>
                  </a:txBody>
                  <a:tcPr marL="2858" marR="2858" marT="2858" marB="0" anchor="ctr">
                    <a:noFill/>
                  </a:tcPr>
                </a:tc>
                <a:tc>
                  <a:txBody>
                    <a:bodyPr/>
                    <a:lstStyle/>
                    <a:p>
                      <a:pPr algn="ctr">
                        <a:defRPr sz="600">
                          <a:latin typeface="Nexa Book"/>
                        </a:defRPr>
                      </a:pPr>
                      <a:r>
                        <a:rPr sz="600">
                          <a:latin typeface="Nexa Book"/>
                        </a:rPr>
                        <a:t> 0.60</a:t>
                      </a:r>
                    </a:p>
                  </a:txBody>
                  <a:tcPr marL="2858" marR="2858" marT="2858" marB="0" anchor="ctr">
                    <a:noFill/>
                  </a:tcPr>
                </a:tc>
                <a:tc>
                  <a:txBody>
                    <a:bodyPr/>
                    <a:lstStyle/>
                    <a:p>
                      <a:pPr algn="ctr">
                        <a:defRPr sz="600">
                          <a:latin typeface="Nexa Book"/>
                        </a:defRPr>
                      </a:pPr>
                      <a:r>
                        <a:rPr sz="600">
                          <a:latin typeface="Nexa Book"/>
                        </a:rPr>
                        <a:t>7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7</a:t>
                      </a:r>
                    </a:p>
                  </a:txBody>
                  <a:tcPr marL="2858" marR="2858" marT="2858" marB="0" anchor="ctr">
                    <a:noFill/>
                  </a:tcPr>
                </a:tc>
                <a:tc>
                  <a:txBody>
                    <a:bodyPr/>
                    <a:lstStyle/>
                    <a:p>
                      <a:pPr algn="ctr">
                        <a:defRPr sz="600">
                          <a:latin typeface="Nexa Book"/>
                        </a:defRPr>
                      </a:pPr>
                      <a:r>
                        <a:rPr sz="600">
                          <a:latin typeface="Nexa Book"/>
                        </a:rPr>
                        <a:t>-64%</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DRY SKIN 5 BLADE REFILL DRY 8CT</a:t>
                      </a:r>
                    </a:p>
                  </a:txBody>
                  <a:tcPr marL="2858" marR="2858" marT="2858" marB="0" anchor="ctr">
                    <a:noFill/>
                  </a:tcPr>
                </a:tc>
                <a:tc>
                  <a:txBody>
                    <a:bodyPr/>
                    <a:lstStyle/>
                    <a:p>
                      <a:pPr algn="ctr">
                        <a:defRPr sz="600">
                          <a:latin typeface="Nexa Book"/>
                        </a:defRPr>
                      </a:pPr>
                      <a:r>
                        <a:rPr sz="600">
                          <a:latin typeface="Nexa Book"/>
                        </a:rPr>
                        <a:t>86%</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r>
                        <a:rPr sz="600">
                          <a:latin typeface="Nexa Book"/>
                        </a:rPr>
                        <a:t> 18.18</a:t>
                      </a:r>
                    </a:p>
                  </a:txBody>
                  <a:tcPr marL="2858" marR="2858" marT="2858" marB="0" anchor="ctr">
                    <a:noFill/>
                  </a:tcPr>
                </a:tc>
                <a:tc>
                  <a:txBody>
                    <a:bodyPr/>
                    <a:lstStyle/>
                    <a:p>
                      <a:pPr algn="ctr">
                        <a:defRPr sz="600">
                          <a:latin typeface="Nexa Book"/>
                        </a:defRPr>
                      </a:pPr>
                      <a:r>
                        <a:rPr sz="600">
                          <a:latin typeface="Nexa Book"/>
                        </a:rPr>
                        <a:t> 4.00</a:t>
                      </a:r>
                    </a:p>
                  </a:txBody>
                  <a:tcPr marL="2858" marR="2858" marT="2858" marB="0" anchor="ctr">
                    <a:noFill/>
                  </a:tcPr>
                </a:tc>
                <a:tc>
                  <a:txBody>
                    <a:bodyPr/>
                    <a:lstStyle/>
                    <a:p>
                      <a:pPr algn="ctr">
                        <a:defRPr sz="600">
                          <a:latin typeface="Nexa Book"/>
                        </a:defRPr>
                      </a:pPr>
                      <a:r>
                        <a:rPr sz="600">
                          <a:latin typeface="Nexa Book"/>
                        </a:rPr>
                        <a:t>4</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DUO COMFORT 3 BLADE DISPOSABLE NORMAL 4CT</a:t>
                      </a:r>
                    </a:p>
                  </a:txBody>
                  <a:tcPr marL="2858" marR="2858" marT="2858" marB="0" anchor="ctr">
                    <a:noFill/>
                  </a:tcPr>
                </a:tc>
                <a:tc>
                  <a:txBody>
                    <a:bodyPr/>
                    <a:lstStyle/>
                    <a:p>
                      <a:pPr algn="ctr">
                        <a:defRPr sz="600">
                          <a:latin typeface="Nexa Book"/>
                        </a:defRPr>
                      </a:pPr>
                      <a:r>
                        <a:rPr sz="600">
                          <a:latin typeface="Nexa Book"/>
                        </a:rPr>
                        <a:t>63%</a:t>
                      </a:r>
                    </a:p>
                  </a:txBody>
                  <a:tcPr marL="2858" marR="2858" marT="2858" marB="0" anchor="ctr">
                    <a:noFill/>
                  </a:tcPr>
                </a:tc>
                <a:tc>
                  <a:txBody>
                    <a:bodyPr/>
                    <a:lstStyle/>
                    <a:p>
                      <a:pPr algn="ctr">
                        <a:defRPr sz="600">
                          <a:latin typeface="Nexa Book"/>
                        </a:defRPr>
                      </a:pPr>
                      <a:r>
                        <a:rPr sz="600">
                          <a:latin typeface="Nexa Book"/>
                        </a:rPr>
                        <a:t>30%</a:t>
                      </a:r>
                    </a:p>
                  </a:txBody>
                  <a:tcPr marL="2858" marR="2858" marT="2858" marB="0" anchor="ctr">
                    <a:noFill/>
                  </a:tcPr>
                </a:tc>
                <a:tc>
                  <a:txBody>
                    <a:bodyPr/>
                    <a:lstStyle/>
                    <a:p>
                      <a:pPr algn="ctr">
                        <a:defRPr sz="600">
                          <a:latin typeface="Nexa Book"/>
                        </a:defRPr>
                      </a:pPr>
                      <a:r>
                        <a:rPr sz="600">
                          <a:latin typeface="Nexa Book"/>
                        </a:rPr>
                        <a:t> 5.86</a:t>
                      </a:r>
                    </a:p>
                  </a:txBody>
                  <a:tcPr marL="2858" marR="2858" marT="2858" marB="0" anchor="ctr">
                    <a:noFill/>
                  </a:tcPr>
                </a:tc>
                <a:tc>
                  <a:txBody>
                    <a:bodyPr/>
                    <a:lstStyle/>
                    <a:p>
                      <a:pPr algn="ctr">
                        <a:defRPr sz="600">
                          <a:latin typeface="Nexa Book"/>
                        </a:defRPr>
                      </a:pPr>
                      <a:r>
                        <a:rPr sz="600">
                          <a:latin typeface="Nexa Book"/>
                        </a:rPr>
                        <a:t> 2.15</a:t>
                      </a:r>
                    </a:p>
                  </a:txBody>
                  <a:tcPr marL="2858" marR="2858" marT="2858" marB="0" anchor="ctr">
                    <a:noFill/>
                  </a:tcPr>
                </a:tc>
                <a:tc>
                  <a:txBody>
                    <a:bodyPr/>
                    <a:lstStyle/>
                    <a:p>
                      <a:pPr algn="ctr">
                        <a:defRPr sz="600">
                          <a:latin typeface="Nexa Book"/>
                        </a:defRPr>
                      </a:pPr>
                      <a:r>
                        <a:rPr sz="600">
                          <a:latin typeface="Nexa Book"/>
                        </a:rPr>
                        <a:t>28</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19</a:t>
                      </a:r>
                    </a:p>
                  </a:txBody>
                  <a:tcPr marL="2858" marR="2858" marT="2858" marB="0" anchor="ctr">
                    <a:noFill/>
                  </a:tcPr>
                </a:tc>
                <a:tc>
                  <a:txBody>
                    <a:bodyPr/>
                    <a:lstStyle/>
                    <a:p>
                      <a:pPr algn="ctr">
                        <a:defRPr sz="600">
                          <a:latin typeface="Nexa Book"/>
                        </a:defRPr>
                      </a:pPr>
                      <a:r>
                        <a:rPr sz="600">
                          <a:latin typeface="Nexa Book"/>
                        </a:rPr>
                        <a:t>-39%</a:t>
                      </a:r>
                    </a:p>
                  </a:txBody>
                  <a:tcPr marL="2858" marR="2858" marT="2858" marB="0" anchor="ctr">
                    <a:noFill/>
                  </a:tcPr>
                </a:tc>
                <a:tc>
                  <a:txBody>
                    <a:bodyPr/>
                    <a:lstStyle/>
                    <a:p>
                      <a:pPr algn="ctr">
                        <a:defRPr sz="600">
                          <a:latin typeface="Nexa Book"/>
                        </a:defRPr>
                      </a:pPr>
                      <a:r>
                        <a:rPr sz="600">
                          <a:latin typeface="Nexa Book"/>
                        </a:rPr>
                        <a:t>62%</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QUATTRO FOR MEN 4 BLADE REFILL NORMAL 8CT</a:t>
                      </a:r>
                    </a:p>
                  </a:txBody>
                  <a:tcPr marL="2858" marR="2858" marT="2858" marB="0" anchor="ctr">
                    <a:noFill/>
                  </a:tcPr>
                </a:tc>
                <a:tc>
                  <a:txBody>
                    <a:bodyPr/>
                    <a:lstStyle/>
                    <a:p>
                      <a:pPr algn="ctr">
                        <a:defRPr sz="600">
                          <a:latin typeface="Nexa Book"/>
                        </a:defRPr>
                      </a:pPr>
                      <a:r>
                        <a:rPr sz="600">
                          <a:latin typeface="Nexa Book"/>
                        </a:rPr>
                        <a:t>70%</a:t>
                      </a:r>
                    </a:p>
                  </a:txBody>
                  <a:tcPr marL="2858" marR="2858" marT="2858" marB="0" anchor="ctr">
                    <a:noFill/>
                  </a:tcPr>
                </a:tc>
                <a:tc>
                  <a:txBody>
                    <a:bodyPr/>
                    <a:lstStyle/>
                    <a:p>
                      <a:pPr algn="ctr">
                        <a:defRPr sz="600">
                          <a:latin typeface="Nexa Book"/>
                        </a:defRPr>
                      </a:pPr>
                      <a:r>
                        <a:rPr sz="600">
                          <a:latin typeface="Nexa Book"/>
                        </a:rPr>
                        <a:t>13%</a:t>
                      </a:r>
                    </a:p>
                  </a:txBody>
                  <a:tcPr marL="2858" marR="2858" marT="2858" marB="0" anchor="ctr">
                    <a:noFill/>
                  </a:tcPr>
                </a:tc>
                <a:tc>
                  <a:txBody>
                    <a:bodyPr/>
                    <a:lstStyle/>
                    <a:p>
                      <a:pPr algn="ctr">
                        <a:defRPr sz="600">
                          <a:latin typeface="Nexa Book"/>
                        </a:defRPr>
                      </a:pPr>
                      <a:r>
                        <a:rPr sz="600">
                          <a:latin typeface="Nexa Book"/>
                        </a:rPr>
                        <a:t> 6.87</a:t>
                      </a:r>
                    </a:p>
                  </a:txBody>
                  <a:tcPr marL="2858" marR="2858" marT="2858" marB="0" anchor="ctr">
                    <a:noFill/>
                  </a:tcPr>
                </a:tc>
                <a:tc>
                  <a:txBody>
                    <a:bodyPr/>
                    <a:lstStyle/>
                    <a:p>
                      <a:pPr algn="ctr">
                        <a:defRPr sz="600">
                          <a:latin typeface="Nexa Book"/>
                        </a:defRPr>
                      </a:pPr>
                      <a:r>
                        <a:rPr sz="600">
                          <a:latin typeface="Nexa Book"/>
                        </a:rPr>
                        <a:t> 3.30</a:t>
                      </a:r>
                    </a:p>
                  </a:txBody>
                  <a:tcPr marL="2858" marR="2858" marT="2858" marB="0" anchor="ctr">
                    <a:noFill/>
                  </a:tcPr>
                </a:tc>
                <a:tc>
                  <a:txBody>
                    <a:bodyPr/>
                    <a:lstStyle/>
                    <a:p>
                      <a:pPr algn="ctr">
                        <a:defRPr sz="600">
                          <a:latin typeface="Nexa Book"/>
                        </a:defRPr>
                      </a:pPr>
                      <a:r>
                        <a:rPr sz="600">
                          <a:latin typeface="Nexa Book"/>
                        </a:rPr>
                        <a:t>33</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17</a:t>
                      </a:r>
                    </a:p>
                  </a:txBody>
                  <a:tcPr marL="2858" marR="2858" marT="2858" marB="0" anchor="ctr">
                    <a:noFill/>
                  </a:tcPr>
                </a:tc>
                <a:tc>
                  <a:txBody>
                    <a:bodyPr/>
                    <a:lstStyle/>
                    <a:p>
                      <a:pPr algn="ctr">
                        <a:defRPr sz="600">
                          <a:latin typeface="Nexa Book"/>
                        </a:defRPr>
                      </a:pPr>
                      <a:r>
                        <a:rPr sz="600">
                          <a:latin typeface="Nexa Book"/>
                        </a:rPr>
                        <a:t>-22%</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a:defRPr sz="600">
                          <a:latin typeface="Nexa Book"/>
                        </a:defRPr>
                      </a:pPr>
                      <a:r>
                        <a:rPr sz="600">
                          <a:latin typeface="Nexa Book"/>
                        </a:rPr>
                        <a:t>Equate</a:t>
                      </a:r>
                    </a:p>
                  </a:txBody>
                  <a:tcPr marL="2858" marR="2858" marT="2858" marB="0" anchor="ctr">
                    <a:noFill/>
                  </a:tcPr>
                </a:tc>
                <a:tc>
                  <a:txBody>
                    <a:bodyPr/>
                    <a:lstStyle/>
                    <a:p>
                      <a:pPr algn="l">
                        <a:defRPr sz="600">
                          <a:latin typeface="Nexa Book"/>
                        </a:defRPr>
                      </a:pPr>
                      <a:r>
                        <a:rPr sz="600">
                          <a:latin typeface="Nexa Book"/>
                        </a:rPr>
                        <a:t>EQUATE CALIBER 5 BLACK 5 BLADE RAZOR NORMAL 2CT</a:t>
                      </a:r>
                    </a:p>
                  </a:txBody>
                  <a:tcPr marL="2858" marR="2858" marT="2858" marB="0" anchor="ctr">
                    <a:noFill/>
                  </a:tcPr>
                </a:tc>
                <a:tc>
                  <a:txBody>
                    <a:bodyPr/>
                    <a:lstStyle/>
                    <a:p>
                      <a:pPr algn="ctr">
                        <a:defRPr sz="600">
                          <a:latin typeface="Nexa Book"/>
                        </a:defRPr>
                      </a:pPr>
                      <a:r>
                        <a:rPr sz="600">
                          <a:latin typeface="Nexa Book"/>
                        </a:rPr>
                        <a:t>60%</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 5.15</a:t>
                      </a:r>
                    </a:p>
                  </a:txBody>
                  <a:tcPr marL="2858" marR="2858" marT="2858" marB="0" anchor="ctr">
                    <a:noFill/>
                  </a:tcPr>
                </a:tc>
                <a:tc>
                  <a:txBody>
                    <a:bodyPr/>
                    <a:lstStyle/>
                    <a:p>
                      <a:pPr algn="ctr">
                        <a:defRPr sz="600">
                          <a:latin typeface="Nexa Book"/>
                        </a:defRPr>
                      </a:pPr>
                      <a:r>
                        <a:rPr sz="600">
                          <a:latin typeface="Nexa Book"/>
                        </a:rPr>
                        <a:t> 2.00</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380378207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6C832E98-8678-A693-5643-768C58A832B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6C832E98-8678-A693-5643-768C58A832B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D64701B2-2460-45D5-865F-3FB4D1BD3AB0}" type="datetime1">
              <a:rPr lang="en-US"/>
              <a:pPr/>
              <a:t>8/18/2025</a:t>
            </a:fld>
            <a:endParaRPr lang="en-US"/>
          </a:p>
        </p:txBody>
      </p:sp>
      <p:sp>
        <p:nvSpPr>
          <p:cNvPr id="12" name="Footer Placeholder 11">
            <a:extLst>
              <a:ext uri="{FF2B5EF4-FFF2-40B4-BE49-F238E27FC236}">
                <a16:creationId xmlns:a16="http://schemas.microsoft.com/office/drawing/2014/main" id="{7BE67518-82EE-BCF7-A57F-695B8A635C15}"/>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9274C1D-4570-8715-ED07-3FEB8DF0862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Bottom 20 Promotions By Value and Incremental | Bj's And Sam's  |  System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Bottom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9884"/>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C8526F18-9B48-AA97-5928-5A2BA7578A65}"/>
              </a:ext>
            </a:extLst>
          </p:cNvPr>
          <p:cNvGraphicFramePr>
            <a:graphicFrameLocks noGrp="1"/>
          </p:cNvGraphicFramePr>
          <p:nvPr>
            <p:extLst>
              <p:ext uri="{D42A27DB-BD31-4B8C-83A1-F6EECF244321}">
                <p14:modId xmlns:p14="http://schemas.microsoft.com/office/powerpoint/2010/main" val="1625795460"/>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3241320">
                <a:tc>
                  <a:txBody>
                    <a:bodyPr/>
                    <a:lstStyle/>
                    <a:p>
                      <a:pPr algn="l">
                        <a:defRPr sz="600">
                          <a:latin typeface="Nexa Book"/>
                        </a:defRPr>
                      </a:pPr>
                      <a:r>
                        <a:rPr sz="600">
                          <a:latin typeface="Nexa Book"/>
                        </a:rPr>
                        <a:t>Cremo</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CREMO HERITAGE BLACK HOLIDAY GIFT PACK REM BLADES RAZOR 5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3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0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4.3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8.8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30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8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9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2857016580"/>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6C832E98-8678-A693-5643-768C58A832B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6C832E98-8678-A693-5643-768C58A832B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D64701B2-2460-45D5-865F-3FB4D1BD3AB0}" type="datetime1">
              <a:rPr lang="en-US"/>
              <a:pPr/>
              <a:t>8/18/2025</a:t>
            </a:fld>
            <a:endParaRPr lang="en-US"/>
          </a:p>
        </p:txBody>
      </p:sp>
      <p:sp>
        <p:nvSpPr>
          <p:cNvPr id="12" name="Footer Placeholder 11">
            <a:extLst>
              <a:ext uri="{FF2B5EF4-FFF2-40B4-BE49-F238E27FC236}">
                <a16:creationId xmlns:a16="http://schemas.microsoft.com/office/drawing/2014/main" id="{7BE67518-82EE-BCF7-A57F-695B8A635C15}"/>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9274C1D-4570-8715-ED07-3FEB8DF0862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Bottom 20 Promotions By Value and Incremental | Bj's And Sam's  |  Disposable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Bottom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9884"/>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C8526F18-9B48-AA97-5928-5A2BA7578A65}"/>
              </a:ext>
            </a:extLst>
          </p:cNvPr>
          <p:cNvGraphicFramePr>
            <a:graphicFrameLocks noGrp="1"/>
          </p:cNvGraphicFramePr>
          <p:nvPr>
            <p:extLst>
              <p:ext uri="{D42A27DB-BD31-4B8C-83A1-F6EECF244321}">
                <p14:modId xmlns:p14="http://schemas.microsoft.com/office/powerpoint/2010/main" val="1625795460"/>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080440">
                <a:tc>
                  <a:txBody>
                    <a:bodyPr/>
                    <a:lstStyle/>
                    <a:p>
                      <a:pPr algn="l">
                        <a:defRPr sz="600">
                          <a:latin typeface="Nexa Book"/>
                        </a:defRPr>
                      </a:pPr>
                      <a:r>
                        <a:rPr sz="600">
                          <a:latin typeface="Nexa Book"/>
                        </a:rPr>
                        <a:t>Schick</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SCHICK XTREME 3 SENSITIVE 3 BLADE DISPOSABLE SENSITIVE 25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7%</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83%</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25.24</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20.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7'68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7%</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0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3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2682436867"/>
                  </a:ext>
                </a:extLst>
              </a:tr>
              <a:tr h="108044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BLACK 3 BLADE DISPOSABLE SENSITIVE 20CT</a:t>
                      </a:r>
                    </a:p>
                  </a:txBody>
                  <a:tcPr marL="2858" marR="2858" marT="2858" marB="0" anchor="ctr">
                    <a:noFill/>
                  </a:tcPr>
                </a:tc>
                <a:tc>
                  <a:txBody>
                    <a:bodyPr/>
                    <a:lstStyle/>
                    <a:p>
                      <a:pPr algn="ctr">
                        <a:defRPr sz="600">
                          <a:latin typeface="Nexa Book"/>
                        </a:defRPr>
                      </a:pPr>
                      <a:r>
                        <a:rPr sz="600">
                          <a:latin typeface="Nexa Book"/>
                        </a:rPr>
                        <a:t>13%</a:t>
                      </a:r>
                    </a:p>
                  </a:txBody>
                  <a:tcPr marL="2858" marR="2858" marT="2858" marB="0" anchor="ctr">
                    <a:noFill/>
                  </a:tcPr>
                </a:tc>
                <a:tc>
                  <a:txBody>
                    <a:bodyPr/>
                    <a:lstStyle/>
                    <a:p>
                      <a:pPr algn="ctr">
                        <a:defRPr sz="600">
                          <a:latin typeface="Nexa Book"/>
                        </a:defRPr>
                      </a:pPr>
                      <a:r>
                        <a:rPr sz="600">
                          <a:latin typeface="Nexa Book"/>
                        </a:rPr>
                        <a:t>80%</a:t>
                      </a:r>
                    </a:p>
                  </a:txBody>
                  <a:tcPr marL="2858" marR="2858" marT="2858" marB="0" anchor="ctr">
                    <a:noFill/>
                  </a:tcPr>
                </a:tc>
                <a:tc>
                  <a:txBody>
                    <a:bodyPr/>
                    <a:lstStyle/>
                    <a:p>
                      <a:pPr algn="ctr">
                        <a:defRPr sz="600">
                          <a:latin typeface="Nexa Book"/>
                        </a:defRPr>
                      </a:pPr>
                      <a:r>
                        <a:rPr sz="600">
                          <a:latin typeface="Nexa Book"/>
                        </a:rPr>
                        <a:t> 22.68</a:t>
                      </a:r>
                    </a:p>
                  </a:txBody>
                  <a:tcPr marL="2858" marR="2858" marT="2858" marB="0" anchor="ctr">
                    <a:noFill/>
                  </a:tcPr>
                </a:tc>
                <a:tc>
                  <a:txBody>
                    <a:bodyPr/>
                    <a:lstStyle/>
                    <a:p>
                      <a:pPr algn="ctr">
                        <a:defRPr sz="600">
                          <a:latin typeface="Nexa Book"/>
                        </a:defRPr>
                      </a:pPr>
                      <a:r>
                        <a:rPr sz="600">
                          <a:latin typeface="Nexa Book"/>
                        </a:rPr>
                        <a:t> 19.72</a:t>
                      </a:r>
                    </a:p>
                  </a:txBody>
                  <a:tcPr marL="2858" marR="2858" marT="2858" marB="0" anchor="ctr">
                    <a:noFill/>
                  </a:tcPr>
                </a:tc>
                <a:tc>
                  <a:txBody>
                    <a:bodyPr/>
                    <a:lstStyle/>
                    <a:p>
                      <a:pPr algn="ctr">
                        <a:defRPr sz="600">
                          <a:latin typeface="Nexa Book"/>
                        </a:defRPr>
                      </a:pPr>
                      <a:r>
                        <a:rPr sz="600">
                          <a:latin typeface="Nexa Book"/>
                        </a:rPr>
                        <a:t>560'410</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26%</a:t>
                      </a:r>
                    </a:p>
                  </a:txBody>
                  <a:tcPr marL="2858" marR="2858" marT="2858" marB="0" anchor="ctr">
                    <a:noFill/>
                  </a:tcPr>
                </a:tc>
                <a:tc>
                  <a:txBody>
                    <a:bodyPr/>
                    <a:lstStyle/>
                    <a:p>
                      <a:pPr algn="ctr">
                        <a:defRPr sz="600">
                          <a:latin typeface="Nexa Book"/>
                        </a:defRPr>
                      </a:pPr>
                      <a:r>
                        <a:rPr sz="600">
                          <a:latin typeface="Nexa Book"/>
                        </a:rPr>
                        <a:t>46156</a:t>
                      </a:r>
                    </a:p>
                  </a:txBody>
                  <a:tcPr marL="2858" marR="2858" marT="2858" marB="0" anchor="ctr">
                    <a:noFill/>
                  </a:tcPr>
                </a:tc>
                <a:tc>
                  <a:txBody>
                    <a:bodyPr/>
                    <a:lstStyle/>
                    <a:p>
                      <a:pPr algn="ctr">
                        <a:defRPr sz="600">
                          <a:latin typeface="Nexa Book"/>
                        </a:defRPr>
                      </a:pPr>
                      <a:r>
                        <a:rPr sz="600">
                          <a:latin typeface="Nexa Book"/>
                        </a:rPr>
                        <a:t>55%</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08044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BLACK GREEN 3 BLADE DISPOSABLE SENSITIVE 20CT</a:t>
                      </a:r>
                    </a:p>
                  </a:txBody>
                  <a:tcPr marL="2858" marR="2858" marT="2858" marB="0" anchor="ctr">
                    <a:noFill/>
                  </a:tcPr>
                </a:tc>
                <a:tc>
                  <a:txBody>
                    <a:bodyPr/>
                    <a:lstStyle/>
                    <a:p>
                      <a:pPr algn="ctr">
                        <a:defRPr sz="600">
                          <a:latin typeface="Nexa Book"/>
                        </a:defRPr>
                      </a:pPr>
                      <a:r>
                        <a:rPr sz="600">
                          <a:latin typeface="Nexa Book"/>
                        </a:rPr>
                        <a:t>19%</a:t>
                      </a:r>
                    </a:p>
                  </a:txBody>
                  <a:tcPr marL="2858" marR="2858" marT="2858" marB="0" anchor="ctr">
                    <a:noFill/>
                  </a:tcPr>
                </a:tc>
                <a:tc>
                  <a:txBody>
                    <a:bodyPr/>
                    <a:lstStyle/>
                    <a:p>
                      <a:pPr algn="ctr">
                        <a:defRPr sz="600">
                          <a:latin typeface="Nexa Book"/>
                        </a:defRPr>
                      </a:pPr>
                      <a:r>
                        <a:rPr sz="600">
                          <a:latin typeface="Nexa Book"/>
                        </a:rPr>
                        <a:t>56%</a:t>
                      </a:r>
                    </a:p>
                  </a:txBody>
                  <a:tcPr marL="2858" marR="2858" marT="2858" marB="0" anchor="ctr">
                    <a:noFill/>
                  </a:tcPr>
                </a:tc>
                <a:tc>
                  <a:txBody>
                    <a:bodyPr/>
                    <a:lstStyle/>
                    <a:p>
                      <a:pPr algn="ctr">
                        <a:defRPr sz="600">
                          <a:latin typeface="Nexa Book"/>
                        </a:defRPr>
                      </a:pPr>
                      <a:r>
                        <a:rPr sz="600">
                          <a:latin typeface="Nexa Book"/>
                        </a:rPr>
                        <a:t> 20.24</a:t>
                      </a:r>
                    </a:p>
                  </a:txBody>
                  <a:tcPr marL="2858" marR="2858" marT="2858" marB="0" anchor="ctr">
                    <a:noFill/>
                  </a:tcPr>
                </a:tc>
                <a:tc>
                  <a:txBody>
                    <a:bodyPr/>
                    <a:lstStyle/>
                    <a:p>
                      <a:pPr algn="ctr">
                        <a:defRPr sz="600">
                          <a:latin typeface="Nexa Book"/>
                        </a:defRPr>
                      </a:pPr>
                      <a:r>
                        <a:rPr sz="600">
                          <a:latin typeface="Nexa Book"/>
                        </a:rPr>
                        <a:t> 16.48</a:t>
                      </a:r>
                    </a:p>
                  </a:txBody>
                  <a:tcPr marL="2858" marR="2858" marT="2858" marB="0" anchor="ctr">
                    <a:noFill/>
                  </a:tcPr>
                </a:tc>
                <a:tc>
                  <a:txBody>
                    <a:bodyPr/>
                    <a:lstStyle/>
                    <a:p>
                      <a:pPr algn="ctr">
                        <a:defRPr sz="600">
                          <a:latin typeface="Nexa Book"/>
                        </a:defRPr>
                      </a:pPr>
                      <a:r>
                        <a:rPr sz="600">
                          <a:latin typeface="Nexa Book"/>
                        </a:rPr>
                        <a:t>5'674'749</a:t>
                      </a:r>
                    </a:p>
                  </a:txBody>
                  <a:tcPr marL="2858" marR="2858" marT="2858" marB="0" anchor="ctr">
                    <a:noFill/>
                  </a:tcPr>
                </a:tc>
                <a:tc>
                  <a:txBody>
                    <a:bodyPr/>
                    <a:lstStyle/>
                    <a:p>
                      <a:pPr algn="ctr">
                        <a:defRPr sz="600">
                          <a:latin typeface="Nexa Book"/>
                        </a:defRPr>
                      </a:pPr>
                      <a:r>
                        <a:rPr sz="600">
                          <a:latin typeface="Nexa Book"/>
                        </a:rPr>
                        <a:t>24%</a:t>
                      </a:r>
                    </a:p>
                  </a:txBody>
                  <a:tcPr marL="2858" marR="2858" marT="2858" marB="0" anchor="ctr">
                    <a:noFill/>
                  </a:tcPr>
                </a:tc>
                <a:tc>
                  <a:txBody>
                    <a:bodyPr/>
                    <a:lstStyle/>
                    <a:p>
                      <a:pPr algn="ctr">
                        <a:defRPr sz="600">
                          <a:latin typeface="Nexa Book"/>
                        </a:defRPr>
                      </a:pPr>
                      <a:r>
                        <a:rPr sz="600">
                          <a:latin typeface="Nexa Book"/>
                        </a:rPr>
                        <a:t>53%</a:t>
                      </a:r>
                    </a:p>
                  </a:txBody>
                  <a:tcPr marL="2858" marR="2858" marT="2858" marB="0" anchor="ctr">
                    <a:noFill/>
                  </a:tcPr>
                </a:tc>
                <a:tc>
                  <a:txBody>
                    <a:bodyPr/>
                    <a:lstStyle/>
                    <a:p>
                      <a:pPr algn="ctr">
                        <a:defRPr sz="600">
                          <a:latin typeface="Nexa Book"/>
                        </a:defRPr>
                      </a:pPr>
                      <a:r>
                        <a:rPr sz="600">
                          <a:latin typeface="Nexa Book"/>
                        </a:rPr>
                        <a:t>1093869</a:t>
                      </a:r>
                    </a:p>
                  </a:txBody>
                  <a:tcPr marL="2858" marR="2858" marT="2858" marB="0" anchor="ctr">
                    <a:noFill/>
                  </a:tcPr>
                </a:tc>
                <a:tc>
                  <a:txBody>
                    <a:bodyPr/>
                    <a:lstStyle/>
                    <a:p>
                      <a:pPr algn="ctr">
                        <a:defRPr sz="600">
                          <a:latin typeface="Nexa Book"/>
                        </a:defRPr>
                      </a:pPr>
                      <a:r>
                        <a:rPr sz="600">
                          <a:latin typeface="Nexa Book"/>
                        </a:rPr>
                        <a:t>85%</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330725844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6C832E98-8678-A693-5643-768C58A832B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6C832E98-8678-A693-5643-768C58A832B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D64701B2-2460-45D5-865F-3FB4D1BD3AB0}" type="datetime1">
              <a:rPr lang="en-US"/>
              <a:pPr/>
              <a:t>8/18/2025</a:t>
            </a:fld>
            <a:endParaRPr lang="en-US"/>
          </a:p>
        </p:txBody>
      </p:sp>
      <p:sp>
        <p:nvSpPr>
          <p:cNvPr id="12" name="Footer Placeholder 11">
            <a:extLst>
              <a:ext uri="{FF2B5EF4-FFF2-40B4-BE49-F238E27FC236}">
                <a16:creationId xmlns:a16="http://schemas.microsoft.com/office/drawing/2014/main" id="{7BE67518-82EE-BCF7-A57F-695B8A635C15}"/>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9274C1D-4570-8715-ED07-3FEB8DF0862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4</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Bottom 20 Promotions By Value and Incremental | Walmart  |  System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Bottom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9884"/>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C8526F18-9B48-AA97-5928-5A2BA7578A65}"/>
              </a:ext>
            </a:extLst>
          </p:cNvPr>
          <p:cNvGraphicFramePr>
            <a:graphicFrameLocks noGrp="1"/>
          </p:cNvGraphicFramePr>
          <p:nvPr>
            <p:extLst>
              <p:ext uri="{D42A27DB-BD31-4B8C-83A1-F6EECF244321}">
                <p14:modId xmlns:p14="http://schemas.microsoft.com/office/powerpoint/2010/main" val="1625795460"/>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a:defRPr sz="600">
                          <a:latin typeface="Nexa Book"/>
                        </a:defRPr>
                      </a:pPr>
                      <a:r>
                        <a:rPr sz="600">
                          <a:latin typeface="Nexa Book"/>
                        </a:rPr>
                        <a:t>Schick</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HYDRO 5 SENSITIVE 5 BLADE REFILL SENSITIVE 6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7%</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4.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3.84</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432'55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7781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6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69%</a:t>
                      </a: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a:defRPr sz="600">
                          <a:latin typeface="Nexa Book"/>
                        </a:defRPr>
                      </a:pPr>
                      <a:r>
                        <a:rPr sz="600">
                          <a:latin typeface="Nexa Book"/>
                        </a:rPr>
                        <a:t>Equate</a:t>
                      </a:r>
                    </a:p>
                  </a:txBody>
                  <a:tcPr marL="2858" marR="2858" marT="2858" marB="0" anchor="ctr">
                    <a:noFill/>
                  </a:tcPr>
                </a:tc>
                <a:tc>
                  <a:txBody>
                    <a:bodyPr/>
                    <a:lstStyle/>
                    <a:p>
                      <a:pPr algn="l">
                        <a:defRPr sz="600">
                          <a:latin typeface="Nexa Book"/>
                        </a:defRPr>
                      </a:pPr>
                      <a:r>
                        <a:rPr sz="600">
                          <a:latin typeface="Nexa Book"/>
                        </a:rPr>
                        <a:t>EQUATE EASY FIT 5 5 BLADE REFILL NORMAL 8CT</a:t>
                      </a:r>
                    </a:p>
                  </a:txBody>
                  <a:tcPr marL="2858" marR="2858" marT="2858" marB="0" anchor="ctr">
                    <a:noFill/>
                  </a:tcPr>
                </a:tc>
                <a:tc>
                  <a:txBody>
                    <a:bodyPr/>
                    <a:lstStyle/>
                    <a:p>
                      <a:pPr algn="ctr">
                        <a:defRPr sz="600">
                          <a:latin typeface="Nexa Book"/>
                        </a:defRPr>
                      </a:pPr>
                      <a:r>
                        <a:rPr sz="600">
                          <a:latin typeface="Nexa Book"/>
                        </a:rPr>
                        <a:t>39%</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 15.95</a:t>
                      </a:r>
                    </a:p>
                  </a:txBody>
                  <a:tcPr marL="2858" marR="2858" marT="2858" marB="0" anchor="ctr">
                    <a:noFill/>
                  </a:tcPr>
                </a:tc>
                <a:tc>
                  <a:txBody>
                    <a:bodyPr/>
                    <a:lstStyle/>
                    <a:p>
                      <a:pPr algn="ctr">
                        <a:defRPr sz="600">
                          <a:latin typeface="Nexa Book"/>
                        </a:defRPr>
                      </a:pPr>
                      <a:r>
                        <a:rPr sz="600">
                          <a:latin typeface="Nexa Book"/>
                        </a:rPr>
                        <a:t> 9.77</a:t>
                      </a:r>
                    </a:p>
                  </a:txBody>
                  <a:tcPr marL="2858" marR="2858" marT="2858" marB="0" anchor="ctr">
                    <a:noFill/>
                  </a:tcPr>
                </a:tc>
                <a:tc>
                  <a:txBody>
                    <a:bodyPr/>
                    <a:lstStyle/>
                    <a:p>
                      <a:pPr algn="ctr">
                        <a:defRPr sz="600">
                          <a:latin typeface="Nexa Book"/>
                        </a:defRPr>
                      </a:pPr>
                      <a:r>
                        <a:rPr sz="600">
                          <a:latin typeface="Nexa Book"/>
                        </a:rPr>
                        <a:t>150'016</a:t>
                      </a:r>
                    </a:p>
                  </a:txBody>
                  <a:tcPr marL="2858" marR="2858" marT="2858" marB="0" anchor="ctr">
                    <a:noFill/>
                  </a:tcPr>
                </a:tc>
                <a:tc>
                  <a:txBody>
                    <a:bodyPr/>
                    <a:lstStyle/>
                    <a:p>
                      <a:pPr algn="ctr">
                        <a:defRPr sz="600">
                          <a:latin typeface="Nexa Book"/>
                        </a:defRPr>
                      </a:pPr>
                      <a:r>
                        <a:rPr sz="600">
                          <a:latin typeface="Nexa Book"/>
                        </a:rPr>
                        <a:t>-16%</a:t>
                      </a:r>
                    </a:p>
                  </a:txBody>
                  <a:tcPr marL="2858" marR="2858" marT="2858" marB="0" anchor="ctr">
                    <a:noFill/>
                  </a:tcPr>
                </a:tc>
                <a:tc>
                  <a:txBody>
                    <a:bodyPr/>
                    <a:lstStyle/>
                    <a:p>
                      <a:pPr algn="ctr">
                        <a:defRPr sz="600">
                          <a:latin typeface="Nexa Book"/>
                        </a:defRPr>
                      </a:pPr>
                      <a:r>
                        <a:rPr sz="600">
                          <a:latin typeface="Nexa Book"/>
                        </a:rPr>
                        <a:t>34%</a:t>
                      </a:r>
                    </a:p>
                  </a:txBody>
                  <a:tcPr marL="2858" marR="2858" marT="2858" marB="0" anchor="ctr">
                    <a:noFill/>
                  </a:tcPr>
                </a:tc>
                <a:tc>
                  <a:txBody>
                    <a:bodyPr/>
                    <a:lstStyle/>
                    <a:p>
                      <a:pPr algn="ctr">
                        <a:defRPr sz="600">
                          <a:latin typeface="Nexa Book"/>
                        </a:defRPr>
                      </a:pPr>
                      <a:r>
                        <a:rPr sz="600">
                          <a:latin typeface="Nexa Book"/>
                        </a:rPr>
                        <a:t>-42801</a:t>
                      </a:r>
                    </a:p>
                  </a:txBody>
                  <a:tcPr marL="2858" marR="2858" marT="2858" marB="0" anchor="ctr">
                    <a:noFill/>
                  </a:tcPr>
                </a:tc>
                <a:tc>
                  <a:txBody>
                    <a:bodyPr/>
                    <a:lstStyle/>
                    <a:p>
                      <a:pPr algn="ctr">
                        <a:defRPr sz="600">
                          <a:latin typeface="Nexa Book"/>
                        </a:defRPr>
                      </a:pPr>
                      <a:r>
                        <a:rPr sz="600">
                          <a:latin typeface="Nexa Book"/>
                        </a:rPr>
                        <a:t>-45%</a:t>
                      </a:r>
                    </a:p>
                  </a:txBody>
                  <a:tcPr marL="2858" marR="2858" marT="2858" marB="0" anchor="ctr">
                    <a:noFill/>
                  </a:tcPr>
                </a:tc>
                <a:tc>
                  <a:txBody>
                    <a:bodyPr/>
                    <a:lstStyle/>
                    <a:p>
                      <a:pPr algn="ctr">
                        <a:defRPr sz="600">
                          <a:latin typeface="Nexa Book"/>
                        </a:defRPr>
                      </a:pPr>
                      <a:r>
                        <a:rPr sz="600">
                          <a:latin typeface="Nexa Book"/>
                        </a:rPr>
                        <a:t>71%</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HYDRO 3 SENSITIVE 3 BLADE REFILL SENSITIVE 5CT</a:t>
                      </a:r>
                    </a:p>
                  </a:txBody>
                  <a:tcPr marL="2858" marR="2858" marT="2858" marB="0" anchor="ctr">
                    <a:noFill/>
                  </a:tcPr>
                </a:tc>
                <a:tc>
                  <a:txBody>
                    <a:bodyPr/>
                    <a:lstStyle/>
                    <a:p>
                      <a:pPr algn="ctr">
                        <a:defRPr sz="600">
                          <a:latin typeface="Nexa Book"/>
                        </a:defRPr>
                      </a:pPr>
                      <a:r>
                        <a:rPr sz="600">
                          <a:latin typeface="Nexa Book"/>
                        </a:rPr>
                        <a:t>58%</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 9.92</a:t>
                      </a:r>
                    </a:p>
                  </a:txBody>
                  <a:tcPr marL="2858" marR="2858" marT="2858" marB="0" anchor="ctr">
                    <a:noFill/>
                  </a:tcPr>
                </a:tc>
                <a:tc>
                  <a:txBody>
                    <a:bodyPr/>
                    <a:lstStyle/>
                    <a:p>
                      <a:pPr algn="ctr">
                        <a:defRPr sz="600">
                          <a:latin typeface="Nexa Book"/>
                        </a:defRPr>
                      </a:pPr>
                      <a:r>
                        <a:rPr sz="600">
                          <a:latin typeface="Nexa Book"/>
                        </a:rPr>
                        <a:t> 4.17</a:t>
                      </a:r>
                    </a:p>
                  </a:txBody>
                  <a:tcPr marL="2858" marR="2858" marT="2858" marB="0" anchor="ctr">
                    <a:noFill/>
                  </a:tcPr>
                </a:tc>
                <a:tc>
                  <a:txBody>
                    <a:bodyPr/>
                    <a:lstStyle/>
                    <a:p>
                      <a:pPr algn="ctr">
                        <a:defRPr sz="600">
                          <a:latin typeface="Nexa Book"/>
                        </a:defRPr>
                      </a:pPr>
                      <a:r>
                        <a:rPr sz="600">
                          <a:latin typeface="Nexa Book"/>
                        </a:rPr>
                        <a:t>12'839</a:t>
                      </a:r>
                    </a:p>
                  </a:txBody>
                  <a:tcPr marL="2858" marR="2858" marT="2858" marB="0" anchor="ctr">
                    <a:noFill/>
                  </a:tcPr>
                </a:tc>
                <a:tc>
                  <a:txBody>
                    <a:bodyPr/>
                    <a:lstStyle/>
                    <a:p>
                      <a:pPr algn="ctr">
                        <a:defRPr sz="600">
                          <a:latin typeface="Nexa Book"/>
                        </a:defRPr>
                      </a:pPr>
                      <a:r>
                        <a:rPr sz="600">
                          <a:latin typeface="Nexa Book"/>
                        </a:rPr>
                        <a:t>-21%</a:t>
                      </a:r>
                    </a:p>
                  </a:txBody>
                  <a:tcPr marL="2858" marR="2858" marT="2858" marB="0" anchor="ctr">
                    <a:noFill/>
                  </a:tcPr>
                </a:tc>
                <a:tc>
                  <a:txBody>
                    <a:bodyPr/>
                    <a:lstStyle/>
                    <a:p>
                      <a:pPr algn="ctr">
                        <a:defRPr sz="600">
                          <a:latin typeface="Nexa Book"/>
                        </a:defRPr>
                      </a:pPr>
                      <a:r>
                        <a:rPr sz="600">
                          <a:latin typeface="Nexa Book"/>
                        </a:rPr>
                        <a:t>74%</a:t>
                      </a:r>
                    </a:p>
                  </a:txBody>
                  <a:tcPr marL="2858" marR="2858" marT="2858" marB="0" anchor="ctr">
                    <a:noFill/>
                  </a:tcPr>
                </a:tc>
                <a:tc>
                  <a:txBody>
                    <a:bodyPr/>
                    <a:lstStyle/>
                    <a:p>
                      <a:pPr algn="ctr">
                        <a:defRPr sz="600">
                          <a:latin typeface="Nexa Book"/>
                        </a:defRPr>
                      </a:pPr>
                      <a:r>
                        <a:rPr sz="600">
                          <a:latin typeface="Nexa Book"/>
                        </a:rPr>
                        <a:t>-4632</a:t>
                      </a:r>
                    </a:p>
                  </a:txBody>
                  <a:tcPr marL="2858" marR="2858" marT="2858" marB="0" anchor="ctr">
                    <a:noFill/>
                  </a:tcPr>
                </a:tc>
                <a:tc>
                  <a:txBody>
                    <a:bodyPr/>
                    <a:lstStyle/>
                    <a:p>
                      <a:pPr algn="ctr">
                        <a:defRPr sz="600">
                          <a:latin typeface="Nexa Book"/>
                        </a:defRPr>
                      </a:pPr>
                      <a:r>
                        <a:rPr sz="600">
                          <a:latin typeface="Nexa Book"/>
                        </a:rPr>
                        <a:t>-26%</a:t>
                      </a:r>
                    </a:p>
                  </a:txBody>
                  <a:tcPr marL="2858" marR="2858" marT="2858" marB="0" anchor="ctr">
                    <a:noFill/>
                  </a:tcPr>
                </a:tc>
                <a:tc>
                  <a:txBody>
                    <a:bodyPr/>
                    <a:lstStyle/>
                    <a:p>
                      <a:pPr algn="ctr">
                        <a:defRPr sz="600">
                          <a:latin typeface="Nexa Book"/>
                        </a:defRPr>
                      </a:pPr>
                      <a:r>
                        <a:rPr sz="600">
                          <a:latin typeface="Nexa Book"/>
                        </a:rPr>
                        <a:t>73%</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5 BLADE REFILL SENSITIVE 12CT</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29%</a:t>
                      </a:r>
                    </a:p>
                  </a:txBody>
                  <a:tcPr marL="2858" marR="2858" marT="2858" marB="0" anchor="ctr">
                    <a:noFill/>
                  </a:tcPr>
                </a:tc>
                <a:tc>
                  <a:txBody>
                    <a:bodyPr/>
                    <a:lstStyle/>
                    <a:p>
                      <a:pPr algn="ctr">
                        <a:defRPr sz="600">
                          <a:latin typeface="Nexa Book"/>
                        </a:defRPr>
                      </a:pPr>
                      <a:r>
                        <a:rPr sz="600">
                          <a:latin typeface="Nexa Book"/>
                        </a:rPr>
                        <a:t> 26.97</a:t>
                      </a:r>
                    </a:p>
                  </a:txBody>
                  <a:tcPr marL="2858" marR="2858" marT="2858" marB="0" anchor="ctr">
                    <a:noFill/>
                  </a:tcPr>
                </a:tc>
                <a:tc>
                  <a:txBody>
                    <a:bodyPr/>
                    <a:lstStyle/>
                    <a:p>
                      <a:pPr algn="ctr">
                        <a:defRPr sz="600">
                          <a:latin typeface="Nexa Book"/>
                        </a:defRPr>
                      </a:pPr>
                      <a:r>
                        <a:rPr sz="600">
                          <a:latin typeface="Nexa Book"/>
                        </a:rPr>
                        <a:t> 24.15</a:t>
                      </a:r>
                    </a:p>
                  </a:txBody>
                  <a:tcPr marL="2858" marR="2858" marT="2858" marB="0" anchor="ctr">
                    <a:noFill/>
                  </a:tcPr>
                </a:tc>
                <a:tc>
                  <a:txBody>
                    <a:bodyPr/>
                    <a:lstStyle/>
                    <a:p>
                      <a:pPr algn="ctr">
                        <a:defRPr sz="600">
                          <a:latin typeface="Nexa Book"/>
                        </a:defRPr>
                      </a:pPr>
                      <a:r>
                        <a:rPr sz="600">
                          <a:latin typeface="Nexa Book"/>
                        </a:rPr>
                        <a:t>914'106</a:t>
                      </a:r>
                    </a:p>
                  </a:txBody>
                  <a:tcPr marL="2858" marR="2858" marT="2858" marB="0" anchor="ctr">
                    <a:noFill/>
                  </a:tcPr>
                </a:tc>
                <a:tc>
                  <a:txBody>
                    <a:bodyPr/>
                    <a:lstStyle/>
                    <a:p>
                      <a:pPr algn="ctr">
                        <a:defRPr sz="600">
                          <a:latin typeface="Nexa Book"/>
                        </a:defRPr>
                      </a:pPr>
                      <a:r>
                        <a:rPr sz="600">
                          <a:latin typeface="Nexa Book"/>
                        </a:rPr>
                        <a:t>-2%</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2900</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r>
                        <a:rPr sz="600">
                          <a:latin typeface="Nexa Book"/>
                        </a:rPr>
                        <a:t>69%</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HYDRO 3 SENSITIVE 3 BLADE RAZOR SENSITIVE 4CT</a:t>
                      </a:r>
                    </a:p>
                  </a:txBody>
                  <a:tcPr marL="2858" marR="2858" marT="2858" marB="0" anchor="ctr">
                    <a:noFill/>
                  </a:tcPr>
                </a:tc>
                <a:tc>
                  <a:txBody>
                    <a:bodyPr/>
                    <a:lstStyle/>
                    <a:p>
                      <a:pPr algn="ctr">
                        <a:defRPr sz="600">
                          <a:latin typeface="Nexa Book"/>
                        </a:defRPr>
                      </a:pPr>
                      <a:r>
                        <a:rPr sz="600">
                          <a:latin typeface="Nexa Book"/>
                        </a:rPr>
                        <a:t>42%</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 9.97</a:t>
                      </a:r>
                    </a:p>
                  </a:txBody>
                  <a:tcPr marL="2858" marR="2858" marT="2858" marB="0" anchor="ctr">
                    <a:noFill/>
                  </a:tcPr>
                </a:tc>
                <a:tc>
                  <a:txBody>
                    <a:bodyPr/>
                    <a:lstStyle/>
                    <a:p>
                      <a:pPr algn="ctr">
                        <a:defRPr sz="600">
                          <a:latin typeface="Nexa Book"/>
                        </a:defRPr>
                      </a:pPr>
                      <a:r>
                        <a:rPr sz="600">
                          <a:latin typeface="Nexa Book"/>
                        </a:rPr>
                        <a:t> 5.80</a:t>
                      </a:r>
                    </a:p>
                  </a:txBody>
                  <a:tcPr marL="2858" marR="2858" marT="2858" marB="0" anchor="ctr">
                    <a:noFill/>
                  </a:tcPr>
                </a:tc>
                <a:tc>
                  <a:txBody>
                    <a:bodyPr/>
                    <a:lstStyle/>
                    <a:p>
                      <a:pPr algn="ctr">
                        <a:defRPr sz="600">
                          <a:latin typeface="Nexa Book"/>
                        </a:defRPr>
                      </a:pPr>
                      <a:r>
                        <a:rPr sz="600">
                          <a:latin typeface="Nexa Book"/>
                        </a:rPr>
                        <a:t>6'974</a:t>
                      </a:r>
                    </a:p>
                  </a:txBody>
                  <a:tcPr marL="2858" marR="2858" marT="2858" marB="0" anchor="ctr">
                    <a:noFill/>
                  </a:tcPr>
                </a:tc>
                <a:tc>
                  <a:txBody>
                    <a:bodyPr/>
                    <a:lstStyle/>
                    <a:p>
                      <a:pPr algn="ctr">
                        <a:defRPr sz="600">
                          <a:latin typeface="Nexa Book"/>
                        </a:defRPr>
                      </a:pPr>
                      <a:r>
                        <a:rPr sz="600">
                          <a:latin typeface="Nexa Book"/>
                        </a:rPr>
                        <a:t>-19%</a:t>
                      </a:r>
                    </a:p>
                  </a:txBody>
                  <a:tcPr marL="2858" marR="2858" marT="2858" marB="0" anchor="ctr">
                    <a:noFill/>
                  </a:tcPr>
                </a:tc>
                <a:tc>
                  <a:txBody>
                    <a:bodyPr/>
                    <a:lstStyle/>
                    <a:p>
                      <a:pPr algn="ctr">
                        <a:defRPr sz="600">
                          <a:latin typeface="Nexa Book"/>
                        </a:defRPr>
                      </a:pPr>
                      <a:r>
                        <a:rPr sz="600">
                          <a:latin typeface="Nexa Book"/>
                        </a:rPr>
                        <a:t>37%</a:t>
                      </a:r>
                    </a:p>
                  </a:txBody>
                  <a:tcPr marL="2858" marR="2858" marT="2858" marB="0" anchor="ctr">
                    <a:noFill/>
                  </a:tcPr>
                </a:tc>
                <a:tc>
                  <a:txBody>
                    <a:bodyPr/>
                    <a:lstStyle/>
                    <a:p>
                      <a:pPr algn="ctr">
                        <a:defRPr sz="600">
                          <a:latin typeface="Nexa Book"/>
                        </a:defRPr>
                      </a:pPr>
                      <a:r>
                        <a:rPr sz="600">
                          <a:latin typeface="Nexa Book"/>
                        </a:rPr>
                        <a:t>-2626</a:t>
                      </a:r>
                    </a:p>
                  </a:txBody>
                  <a:tcPr marL="2858" marR="2858" marT="2858" marB="0" anchor="ctr">
                    <a:noFill/>
                  </a:tcPr>
                </a:tc>
                <a:tc>
                  <a:txBody>
                    <a:bodyPr/>
                    <a:lstStyle/>
                    <a:p>
                      <a:pPr algn="ctr">
                        <a:defRPr sz="600">
                          <a:latin typeface="Nexa Book"/>
                        </a:defRPr>
                      </a:pPr>
                      <a:r>
                        <a:rPr sz="600">
                          <a:latin typeface="Nexa Book"/>
                        </a:rPr>
                        <a:t>-52%</a:t>
                      </a:r>
                    </a:p>
                  </a:txBody>
                  <a:tcPr marL="2858" marR="2858" marT="2858" marB="0" anchor="ctr">
                    <a:noFill/>
                  </a:tcPr>
                </a:tc>
                <a:tc>
                  <a:txBody>
                    <a:bodyPr/>
                    <a:lstStyle/>
                    <a:p>
                      <a:pPr algn="ctr">
                        <a:defRPr sz="600">
                          <a:latin typeface="Nexa Book"/>
                        </a:defRPr>
                      </a:pPr>
                      <a:r>
                        <a:rPr sz="600">
                          <a:latin typeface="Nexa Book"/>
                        </a:rPr>
                        <a:t>60%</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a:defRPr sz="600">
                          <a:latin typeface="Nexa Book"/>
                        </a:defRPr>
                      </a:pPr>
                      <a:r>
                        <a:rPr sz="600">
                          <a:latin typeface="Nexa Book"/>
                        </a:rPr>
                        <a:t>Cremo</a:t>
                      </a:r>
                    </a:p>
                  </a:txBody>
                  <a:tcPr marL="2858" marR="2858" marT="2858" marB="0" anchor="ctr">
                    <a:noFill/>
                  </a:tcPr>
                </a:tc>
                <a:tc>
                  <a:txBody>
                    <a:bodyPr/>
                    <a:lstStyle/>
                    <a:p>
                      <a:pPr algn="l">
                        <a:defRPr sz="600">
                          <a:latin typeface="Nexa Book"/>
                        </a:defRPr>
                      </a:pPr>
                      <a:r>
                        <a:rPr sz="600">
                          <a:latin typeface="Nexa Book"/>
                        </a:rPr>
                        <a:t>CREMO HOLIDAY GIFT PACK 5 BLADE RAZOR 2CT</a:t>
                      </a:r>
                    </a:p>
                  </a:txBody>
                  <a:tcPr marL="2858" marR="2858" marT="2858" marB="0" anchor="ctr">
                    <a:noFill/>
                  </a:tcPr>
                </a:tc>
                <a:tc>
                  <a:txBody>
                    <a:bodyPr/>
                    <a:lstStyle/>
                    <a:p>
                      <a:pPr algn="ctr">
                        <a:defRPr sz="600">
                          <a:latin typeface="Nexa Book"/>
                        </a:defRPr>
                      </a:pPr>
                      <a:r>
                        <a:rPr sz="600">
                          <a:latin typeface="Nexa Book"/>
                        </a:rPr>
                        <a:t>38%</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9.08</a:t>
                      </a:r>
                    </a:p>
                  </a:txBody>
                  <a:tcPr marL="2858" marR="2858" marT="2858" marB="0" anchor="ctr">
                    <a:noFill/>
                  </a:tcPr>
                </a:tc>
                <a:tc>
                  <a:txBody>
                    <a:bodyPr/>
                    <a:lstStyle/>
                    <a:p>
                      <a:pPr algn="ctr">
                        <a:defRPr sz="600">
                          <a:latin typeface="Nexa Book"/>
                        </a:defRPr>
                      </a:pPr>
                      <a:r>
                        <a:rPr sz="600">
                          <a:latin typeface="Nexa Book"/>
                        </a:rPr>
                        <a:t> 5.62</a:t>
                      </a:r>
                    </a:p>
                  </a:txBody>
                  <a:tcPr marL="2858" marR="2858" marT="2858" marB="0" anchor="ctr">
                    <a:noFill/>
                  </a:tcPr>
                </a:tc>
                <a:tc>
                  <a:txBody>
                    <a:bodyPr/>
                    <a:lstStyle/>
                    <a:p>
                      <a:pPr algn="ctr">
                        <a:defRPr sz="600">
                          <a:latin typeface="Nexa Book"/>
                        </a:defRPr>
                      </a:pPr>
                      <a:r>
                        <a:rPr sz="600">
                          <a:latin typeface="Nexa Book"/>
                        </a:rPr>
                        <a:t>219</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13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DRY SKIN 5 BLADE REFILL NORMAL 4CT</a:t>
                      </a:r>
                    </a:p>
                  </a:txBody>
                  <a:tcPr marL="2858" marR="2858" marT="2858" marB="0" anchor="ctr">
                    <a:noFill/>
                  </a:tcPr>
                </a:tc>
                <a:tc>
                  <a:txBody>
                    <a:bodyPr/>
                    <a:lstStyle/>
                    <a:p>
                      <a:pPr algn="ctr">
                        <a:defRPr sz="600">
                          <a:latin typeface="Nexa Book"/>
                        </a:defRPr>
                      </a:pPr>
                      <a:r>
                        <a:rPr sz="600">
                          <a:latin typeface="Nexa Book"/>
                        </a:rPr>
                        <a:t>59%</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 6.09</a:t>
                      </a:r>
                    </a:p>
                  </a:txBody>
                  <a:tcPr marL="2858" marR="2858" marT="2858" marB="0" anchor="ctr">
                    <a:noFill/>
                  </a:tcPr>
                </a:tc>
                <a:tc>
                  <a:txBody>
                    <a:bodyPr/>
                    <a:lstStyle/>
                    <a:p>
                      <a:pPr algn="ctr">
                        <a:defRPr sz="600">
                          <a:latin typeface="Nexa Book"/>
                        </a:defRPr>
                      </a:pPr>
                      <a:r>
                        <a:rPr sz="600">
                          <a:latin typeface="Nexa Book"/>
                        </a:rPr>
                        <a:t> 2.44</a:t>
                      </a:r>
                    </a:p>
                  </a:txBody>
                  <a:tcPr marL="2858" marR="2858" marT="2858" marB="0" anchor="ctr">
                    <a:noFill/>
                  </a:tcPr>
                </a:tc>
                <a:tc>
                  <a:txBody>
                    <a:bodyPr/>
                    <a:lstStyle/>
                    <a:p>
                      <a:pPr algn="ctr">
                        <a:defRPr sz="600">
                          <a:latin typeface="Nexa Book"/>
                        </a:defRPr>
                      </a:pPr>
                      <a:r>
                        <a:rPr sz="600">
                          <a:latin typeface="Nexa Book"/>
                        </a:rPr>
                        <a:t>61</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131</a:t>
                      </a:r>
                    </a:p>
                  </a:txBody>
                  <a:tcPr marL="2858" marR="2858" marT="2858" marB="0" anchor="ctr">
                    <a:noFill/>
                  </a:tcPr>
                </a:tc>
                <a:tc>
                  <a:txBody>
                    <a:bodyPr/>
                    <a:lstStyle/>
                    <a:p>
                      <a:pPr algn="ctr">
                        <a:defRPr sz="600">
                          <a:latin typeface="Nexa Book"/>
                        </a:defRPr>
                      </a:pPr>
                      <a:r>
                        <a:rPr sz="600">
                          <a:latin typeface="Nexa Book"/>
                        </a:rPr>
                        <a:t>-147%</a:t>
                      </a:r>
                    </a:p>
                  </a:txBody>
                  <a:tcPr marL="2858" marR="2858" marT="2858" marB="0" anchor="ctr">
                    <a:noFill/>
                  </a:tcPr>
                </a:tc>
                <a:tc>
                  <a:txBody>
                    <a:bodyPr/>
                    <a:lstStyle/>
                    <a:p>
                      <a:pPr algn="ctr">
                        <a:defRPr sz="600">
                          <a:latin typeface="Nexa Book"/>
                        </a:defRPr>
                      </a:pPr>
                      <a:r>
                        <a:rPr sz="600">
                          <a:latin typeface="Nexa Book"/>
                        </a:rPr>
                        <a:t>80%</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DRY SKIN 5 BLADE RAZOR DRY 2CT</a:t>
                      </a:r>
                    </a:p>
                  </a:txBody>
                  <a:tcPr marL="2858" marR="2858" marT="2858" marB="0" anchor="ctr">
                    <a:noFill/>
                  </a:tcPr>
                </a:tc>
                <a:tc>
                  <a:txBody>
                    <a:bodyPr/>
                    <a:lstStyle/>
                    <a:p>
                      <a:pPr algn="ctr">
                        <a:defRPr sz="600">
                          <a:latin typeface="Nexa Book"/>
                        </a:defRPr>
                      </a:pPr>
                      <a:r>
                        <a:rPr sz="600">
                          <a:latin typeface="Nexa Book"/>
                        </a:rPr>
                        <a:t>50%</a:t>
                      </a:r>
                    </a:p>
                  </a:txBody>
                  <a:tcPr marL="2858" marR="2858" marT="2858" marB="0" anchor="ctr">
                    <a:noFill/>
                  </a:tcPr>
                </a:tc>
                <a:tc>
                  <a:txBody>
                    <a:bodyPr/>
                    <a:lstStyle/>
                    <a:p>
                      <a:pPr algn="ctr">
                        <a:defRPr sz="600">
                          <a:latin typeface="Nexa Book"/>
                        </a:defRPr>
                      </a:pPr>
                      <a:r>
                        <a:rPr sz="600">
                          <a:latin typeface="Nexa Book"/>
                        </a:rPr>
                        <a:t>34%</a:t>
                      </a:r>
                    </a:p>
                  </a:txBody>
                  <a:tcPr marL="2858" marR="2858" marT="2858" marB="0" anchor="ctr">
                    <a:noFill/>
                  </a:tcPr>
                </a:tc>
                <a:tc>
                  <a:txBody>
                    <a:bodyPr/>
                    <a:lstStyle/>
                    <a:p>
                      <a:pPr algn="ctr">
                        <a:defRPr sz="600">
                          <a:latin typeface="Nexa Book"/>
                        </a:defRPr>
                      </a:pPr>
                      <a:r>
                        <a:rPr sz="600">
                          <a:latin typeface="Nexa Book"/>
                        </a:rPr>
                        <a:t> 9.60</a:t>
                      </a:r>
                    </a:p>
                  </a:txBody>
                  <a:tcPr marL="2858" marR="2858" marT="2858" marB="0" anchor="ctr">
                    <a:noFill/>
                  </a:tcPr>
                </a:tc>
                <a:tc>
                  <a:txBody>
                    <a:bodyPr/>
                    <a:lstStyle/>
                    <a:p>
                      <a:pPr algn="ctr">
                        <a:defRPr sz="600">
                          <a:latin typeface="Nexa Book"/>
                        </a:defRPr>
                      </a:pPr>
                      <a:r>
                        <a:rPr sz="600">
                          <a:latin typeface="Nexa Book"/>
                        </a:rPr>
                        <a:t> 4.65</a:t>
                      </a:r>
                    </a:p>
                  </a:txBody>
                  <a:tcPr marL="2858" marR="2858" marT="2858" marB="0" anchor="ctr">
                    <a:noFill/>
                  </a:tcPr>
                </a:tc>
                <a:tc>
                  <a:txBody>
                    <a:bodyPr/>
                    <a:lstStyle/>
                    <a:p>
                      <a:pPr algn="ctr">
                        <a:defRPr sz="600">
                          <a:latin typeface="Nexa Book"/>
                        </a:defRPr>
                      </a:pPr>
                      <a:r>
                        <a:rPr sz="600">
                          <a:latin typeface="Nexa Book"/>
                        </a:rPr>
                        <a:t>344</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90</a:t>
                      </a:r>
                    </a:p>
                  </a:txBody>
                  <a:tcPr marL="2858" marR="2858" marT="2858" marB="0" anchor="ctr">
                    <a:noFill/>
                  </a:tcPr>
                </a:tc>
                <a:tc>
                  <a:txBody>
                    <a:bodyPr/>
                    <a:lstStyle/>
                    <a:p>
                      <a:pPr algn="ctr">
                        <a:defRPr sz="600">
                          <a:latin typeface="Nexa Book"/>
                        </a:defRPr>
                      </a:pPr>
                      <a:r>
                        <a:rPr sz="600">
                          <a:latin typeface="Nexa Book"/>
                        </a:rPr>
                        <a:t>-26%</a:t>
                      </a:r>
                    </a:p>
                  </a:txBody>
                  <a:tcPr marL="2858" marR="2858" marT="2858" marB="0" anchor="ctr">
                    <a:noFill/>
                  </a:tcPr>
                </a:tc>
                <a:tc>
                  <a:txBody>
                    <a:bodyPr/>
                    <a:lstStyle/>
                    <a:p>
                      <a:pPr algn="ctr">
                        <a:defRPr sz="600">
                          <a:latin typeface="Nexa Book"/>
                        </a:defRPr>
                      </a:pPr>
                      <a:r>
                        <a:rPr sz="600">
                          <a:latin typeface="Nexa Book"/>
                        </a:rPr>
                        <a:t>56%</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a:defRPr sz="600">
                          <a:latin typeface="Nexa Book"/>
                        </a:defRPr>
                      </a:pPr>
                      <a:r>
                        <a:rPr sz="600">
                          <a:latin typeface="Nexa Book"/>
                        </a:rPr>
                        <a:t>Cremo</a:t>
                      </a:r>
                    </a:p>
                  </a:txBody>
                  <a:tcPr marL="2858" marR="2858" marT="2858" marB="0" anchor="ctr">
                    <a:noFill/>
                  </a:tcPr>
                </a:tc>
                <a:tc>
                  <a:txBody>
                    <a:bodyPr/>
                    <a:lstStyle/>
                    <a:p>
                      <a:pPr algn="l">
                        <a:defRPr sz="600">
                          <a:latin typeface="Nexa Book"/>
                        </a:defRPr>
                      </a:pPr>
                      <a:r>
                        <a:rPr sz="600">
                          <a:latin typeface="Nexa Book"/>
                        </a:rPr>
                        <a:t>CREMO HERITAGE RED HOLIDAY GIFT PACK REM BLADES RAZOR 2CT</a:t>
                      </a:r>
                    </a:p>
                  </a:txBody>
                  <a:tcPr marL="2858" marR="2858" marT="2858" marB="0" anchor="ctr">
                    <a:noFill/>
                  </a:tcPr>
                </a:tc>
                <a:tc>
                  <a:txBody>
                    <a:bodyPr/>
                    <a:lstStyle/>
                    <a:p>
                      <a:pPr algn="ctr">
                        <a:defRPr sz="600">
                          <a:latin typeface="Nexa Book"/>
                        </a:defRPr>
                      </a:pPr>
                      <a:r>
                        <a:rPr sz="600">
                          <a:latin typeface="Nexa Book"/>
                        </a:rPr>
                        <a:t>26%</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6.73</a:t>
                      </a:r>
                    </a:p>
                  </a:txBody>
                  <a:tcPr marL="2858" marR="2858" marT="2858" marB="0" anchor="ctr">
                    <a:noFill/>
                  </a:tcPr>
                </a:tc>
                <a:tc>
                  <a:txBody>
                    <a:bodyPr/>
                    <a:lstStyle/>
                    <a:p>
                      <a:pPr algn="ctr">
                        <a:defRPr sz="600">
                          <a:latin typeface="Nexa Book"/>
                        </a:defRPr>
                      </a:pPr>
                      <a:r>
                        <a:rPr sz="600">
                          <a:latin typeface="Nexa Book"/>
                        </a:rPr>
                        <a:t> 4.98</a:t>
                      </a:r>
                    </a:p>
                  </a:txBody>
                  <a:tcPr marL="2858" marR="2858" marT="2858" marB="0" anchor="ctr">
                    <a:noFill/>
                  </a:tcPr>
                </a:tc>
                <a:tc>
                  <a:txBody>
                    <a:bodyPr/>
                    <a:lstStyle/>
                    <a:p>
                      <a:pPr algn="ctr">
                        <a:defRPr sz="600">
                          <a:latin typeface="Nexa Book"/>
                        </a:defRPr>
                      </a:pPr>
                      <a:r>
                        <a:rPr sz="600">
                          <a:latin typeface="Nexa Book"/>
                        </a:rPr>
                        <a:t>259</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84</a:t>
                      </a:r>
                    </a:p>
                  </a:txBody>
                  <a:tcPr marL="2858" marR="2858" marT="2858" marB="0" anchor="ctr">
                    <a:noFill/>
                  </a:tcPr>
                </a:tc>
                <a:tc>
                  <a:txBody>
                    <a:bodyPr/>
                    <a:lstStyle/>
                    <a:p>
                      <a:pPr algn="ctr">
                        <a:defRPr sz="600">
                          <a:latin typeface="Nexa Book"/>
                        </a:defRPr>
                      </a:pPr>
                      <a:r>
                        <a:rPr sz="600">
                          <a:latin typeface="Nexa Book"/>
                        </a:rPr>
                        <a:t>-92%</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QUATTRO FOR MEN 4 BLADE REFILL NORMAL 6CT</a:t>
                      </a:r>
                    </a:p>
                  </a:txBody>
                  <a:tcPr marL="2858" marR="2858" marT="2858" marB="0" anchor="ctr">
                    <a:noFill/>
                  </a:tcPr>
                </a:tc>
                <a:tc>
                  <a:txBody>
                    <a:bodyPr/>
                    <a:lstStyle/>
                    <a:p>
                      <a:pPr algn="ctr">
                        <a:defRPr sz="600">
                          <a:latin typeface="Nexa Book"/>
                        </a:defRPr>
                      </a:pPr>
                      <a:r>
                        <a:rPr sz="600">
                          <a:latin typeface="Nexa Book"/>
                        </a:rPr>
                        <a:t>56%</a:t>
                      </a:r>
                    </a:p>
                  </a:txBody>
                  <a:tcPr marL="2858" marR="2858" marT="2858" marB="0" anchor="ctr">
                    <a:noFill/>
                  </a:tcPr>
                </a:tc>
                <a:tc>
                  <a:txBody>
                    <a:bodyPr/>
                    <a:lstStyle/>
                    <a:p>
                      <a:pPr algn="ctr">
                        <a:defRPr sz="600">
                          <a:latin typeface="Nexa Book"/>
                        </a:defRPr>
                      </a:pPr>
                      <a:r>
                        <a:rPr sz="600">
                          <a:latin typeface="Nexa Book"/>
                        </a:rPr>
                        <a:t>72%</a:t>
                      </a:r>
                    </a:p>
                  </a:txBody>
                  <a:tcPr marL="2858" marR="2858" marT="2858" marB="0" anchor="ctr">
                    <a:noFill/>
                  </a:tcPr>
                </a:tc>
                <a:tc>
                  <a:txBody>
                    <a:bodyPr/>
                    <a:lstStyle/>
                    <a:p>
                      <a:pPr algn="ctr">
                        <a:defRPr sz="600">
                          <a:latin typeface="Nexa Book"/>
                        </a:defRPr>
                      </a:pPr>
                      <a:r>
                        <a:rPr sz="600">
                          <a:latin typeface="Nexa Book"/>
                        </a:rPr>
                        <a:t> 8.00</a:t>
                      </a:r>
                    </a:p>
                  </a:txBody>
                  <a:tcPr marL="2858" marR="2858" marT="2858" marB="0" anchor="ctr">
                    <a:noFill/>
                  </a:tcPr>
                </a:tc>
                <a:tc>
                  <a:txBody>
                    <a:bodyPr/>
                    <a:lstStyle/>
                    <a:p>
                      <a:pPr algn="ctr">
                        <a:defRPr sz="600">
                          <a:latin typeface="Nexa Book"/>
                        </a:defRPr>
                      </a:pPr>
                      <a:r>
                        <a:rPr sz="600">
                          <a:latin typeface="Nexa Book"/>
                        </a:rPr>
                        <a:t> 3.36</a:t>
                      </a:r>
                    </a:p>
                  </a:txBody>
                  <a:tcPr marL="2858" marR="2858" marT="2858" marB="0" anchor="ctr">
                    <a:noFill/>
                  </a:tcPr>
                </a:tc>
                <a:tc>
                  <a:txBody>
                    <a:bodyPr/>
                    <a:lstStyle/>
                    <a:p>
                      <a:pPr algn="ctr">
                        <a:defRPr sz="600">
                          <a:latin typeface="Nexa Book"/>
                        </a:defRPr>
                      </a:pPr>
                      <a:r>
                        <a:rPr sz="600">
                          <a:latin typeface="Nexa Book"/>
                        </a:rPr>
                        <a:t>111</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50</a:t>
                      </a:r>
                    </a:p>
                  </a:txBody>
                  <a:tcPr marL="2858" marR="2858" marT="2858" marB="0" anchor="ctr">
                    <a:noFill/>
                  </a:tcPr>
                </a:tc>
                <a:tc>
                  <a:txBody>
                    <a:bodyPr/>
                    <a:lstStyle/>
                    <a:p>
                      <a:pPr algn="ctr">
                        <a:defRPr sz="600">
                          <a:latin typeface="Nexa Book"/>
                        </a:defRPr>
                      </a:pPr>
                      <a:r>
                        <a:rPr sz="600">
                          <a:latin typeface="Nexa Book"/>
                        </a:rPr>
                        <a:t>-35%</a:t>
                      </a:r>
                    </a:p>
                  </a:txBody>
                  <a:tcPr marL="2858" marR="2858" marT="2858" marB="0" anchor="ctr">
                    <a:noFill/>
                  </a:tcPr>
                </a:tc>
                <a:tc>
                  <a:txBody>
                    <a:bodyPr/>
                    <a:lstStyle/>
                    <a:p>
                      <a:pPr algn="ctr">
                        <a:defRPr sz="600">
                          <a:latin typeface="Nexa Book"/>
                        </a:defRPr>
                      </a:pPr>
                      <a:r>
                        <a:rPr sz="600">
                          <a:latin typeface="Nexa Book"/>
                        </a:rPr>
                        <a:t>71%</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HOLIDAY GIFT PACK REM BLADES RAZOR SENSITIVE 3CT</a:t>
                      </a:r>
                    </a:p>
                  </a:txBody>
                  <a:tcPr marL="2858" marR="2858" marT="2858" marB="0" anchor="ctr">
                    <a:noFill/>
                  </a:tcPr>
                </a:tc>
                <a:tc>
                  <a:txBody>
                    <a:bodyPr/>
                    <a:lstStyle/>
                    <a:p>
                      <a:pPr algn="ctr">
                        <a:defRPr sz="600">
                          <a:latin typeface="Nexa Book"/>
                        </a:defRPr>
                      </a:pPr>
                      <a:r>
                        <a:rPr sz="600">
                          <a:latin typeface="Nexa Book"/>
                        </a:rPr>
                        <a:t>29%</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7.64</a:t>
                      </a:r>
                    </a:p>
                  </a:txBody>
                  <a:tcPr marL="2858" marR="2858" marT="2858" marB="0" anchor="ctr">
                    <a:noFill/>
                  </a:tcPr>
                </a:tc>
                <a:tc>
                  <a:txBody>
                    <a:bodyPr/>
                    <a:lstStyle/>
                    <a:p>
                      <a:pPr algn="ctr">
                        <a:defRPr sz="600">
                          <a:latin typeface="Nexa Book"/>
                        </a:defRPr>
                      </a:pPr>
                      <a:r>
                        <a:rPr sz="600">
                          <a:latin typeface="Nexa Book"/>
                        </a:rPr>
                        <a:t> 5.45</a:t>
                      </a:r>
                    </a:p>
                  </a:txBody>
                  <a:tcPr marL="2858" marR="2858" marT="2858" marB="0" anchor="ctr">
                    <a:noFill/>
                  </a:tcPr>
                </a:tc>
                <a:tc>
                  <a:txBody>
                    <a:bodyPr/>
                    <a:lstStyle/>
                    <a:p>
                      <a:pPr algn="ctr">
                        <a:defRPr sz="600">
                          <a:latin typeface="Nexa Book"/>
                        </a:defRPr>
                      </a:pPr>
                      <a:r>
                        <a:rPr sz="600">
                          <a:latin typeface="Nexa Book"/>
                        </a:rPr>
                        <a:t>12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48</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19%</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a:defRPr sz="600">
                          <a:latin typeface="Nexa Book"/>
                        </a:defRPr>
                      </a:pPr>
                      <a:r>
                        <a:rPr sz="600">
                          <a:latin typeface="Nexa Book"/>
                        </a:rPr>
                        <a:t>Equate</a:t>
                      </a:r>
                    </a:p>
                  </a:txBody>
                  <a:tcPr marL="2858" marR="2858" marT="2858" marB="0" anchor="ctr">
                    <a:noFill/>
                  </a:tcPr>
                </a:tc>
                <a:tc>
                  <a:txBody>
                    <a:bodyPr/>
                    <a:lstStyle/>
                    <a:p>
                      <a:pPr algn="l">
                        <a:defRPr sz="600">
                          <a:latin typeface="Nexa Book"/>
                        </a:defRPr>
                      </a:pPr>
                      <a:r>
                        <a:rPr sz="600">
                          <a:latin typeface="Nexa Book"/>
                        </a:rPr>
                        <a:t>EQUATE CALIBER 5 5 BLADE REFILL NORMAL 8CT</a:t>
                      </a:r>
                    </a:p>
                  </a:txBody>
                  <a:tcPr marL="2858" marR="2858" marT="2858" marB="0" anchor="ctr">
                    <a:noFill/>
                  </a:tcPr>
                </a:tc>
                <a:tc>
                  <a:txBody>
                    <a:bodyPr/>
                    <a:lstStyle/>
                    <a:p>
                      <a:pPr algn="ctr">
                        <a:defRPr sz="600">
                          <a:latin typeface="Nexa Book"/>
                        </a:defRPr>
                      </a:pPr>
                      <a:r>
                        <a:rPr sz="600">
                          <a:latin typeface="Nexa Book"/>
                        </a:rPr>
                        <a:t>72%</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 9.86</a:t>
                      </a:r>
                    </a:p>
                  </a:txBody>
                  <a:tcPr marL="2858" marR="2858" marT="2858" marB="0" anchor="ctr">
                    <a:noFill/>
                  </a:tcPr>
                </a:tc>
                <a:tc>
                  <a:txBody>
                    <a:bodyPr/>
                    <a:lstStyle/>
                    <a:p>
                      <a:pPr algn="ctr">
                        <a:defRPr sz="600">
                          <a:latin typeface="Nexa Book"/>
                        </a:defRPr>
                      </a:pPr>
                      <a:r>
                        <a:rPr sz="600">
                          <a:latin typeface="Nexa Book"/>
                        </a:rPr>
                        <a:t> 3.60</a:t>
                      </a:r>
                    </a:p>
                  </a:txBody>
                  <a:tcPr marL="2858" marR="2858" marT="2858" marB="0" anchor="ctr">
                    <a:noFill/>
                  </a:tcPr>
                </a:tc>
                <a:tc>
                  <a:txBody>
                    <a:bodyPr/>
                    <a:lstStyle/>
                    <a:p>
                      <a:pPr algn="ctr">
                        <a:defRPr sz="600">
                          <a:latin typeface="Nexa Book"/>
                        </a:defRPr>
                      </a:pPr>
                      <a:r>
                        <a:rPr sz="600">
                          <a:latin typeface="Nexa Book"/>
                        </a:rPr>
                        <a:t>18</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42</a:t>
                      </a:r>
                    </a:p>
                  </a:txBody>
                  <a:tcPr marL="2858" marR="2858" marT="2858" marB="0" anchor="ctr">
                    <a:noFill/>
                  </a:tcPr>
                </a:tc>
                <a:tc>
                  <a:txBody>
                    <a:bodyPr/>
                    <a:lstStyle/>
                    <a:p>
                      <a:pPr algn="ctr">
                        <a:defRPr sz="600">
                          <a:latin typeface="Nexa Book"/>
                        </a:defRPr>
                      </a:pPr>
                      <a:r>
                        <a:rPr sz="600">
                          <a:latin typeface="Nexa Book"/>
                        </a:rPr>
                        <a:t>-89%</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a:defRPr sz="600">
                          <a:latin typeface="Nexa Book"/>
                        </a:defRPr>
                      </a:pPr>
                      <a:r>
                        <a:rPr sz="600">
                          <a:latin typeface="Nexa Book"/>
                        </a:rPr>
                        <a:t>Cremo</a:t>
                      </a:r>
                    </a:p>
                  </a:txBody>
                  <a:tcPr marL="2858" marR="2858" marT="2858" marB="0" anchor="ctr">
                    <a:noFill/>
                  </a:tcPr>
                </a:tc>
                <a:tc>
                  <a:txBody>
                    <a:bodyPr/>
                    <a:lstStyle/>
                    <a:p>
                      <a:pPr algn="l">
                        <a:defRPr sz="600">
                          <a:latin typeface="Nexa Book"/>
                        </a:defRPr>
                      </a:pPr>
                      <a:r>
                        <a:rPr sz="600">
                          <a:latin typeface="Nexa Book"/>
                        </a:rPr>
                        <a:t>CREMO 5 BLADE REFILL NORMAL 4CT</a:t>
                      </a:r>
                    </a:p>
                  </a:txBody>
                  <a:tcPr marL="2858" marR="2858" marT="2858" marB="0" anchor="ctr">
                    <a:noFill/>
                  </a:tcPr>
                </a:tc>
                <a:tc>
                  <a:txBody>
                    <a:bodyPr/>
                    <a:lstStyle/>
                    <a:p>
                      <a:pPr algn="ctr">
                        <a:defRPr sz="600">
                          <a:latin typeface="Nexa Book"/>
                        </a:defRPr>
                      </a:pPr>
                      <a:r>
                        <a:rPr sz="600">
                          <a:latin typeface="Nexa Book"/>
                        </a:rPr>
                        <a:t>63%</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 13.86</a:t>
                      </a:r>
                    </a:p>
                  </a:txBody>
                  <a:tcPr marL="2858" marR="2858" marT="2858" marB="0" anchor="ctr">
                    <a:noFill/>
                  </a:tcPr>
                </a:tc>
                <a:tc>
                  <a:txBody>
                    <a:bodyPr/>
                    <a:lstStyle/>
                    <a:p>
                      <a:pPr algn="ctr">
                        <a:defRPr sz="600">
                          <a:latin typeface="Nexa Book"/>
                        </a:defRPr>
                      </a:pPr>
                      <a:r>
                        <a:rPr sz="600">
                          <a:latin typeface="Nexa Book"/>
                        </a:rPr>
                        <a:t> 5.08</a:t>
                      </a:r>
                    </a:p>
                  </a:txBody>
                  <a:tcPr marL="2858" marR="2858" marT="2858" marB="0" anchor="ctr">
                    <a:noFill/>
                  </a:tcPr>
                </a:tc>
                <a:tc>
                  <a:txBody>
                    <a:bodyPr/>
                    <a:lstStyle/>
                    <a:p>
                      <a:pPr algn="ctr">
                        <a:defRPr sz="600">
                          <a:latin typeface="Nexa Book"/>
                        </a:defRPr>
                      </a:pPr>
                      <a:r>
                        <a:rPr sz="600">
                          <a:latin typeface="Nexa Book"/>
                        </a:rPr>
                        <a:t>889</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9</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r>
                        <a:rPr sz="600">
                          <a:latin typeface="Nexa Book"/>
                        </a:rPr>
                        <a:t>71%</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BAMBOO 3 BLADE HYBRID NORMAL 3CT</a:t>
                      </a:r>
                    </a:p>
                  </a:txBody>
                  <a:tcPr marL="2858" marR="2858" marT="2858" marB="0" anchor="ctr">
                    <a:noFill/>
                  </a:tcPr>
                </a:tc>
                <a:tc>
                  <a:txBody>
                    <a:bodyPr/>
                    <a:lstStyle/>
                    <a:p>
                      <a:pPr algn="ctr">
                        <a:defRPr sz="600">
                          <a:latin typeface="Nexa Book"/>
                        </a:defRPr>
                      </a:pPr>
                      <a:r>
                        <a:rPr sz="600">
                          <a:latin typeface="Nexa Book"/>
                        </a:rPr>
                        <a:t>58%</a:t>
                      </a:r>
                    </a:p>
                  </a:txBody>
                  <a:tcPr marL="2858" marR="2858" marT="2858" marB="0" anchor="ctr">
                    <a:noFill/>
                  </a:tcPr>
                </a:tc>
                <a:tc>
                  <a:txBody>
                    <a:bodyPr/>
                    <a:lstStyle/>
                    <a:p>
                      <a:pPr algn="ctr">
                        <a:defRPr sz="600">
                          <a:latin typeface="Nexa Book"/>
                        </a:defRPr>
                      </a:pPr>
                      <a:r>
                        <a:rPr sz="600">
                          <a:latin typeface="Nexa Book"/>
                        </a:rPr>
                        <a:t>16%</a:t>
                      </a:r>
                    </a:p>
                  </a:txBody>
                  <a:tcPr marL="2858" marR="2858" marT="2858" marB="0" anchor="ctr">
                    <a:noFill/>
                  </a:tcPr>
                </a:tc>
                <a:tc>
                  <a:txBody>
                    <a:bodyPr/>
                    <a:lstStyle/>
                    <a:p>
                      <a:pPr algn="ctr">
                        <a:defRPr sz="600">
                          <a:latin typeface="Nexa Book"/>
                        </a:defRPr>
                      </a:pPr>
                      <a:r>
                        <a:rPr sz="600">
                          <a:latin typeface="Nexa Book"/>
                        </a:rPr>
                        <a:t> 5.35</a:t>
                      </a:r>
                    </a:p>
                  </a:txBody>
                  <a:tcPr marL="2858" marR="2858" marT="2858" marB="0" anchor="ctr">
                    <a:noFill/>
                  </a:tcPr>
                </a:tc>
                <a:tc>
                  <a:txBody>
                    <a:bodyPr/>
                    <a:lstStyle/>
                    <a:p>
                      <a:pPr algn="ctr">
                        <a:defRPr sz="600">
                          <a:latin typeface="Nexa Book"/>
                        </a:defRPr>
                      </a:pPr>
                      <a:r>
                        <a:rPr sz="600">
                          <a:latin typeface="Nexa Book"/>
                        </a:rPr>
                        <a:t> 2.50</a:t>
                      </a:r>
                    </a:p>
                  </a:txBody>
                  <a:tcPr marL="2858" marR="2858" marT="2858" marB="0" anchor="ctr">
                    <a:noFill/>
                  </a:tcPr>
                </a:tc>
                <a:tc>
                  <a:txBody>
                    <a:bodyPr/>
                    <a:lstStyle/>
                    <a:p>
                      <a:pPr algn="ctr">
                        <a:defRPr sz="600">
                          <a:latin typeface="Nexa Book"/>
                        </a:defRPr>
                      </a:pPr>
                      <a:r>
                        <a:rPr sz="600">
                          <a:latin typeface="Nexa Book"/>
                        </a:rPr>
                        <a:t>65</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8</a:t>
                      </a:r>
                    </a:p>
                  </a:txBody>
                  <a:tcPr marL="2858" marR="2858" marT="2858" marB="0" anchor="ctr">
                    <a:noFill/>
                  </a:tcPr>
                </a:tc>
                <a:tc>
                  <a:txBody>
                    <a:bodyPr/>
                    <a:lstStyle/>
                    <a:p>
                      <a:pPr algn="ctr">
                        <a:defRPr sz="600">
                          <a:latin typeface="Nexa Book"/>
                        </a:defRPr>
                      </a:pPr>
                      <a:r>
                        <a:rPr sz="600">
                          <a:latin typeface="Nexa Book"/>
                        </a:rPr>
                        <a:t>-43%</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DRY SKIN 5 BLADE REFILL DRY 8CT</a:t>
                      </a:r>
                    </a:p>
                  </a:txBody>
                  <a:tcPr marL="2858" marR="2858" marT="2858" marB="0" anchor="ctr">
                    <a:noFill/>
                  </a:tcPr>
                </a:tc>
                <a:tc>
                  <a:txBody>
                    <a:bodyPr/>
                    <a:lstStyle/>
                    <a:p>
                      <a:pPr algn="ctr">
                        <a:defRPr sz="600">
                          <a:latin typeface="Nexa Book"/>
                        </a:defRPr>
                      </a:pPr>
                      <a:r>
                        <a:rPr sz="600">
                          <a:latin typeface="Nexa Book"/>
                        </a:rPr>
                        <a:t>86%</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r>
                        <a:rPr sz="600">
                          <a:latin typeface="Nexa Book"/>
                        </a:rPr>
                        <a:t> 18.18</a:t>
                      </a:r>
                    </a:p>
                  </a:txBody>
                  <a:tcPr marL="2858" marR="2858" marT="2858" marB="0" anchor="ctr">
                    <a:noFill/>
                  </a:tcPr>
                </a:tc>
                <a:tc>
                  <a:txBody>
                    <a:bodyPr/>
                    <a:lstStyle/>
                    <a:p>
                      <a:pPr algn="ctr">
                        <a:defRPr sz="600">
                          <a:latin typeface="Nexa Book"/>
                        </a:defRPr>
                      </a:pPr>
                      <a:r>
                        <a:rPr sz="600">
                          <a:latin typeface="Nexa Book"/>
                        </a:rPr>
                        <a:t> 4.00</a:t>
                      </a:r>
                    </a:p>
                  </a:txBody>
                  <a:tcPr marL="2858" marR="2858" marT="2858" marB="0" anchor="ctr">
                    <a:noFill/>
                  </a:tcPr>
                </a:tc>
                <a:tc>
                  <a:txBody>
                    <a:bodyPr/>
                    <a:lstStyle/>
                    <a:p>
                      <a:pPr algn="ctr">
                        <a:defRPr sz="600">
                          <a:latin typeface="Nexa Book"/>
                        </a:defRPr>
                      </a:pPr>
                      <a:r>
                        <a:rPr sz="600">
                          <a:latin typeface="Nexa Book"/>
                        </a:rPr>
                        <a:t>4</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QUATTRO FOR MEN 4 BLADE REFILL NORMAL 8CT</a:t>
                      </a:r>
                    </a:p>
                  </a:txBody>
                  <a:tcPr marL="2858" marR="2858" marT="2858" marB="0" anchor="ctr">
                    <a:noFill/>
                  </a:tcPr>
                </a:tc>
                <a:tc>
                  <a:txBody>
                    <a:bodyPr/>
                    <a:lstStyle/>
                    <a:p>
                      <a:pPr algn="ctr">
                        <a:defRPr sz="600">
                          <a:latin typeface="Nexa Book"/>
                        </a:defRPr>
                      </a:pPr>
                      <a:r>
                        <a:rPr sz="600">
                          <a:latin typeface="Nexa Book"/>
                        </a:rPr>
                        <a:t>70%</a:t>
                      </a:r>
                    </a:p>
                  </a:txBody>
                  <a:tcPr marL="2858" marR="2858" marT="2858" marB="0" anchor="ctr">
                    <a:noFill/>
                  </a:tcPr>
                </a:tc>
                <a:tc>
                  <a:txBody>
                    <a:bodyPr/>
                    <a:lstStyle/>
                    <a:p>
                      <a:pPr algn="ctr">
                        <a:defRPr sz="600">
                          <a:latin typeface="Nexa Book"/>
                        </a:defRPr>
                      </a:pPr>
                      <a:r>
                        <a:rPr sz="600">
                          <a:latin typeface="Nexa Book"/>
                        </a:rPr>
                        <a:t>13%</a:t>
                      </a:r>
                    </a:p>
                  </a:txBody>
                  <a:tcPr marL="2858" marR="2858" marT="2858" marB="0" anchor="ctr">
                    <a:noFill/>
                  </a:tcPr>
                </a:tc>
                <a:tc>
                  <a:txBody>
                    <a:bodyPr/>
                    <a:lstStyle/>
                    <a:p>
                      <a:pPr algn="ctr">
                        <a:defRPr sz="600">
                          <a:latin typeface="Nexa Book"/>
                        </a:defRPr>
                      </a:pPr>
                      <a:r>
                        <a:rPr sz="600">
                          <a:latin typeface="Nexa Book"/>
                        </a:rPr>
                        <a:t> 6.87</a:t>
                      </a:r>
                    </a:p>
                  </a:txBody>
                  <a:tcPr marL="2858" marR="2858" marT="2858" marB="0" anchor="ctr">
                    <a:noFill/>
                  </a:tcPr>
                </a:tc>
                <a:tc>
                  <a:txBody>
                    <a:bodyPr/>
                    <a:lstStyle/>
                    <a:p>
                      <a:pPr algn="ctr">
                        <a:defRPr sz="600">
                          <a:latin typeface="Nexa Book"/>
                        </a:defRPr>
                      </a:pPr>
                      <a:r>
                        <a:rPr sz="600">
                          <a:latin typeface="Nexa Book"/>
                        </a:rPr>
                        <a:t> 3.30</a:t>
                      </a:r>
                    </a:p>
                  </a:txBody>
                  <a:tcPr marL="2858" marR="2858" marT="2858" marB="0" anchor="ctr">
                    <a:noFill/>
                  </a:tcPr>
                </a:tc>
                <a:tc>
                  <a:txBody>
                    <a:bodyPr/>
                    <a:lstStyle/>
                    <a:p>
                      <a:pPr algn="ctr">
                        <a:defRPr sz="600">
                          <a:latin typeface="Nexa Book"/>
                        </a:defRPr>
                      </a:pPr>
                      <a:r>
                        <a:rPr sz="600">
                          <a:latin typeface="Nexa Book"/>
                        </a:rPr>
                        <a:t>33</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17</a:t>
                      </a:r>
                    </a:p>
                  </a:txBody>
                  <a:tcPr marL="2858" marR="2858" marT="2858" marB="0" anchor="ctr">
                    <a:noFill/>
                  </a:tcPr>
                </a:tc>
                <a:tc>
                  <a:txBody>
                    <a:bodyPr/>
                    <a:lstStyle/>
                    <a:p>
                      <a:pPr algn="ctr">
                        <a:defRPr sz="600">
                          <a:latin typeface="Nexa Book"/>
                        </a:defRPr>
                      </a:pPr>
                      <a:r>
                        <a:rPr sz="600">
                          <a:latin typeface="Nexa Book"/>
                        </a:rPr>
                        <a:t>-22%</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QUATTRO FOR MEN 4 BLADE REFILL NORMAL 4CT</a:t>
                      </a:r>
                    </a:p>
                  </a:txBody>
                  <a:tcPr marL="2858" marR="2858" marT="2858" marB="0" anchor="ctr">
                    <a:noFill/>
                  </a:tcPr>
                </a:tc>
                <a:tc>
                  <a:txBody>
                    <a:bodyPr/>
                    <a:lstStyle/>
                    <a:p>
                      <a:pPr algn="ctr">
                        <a:defRPr sz="600">
                          <a:latin typeface="Nexa Book"/>
                        </a:defRPr>
                      </a:pPr>
                      <a:r>
                        <a:rPr sz="600">
                          <a:latin typeface="Nexa Book"/>
                        </a:rPr>
                        <a:t>90%</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 10.33</a:t>
                      </a:r>
                    </a:p>
                  </a:txBody>
                  <a:tcPr marL="2858" marR="2858" marT="2858" marB="0" anchor="ctr">
                    <a:noFill/>
                  </a:tcPr>
                </a:tc>
                <a:tc>
                  <a:txBody>
                    <a:bodyPr/>
                    <a:lstStyle/>
                    <a:p>
                      <a:pPr algn="ctr">
                        <a:defRPr sz="600">
                          <a:latin typeface="Nexa Book"/>
                        </a:defRPr>
                      </a:pPr>
                      <a:r>
                        <a:rPr sz="600">
                          <a:latin typeface="Nexa Book"/>
                        </a:rPr>
                        <a:t> 1.00</a:t>
                      </a:r>
                    </a:p>
                  </a:txBody>
                  <a:tcPr marL="2858" marR="2858" marT="2858" marB="0" anchor="ctr">
                    <a:noFill/>
                  </a:tcPr>
                </a:tc>
                <a:tc>
                  <a:txBody>
                    <a:bodyPr/>
                    <a:lstStyle/>
                    <a:p>
                      <a:pPr algn="ctr">
                        <a:defRPr sz="600">
                          <a:latin typeface="Nexa Book"/>
                        </a:defRPr>
                      </a:pPr>
                      <a:r>
                        <a:rPr sz="600">
                          <a:latin typeface="Nexa Book"/>
                        </a:rPr>
                        <a:t>1</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a:defRPr sz="600">
                          <a:latin typeface="Nexa Book"/>
                        </a:defRPr>
                      </a:pPr>
                      <a:r>
                        <a:rPr sz="600">
                          <a:latin typeface="Nexa Book"/>
                        </a:rPr>
                        <a:t>Equate</a:t>
                      </a:r>
                    </a:p>
                  </a:txBody>
                  <a:tcPr marL="2858" marR="2858" marT="2858" marB="0" anchor="ctr">
                    <a:noFill/>
                  </a:tcPr>
                </a:tc>
                <a:tc>
                  <a:txBody>
                    <a:bodyPr/>
                    <a:lstStyle/>
                    <a:p>
                      <a:pPr algn="l">
                        <a:defRPr sz="600">
                          <a:latin typeface="Nexa Book"/>
                        </a:defRPr>
                      </a:pPr>
                      <a:r>
                        <a:rPr sz="600">
                          <a:latin typeface="Nexa Book"/>
                        </a:rPr>
                        <a:t>EQUATE CALIBER 5 BLACK 5 BLADE RAZOR NORMAL 2CT</a:t>
                      </a:r>
                    </a:p>
                  </a:txBody>
                  <a:tcPr marL="2858" marR="2858" marT="2858" marB="0" anchor="ctr">
                    <a:noFill/>
                  </a:tcPr>
                </a:tc>
                <a:tc>
                  <a:txBody>
                    <a:bodyPr/>
                    <a:lstStyle/>
                    <a:p>
                      <a:pPr algn="ctr">
                        <a:defRPr sz="600">
                          <a:latin typeface="Nexa Book"/>
                        </a:defRPr>
                      </a:pPr>
                      <a:r>
                        <a:rPr sz="600">
                          <a:latin typeface="Nexa Book"/>
                        </a:rPr>
                        <a:t>60%</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 5.15</a:t>
                      </a:r>
                    </a:p>
                  </a:txBody>
                  <a:tcPr marL="2858" marR="2858" marT="2858" marB="0" anchor="ctr">
                    <a:noFill/>
                  </a:tcPr>
                </a:tc>
                <a:tc>
                  <a:txBody>
                    <a:bodyPr/>
                    <a:lstStyle/>
                    <a:p>
                      <a:pPr algn="ctr">
                        <a:defRPr sz="600">
                          <a:latin typeface="Nexa Book"/>
                        </a:defRPr>
                      </a:pPr>
                      <a:r>
                        <a:rPr sz="600">
                          <a:latin typeface="Nexa Book"/>
                        </a:rPr>
                        <a:t> 2.00</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RELOAD 3 BLADE HYBRID NORMAL 5CT</a:t>
                      </a:r>
                    </a:p>
                  </a:txBody>
                  <a:tcPr marL="2858" marR="2858" marT="2858" marB="0" anchor="ctr">
                    <a:noFill/>
                  </a:tcPr>
                </a:tc>
                <a:tc>
                  <a:txBody>
                    <a:bodyPr/>
                    <a:lstStyle/>
                    <a:p>
                      <a:pPr algn="ctr">
                        <a:defRPr sz="600">
                          <a:latin typeface="Nexa Book"/>
                        </a:defRPr>
                      </a:pPr>
                      <a:r>
                        <a:rPr sz="600">
                          <a:latin typeface="Nexa Book"/>
                        </a:rPr>
                        <a:t>65%</a:t>
                      </a:r>
                    </a:p>
                  </a:txBody>
                  <a:tcPr marL="2858" marR="2858" marT="2858" marB="0" anchor="ctr">
                    <a:noFill/>
                  </a:tcPr>
                </a:tc>
                <a:tc>
                  <a:txBody>
                    <a:bodyPr/>
                    <a:lstStyle/>
                    <a:p>
                      <a:pPr algn="ctr">
                        <a:defRPr sz="600">
                          <a:latin typeface="Nexa Book"/>
                        </a:defRPr>
                      </a:pPr>
                      <a:r>
                        <a:rPr sz="600">
                          <a:latin typeface="Nexa Book"/>
                        </a:rPr>
                        <a:t>42%</a:t>
                      </a:r>
                    </a:p>
                  </a:txBody>
                  <a:tcPr marL="2858" marR="2858" marT="2858" marB="0" anchor="ctr">
                    <a:noFill/>
                  </a:tcPr>
                </a:tc>
                <a:tc>
                  <a:txBody>
                    <a:bodyPr/>
                    <a:lstStyle/>
                    <a:p>
                      <a:pPr algn="ctr">
                        <a:defRPr sz="600">
                          <a:latin typeface="Nexa Book"/>
                        </a:defRPr>
                      </a:pPr>
                      <a:r>
                        <a:rPr sz="600">
                          <a:latin typeface="Nexa Book"/>
                        </a:rPr>
                        <a:t> 9.94</a:t>
                      </a:r>
                    </a:p>
                  </a:txBody>
                  <a:tcPr marL="2858" marR="2858" marT="2858" marB="0" anchor="ctr">
                    <a:noFill/>
                  </a:tcPr>
                </a:tc>
                <a:tc>
                  <a:txBody>
                    <a:bodyPr/>
                    <a:lstStyle/>
                    <a:p>
                      <a:pPr algn="ctr">
                        <a:defRPr sz="600">
                          <a:latin typeface="Nexa Book"/>
                        </a:defRPr>
                      </a:pPr>
                      <a:r>
                        <a:rPr sz="600">
                          <a:latin typeface="Nexa Book"/>
                        </a:rPr>
                        <a:t> 3.40</a:t>
                      </a:r>
                    </a:p>
                  </a:txBody>
                  <a:tcPr marL="2858" marR="2858" marT="2858" marB="0" anchor="ctr">
                    <a:noFill/>
                  </a:tcPr>
                </a:tc>
                <a:tc>
                  <a:txBody>
                    <a:bodyPr/>
                    <a:lstStyle/>
                    <a:p>
                      <a:pPr algn="ctr">
                        <a:defRPr sz="600">
                          <a:latin typeface="Nexa Book"/>
                        </a:defRPr>
                      </a:pPr>
                      <a:r>
                        <a:rPr sz="600">
                          <a:latin typeface="Nexa Book"/>
                        </a:rPr>
                        <a:t>34</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HOLIDAY GIFT PACK REM BLADES RAZOR SENSITIVE 2CT</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0.00</a:t>
                      </a:r>
                    </a:p>
                  </a:txBody>
                  <a:tcPr marL="2858" marR="2858" marT="2858" marB="0" anchor="ctr">
                    <a:noFill/>
                  </a:tcPr>
                </a:tc>
                <a:tc>
                  <a:txBody>
                    <a:bodyPr/>
                    <a:lstStyle/>
                    <a:p>
                      <a:pPr algn="ctr">
                        <a:defRPr sz="600">
                          <a:latin typeface="Nexa Book"/>
                        </a:defRPr>
                      </a:pPr>
                      <a:r>
                        <a:rPr sz="600">
                          <a:latin typeface="Nexa Book"/>
                        </a:rPr>
                        <a:t> 7.50</a:t>
                      </a:r>
                    </a:p>
                  </a:txBody>
                  <a:tcPr marL="2858" marR="2858" marT="2858" marB="0" anchor="ctr">
                    <a:noFill/>
                  </a:tcPr>
                </a:tc>
                <a:tc>
                  <a:txBody>
                    <a:bodyPr/>
                    <a:lstStyle/>
                    <a:p>
                      <a:pPr algn="ctr">
                        <a:defRPr sz="600">
                          <a:latin typeface="Nexa Book"/>
                        </a:defRPr>
                      </a:pPr>
                      <a:r>
                        <a:rPr sz="600">
                          <a:latin typeface="Nexa Book"/>
                        </a:rPr>
                        <a:t>15</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415961962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6C832E98-8678-A693-5643-768C58A832B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6C832E98-8678-A693-5643-768C58A832B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D64701B2-2460-45D5-865F-3FB4D1BD3AB0}" type="datetime1">
              <a:rPr lang="en-US"/>
              <a:pPr/>
              <a:t>8/18/2025</a:t>
            </a:fld>
            <a:endParaRPr lang="en-US"/>
          </a:p>
        </p:txBody>
      </p:sp>
      <p:sp>
        <p:nvSpPr>
          <p:cNvPr id="12" name="Footer Placeholder 11">
            <a:extLst>
              <a:ext uri="{FF2B5EF4-FFF2-40B4-BE49-F238E27FC236}">
                <a16:creationId xmlns:a16="http://schemas.microsoft.com/office/drawing/2014/main" id="{7BE67518-82EE-BCF7-A57F-695B8A635C15}"/>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9274C1D-4570-8715-ED07-3FEB8DF0862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5</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Bottom 20 Promotions By Value and Incremental | Walmart  |  Disposable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Bottom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9884"/>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C8526F18-9B48-AA97-5928-5A2BA7578A65}"/>
              </a:ext>
            </a:extLst>
          </p:cNvPr>
          <p:cNvGraphicFramePr>
            <a:graphicFrameLocks noGrp="1"/>
          </p:cNvGraphicFramePr>
          <p:nvPr>
            <p:extLst>
              <p:ext uri="{D42A27DB-BD31-4B8C-83A1-F6EECF244321}">
                <p14:modId xmlns:p14="http://schemas.microsoft.com/office/powerpoint/2010/main" val="1625795460"/>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270110">
                <a:tc>
                  <a:txBody>
                    <a:bodyPr/>
                    <a:lstStyle/>
                    <a:p>
                      <a:pPr algn="l">
                        <a:defRPr sz="600">
                          <a:latin typeface="Nexa Book"/>
                        </a:defRPr>
                      </a:pPr>
                      <a:r>
                        <a:rPr sz="600">
                          <a:latin typeface="Nexa Book"/>
                        </a:rPr>
                        <a:t>Schick</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SCHICK XTREME 3 SENSITIVE HOLIDAY GIFT PACK 3 BLADE DISPOSABLE SENSITIVE 6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3%</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0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6.6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5.1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5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4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9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3%</a:t>
                      </a: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292605199"/>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3 BLADE DISPOSABLE SENSITIVE 1CT</a:t>
                      </a:r>
                    </a:p>
                  </a:txBody>
                  <a:tcPr marL="2858" marR="2858" marT="2858" marB="0" anchor="ctr">
                    <a:noFill/>
                  </a:tcPr>
                </a:tc>
                <a:tc>
                  <a:txBody>
                    <a:bodyPr/>
                    <a:lstStyle/>
                    <a:p>
                      <a:pPr algn="ctr">
                        <a:defRPr sz="600">
                          <a:latin typeface="Nexa Book"/>
                        </a:defRPr>
                      </a:pPr>
                      <a:r>
                        <a:rPr sz="600">
                          <a:latin typeface="Nexa Book"/>
                        </a:rPr>
                        <a:t>45%</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 1.16</a:t>
                      </a:r>
                    </a:p>
                  </a:txBody>
                  <a:tcPr marL="2858" marR="2858" marT="2858" marB="0" anchor="ctr">
                    <a:noFill/>
                  </a:tcPr>
                </a:tc>
                <a:tc>
                  <a:txBody>
                    <a:bodyPr/>
                    <a:lstStyle/>
                    <a:p>
                      <a:pPr algn="ctr">
                        <a:defRPr sz="600">
                          <a:latin typeface="Nexa Book"/>
                        </a:defRPr>
                      </a:pPr>
                      <a:r>
                        <a:rPr sz="600">
                          <a:latin typeface="Nexa Book"/>
                        </a:rPr>
                        <a:t> 0.60</a:t>
                      </a:r>
                    </a:p>
                  </a:txBody>
                  <a:tcPr marL="2858" marR="2858" marT="2858" marB="0" anchor="ctr">
                    <a:noFill/>
                  </a:tcPr>
                </a:tc>
                <a:tc>
                  <a:txBody>
                    <a:bodyPr/>
                    <a:lstStyle/>
                    <a:p>
                      <a:pPr algn="ctr">
                        <a:defRPr sz="600">
                          <a:latin typeface="Nexa Book"/>
                        </a:defRPr>
                      </a:pPr>
                      <a:r>
                        <a:rPr sz="600">
                          <a:latin typeface="Nexa Book"/>
                        </a:rPr>
                        <a:t>7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7</a:t>
                      </a:r>
                    </a:p>
                  </a:txBody>
                  <a:tcPr marL="2858" marR="2858" marT="2858" marB="0" anchor="ctr">
                    <a:noFill/>
                  </a:tcPr>
                </a:tc>
                <a:tc>
                  <a:txBody>
                    <a:bodyPr/>
                    <a:lstStyle/>
                    <a:p>
                      <a:pPr algn="ctr">
                        <a:defRPr sz="600">
                          <a:latin typeface="Nexa Book"/>
                        </a:defRPr>
                      </a:pPr>
                      <a:r>
                        <a:rPr sz="600">
                          <a:latin typeface="Nexa Book"/>
                        </a:rPr>
                        <a:t>-64%</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DUO COMFORT 3 BLADE DISPOSABLE NORMAL 4CT</a:t>
                      </a:r>
                    </a:p>
                  </a:txBody>
                  <a:tcPr marL="2858" marR="2858" marT="2858" marB="0" anchor="ctr">
                    <a:noFill/>
                  </a:tcPr>
                </a:tc>
                <a:tc>
                  <a:txBody>
                    <a:bodyPr/>
                    <a:lstStyle/>
                    <a:p>
                      <a:pPr algn="ctr">
                        <a:defRPr sz="600">
                          <a:latin typeface="Nexa Book"/>
                        </a:defRPr>
                      </a:pPr>
                      <a:r>
                        <a:rPr sz="600">
                          <a:latin typeface="Nexa Book"/>
                        </a:rPr>
                        <a:t>63%</a:t>
                      </a:r>
                    </a:p>
                  </a:txBody>
                  <a:tcPr marL="2858" marR="2858" marT="2858" marB="0" anchor="ctr">
                    <a:noFill/>
                  </a:tcPr>
                </a:tc>
                <a:tc>
                  <a:txBody>
                    <a:bodyPr/>
                    <a:lstStyle/>
                    <a:p>
                      <a:pPr algn="ctr">
                        <a:defRPr sz="600">
                          <a:latin typeface="Nexa Book"/>
                        </a:defRPr>
                      </a:pPr>
                      <a:r>
                        <a:rPr sz="600">
                          <a:latin typeface="Nexa Book"/>
                        </a:rPr>
                        <a:t>30%</a:t>
                      </a:r>
                    </a:p>
                  </a:txBody>
                  <a:tcPr marL="2858" marR="2858" marT="2858" marB="0" anchor="ctr">
                    <a:noFill/>
                  </a:tcPr>
                </a:tc>
                <a:tc>
                  <a:txBody>
                    <a:bodyPr/>
                    <a:lstStyle/>
                    <a:p>
                      <a:pPr algn="ctr">
                        <a:defRPr sz="600">
                          <a:latin typeface="Nexa Book"/>
                        </a:defRPr>
                      </a:pPr>
                      <a:r>
                        <a:rPr sz="600">
                          <a:latin typeface="Nexa Book"/>
                        </a:rPr>
                        <a:t> 5.86</a:t>
                      </a:r>
                    </a:p>
                  </a:txBody>
                  <a:tcPr marL="2858" marR="2858" marT="2858" marB="0" anchor="ctr">
                    <a:noFill/>
                  </a:tcPr>
                </a:tc>
                <a:tc>
                  <a:txBody>
                    <a:bodyPr/>
                    <a:lstStyle/>
                    <a:p>
                      <a:pPr algn="ctr">
                        <a:defRPr sz="600">
                          <a:latin typeface="Nexa Book"/>
                        </a:defRPr>
                      </a:pPr>
                      <a:r>
                        <a:rPr sz="600">
                          <a:latin typeface="Nexa Book"/>
                        </a:rPr>
                        <a:t> 2.15</a:t>
                      </a:r>
                    </a:p>
                  </a:txBody>
                  <a:tcPr marL="2858" marR="2858" marT="2858" marB="0" anchor="ctr">
                    <a:noFill/>
                  </a:tcPr>
                </a:tc>
                <a:tc>
                  <a:txBody>
                    <a:bodyPr/>
                    <a:lstStyle/>
                    <a:p>
                      <a:pPr algn="ctr">
                        <a:defRPr sz="600">
                          <a:latin typeface="Nexa Book"/>
                        </a:defRPr>
                      </a:pPr>
                      <a:r>
                        <a:rPr sz="600">
                          <a:latin typeface="Nexa Book"/>
                        </a:rPr>
                        <a:t>28</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19</a:t>
                      </a:r>
                    </a:p>
                  </a:txBody>
                  <a:tcPr marL="2858" marR="2858" marT="2858" marB="0" anchor="ctr">
                    <a:noFill/>
                  </a:tcPr>
                </a:tc>
                <a:tc>
                  <a:txBody>
                    <a:bodyPr/>
                    <a:lstStyle/>
                    <a:p>
                      <a:pPr algn="ctr">
                        <a:defRPr sz="600">
                          <a:latin typeface="Nexa Book"/>
                        </a:defRPr>
                      </a:pPr>
                      <a:r>
                        <a:rPr sz="600">
                          <a:latin typeface="Nexa Book"/>
                        </a:rPr>
                        <a:t>-39%</a:t>
                      </a:r>
                    </a:p>
                  </a:txBody>
                  <a:tcPr marL="2858" marR="2858" marT="2858" marB="0" anchor="ctr">
                    <a:noFill/>
                  </a:tcPr>
                </a:tc>
                <a:tc>
                  <a:txBody>
                    <a:bodyPr/>
                    <a:lstStyle/>
                    <a:p>
                      <a:pPr algn="ctr">
                        <a:defRPr sz="600">
                          <a:latin typeface="Nexa Book"/>
                        </a:defRPr>
                      </a:pPr>
                      <a:r>
                        <a:rPr sz="600">
                          <a:latin typeface="Nexa Book"/>
                        </a:rPr>
                        <a:t>62%</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HOLIDAY GIFT PACK REM BLADES DISPOSABLE 8CT</a:t>
                      </a:r>
                    </a:p>
                  </a:txBody>
                  <a:tcPr marL="2858" marR="2858" marT="2858" marB="0" anchor="ctr">
                    <a:noFill/>
                  </a:tcPr>
                </a:tc>
                <a:tc>
                  <a:txBody>
                    <a:bodyPr/>
                    <a:lstStyle/>
                    <a:p>
                      <a:pPr algn="ctr">
                        <a:defRPr sz="600">
                          <a:latin typeface="Nexa Book"/>
                        </a:defRPr>
                      </a:pPr>
                      <a:r>
                        <a:rPr sz="600">
                          <a:latin typeface="Nexa Book"/>
                        </a:rPr>
                        <a:t>24%</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1.00</a:t>
                      </a:r>
                    </a:p>
                  </a:txBody>
                  <a:tcPr marL="2858" marR="2858" marT="2858" marB="0" anchor="ctr">
                    <a:noFill/>
                  </a:tcPr>
                </a:tc>
                <a:tc>
                  <a:txBody>
                    <a:bodyPr/>
                    <a:lstStyle/>
                    <a:p>
                      <a:pPr algn="ctr">
                        <a:defRPr sz="600">
                          <a:latin typeface="Nexa Book"/>
                        </a:defRPr>
                      </a:pPr>
                      <a:r>
                        <a:rPr sz="600">
                          <a:latin typeface="Nexa Book"/>
                        </a:rPr>
                        <a:t> 8.33</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4 OUTLAST 4 BLADE DISPOSABLE NORMAL 3CT</a:t>
                      </a:r>
                    </a:p>
                  </a:txBody>
                  <a:tcPr marL="2858" marR="2858" marT="2858" marB="0" anchor="ctr">
                    <a:noFill/>
                  </a:tcPr>
                </a:tc>
                <a:tc>
                  <a:txBody>
                    <a:bodyPr/>
                    <a:lstStyle/>
                    <a:p>
                      <a:pPr algn="ctr">
                        <a:defRPr sz="600">
                          <a:latin typeface="Nexa Book"/>
                        </a:defRPr>
                      </a:pPr>
                      <a:r>
                        <a:rPr sz="600">
                          <a:latin typeface="Nexa Book"/>
                        </a:rPr>
                        <a:t>86%</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 6.94</a:t>
                      </a:r>
                    </a:p>
                  </a:txBody>
                  <a:tcPr marL="2858" marR="2858" marT="2858" marB="0" anchor="ctr">
                    <a:noFill/>
                  </a:tcPr>
                </a:tc>
                <a:tc>
                  <a:txBody>
                    <a:bodyPr/>
                    <a:lstStyle/>
                    <a:p>
                      <a:pPr algn="ctr">
                        <a:defRPr sz="600">
                          <a:latin typeface="Nexa Book"/>
                        </a:defRPr>
                      </a:pPr>
                      <a:r>
                        <a:rPr sz="600">
                          <a:latin typeface="Nexa Book"/>
                        </a:rPr>
                        <a:t> 1.00</a:t>
                      </a:r>
                    </a:p>
                  </a:txBody>
                  <a:tcPr marL="2858" marR="2858" marT="2858" marB="0" anchor="ctr">
                    <a:noFill/>
                  </a:tcPr>
                </a:tc>
                <a:tc>
                  <a:txBody>
                    <a:bodyPr/>
                    <a:lstStyle/>
                    <a:p>
                      <a:pPr algn="ctr">
                        <a:defRPr sz="600">
                          <a:latin typeface="Nexa Book"/>
                        </a:defRPr>
                      </a:pPr>
                      <a:r>
                        <a:rPr sz="600">
                          <a:latin typeface="Nexa Book"/>
                        </a:rPr>
                        <a:t>1</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ORIGINAL HOLIDAY GIFT PACK 4 BLADE DISPOSABLE 8CT</a:t>
                      </a:r>
                    </a:p>
                  </a:txBody>
                  <a:tcPr marL="2858" marR="2858" marT="2858" marB="0" anchor="ctr">
                    <a:noFill/>
                  </a:tcPr>
                </a:tc>
                <a:tc>
                  <a:txBody>
                    <a:bodyPr/>
                    <a:lstStyle/>
                    <a:p>
                      <a:pPr algn="ctr">
                        <a:defRPr sz="600">
                          <a:latin typeface="Nexa Book"/>
                        </a:defRPr>
                      </a:pPr>
                      <a:r>
                        <a:rPr sz="600">
                          <a:latin typeface="Nexa Book"/>
                        </a:rPr>
                        <a:t>1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0.00</a:t>
                      </a:r>
                    </a:p>
                  </a:txBody>
                  <a:tcPr marL="2858" marR="2858" marT="2858" marB="0" anchor="ctr">
                    <a:noFill/>
                  </a:tcPr>
                </a:tc>
                <a:tc>
                  <a:txBody>
                    <a:bodyPr/>
                    <a:lstStyle/>
                    <a:p>
                      <a:pPr algn="ctr">
                        <a:defRPr sz="600">
                          <a:latin typeface="Nexa Book"/>
                        </a:defRPr>
                      </a:pPr>
                      <a:r>
                        <a:rPr sz="600">
                          <a:latin typeface="Nexa Book"/>
                        </a:rPr>
                        <a:t> 8.50</a:t>
                      </a:r>
                    </a:p>
                  </a:txBody>
                  <a:tcPr marL="2858" marR="2858" marT="2858" marB="0" anchor="ctr">
                    <a:noFill/>
                  </a:tcPr>
                </a:tc>
                <a:tc>
                  <a:txBody>
                    <a:bodyPr/>
                    <a:lstStyle/>
                    <a:p>
                      <a:pPr algn="ctr">
                        <a:defRPr sz="600">
                          <a:latin typeface="Nexa Book"/>
                        </a:defRPr>
                      </a:pPr>
                      <a:r>
                        <a:rPr sz="600">
                          <a:latin typeface="Nexa Book"/>
                        </a:rPr>
                        <a:t>17</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HOLIDAY GIFT PACK 3 BLADE DISPOSABLE NORMAL 8CT</a:t>
                      </a:r>
                    </a:p>
                  </a:txBody>
                  <a:tcPr marL="2858" marR="2858" marT="2858" marB="0" anchor="ctr">
                    <a:noFill/>
                  </a:tcPr>
                </a:tc>
                <a:tc>
                  <a:txBody>
                    <a:bodyPr/>
                    <a:lstStyle/>
                    <a:p>
                      <a:pPr algn="ctr">
                        <a:defRPr sz="600">
                          <a:latin typeface="Nexa Book"/>
                        </a:defRPr>
                      </a:pPr>
                      <a:r>
                        <a:rPr sz="600">
                          <a:latin typeface="Nexa Book"/>
                        </a:rPr>
                        <a:t>30%</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0.00</a:t>
                      </a:r>
                    </a:p>
                  </a:txBody>
                  <a:tcPr marL="2858" marR="2858" marT="2858" marB="0" anchor="ctr">
                    <a:noFill/>
                  </a:tcPr>
                </a:tc>
                <a:tc>
                  <a:txBody>
                    <a:bodyPr/>
                    <a:lstStyle/>
                    <a:p>
                      <a:pPr algn="ctr">
                        <a:defRPr sz="600">
                          <a:latin typeface="Nexa Book"/>
                        </a:defRPr>
                      </a:pPr>
                      <a:r>
                        <a:rPr sz="600">
                          <a:latin typeface="Nexa Book"/>
                        </a:rPr>
                        <a:t> 7.00</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GREEN 3 BLADE DISPOSABLE SENSITIVE 8CT</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 11.01</a:t>
                      </a:r>
                    </a:p>
                  </a:txBody>
                  <a:tcPr marL="2858" marR="2858" marT="2858" marB="0" anchor="ctr">
                    <a:noFill/>
                  </a:tcPr>
                </a:tc>
                <a:tc>
                  <a:txBody>
                    <a:bodyPr/>
                    <a:lstStyle/>
                    <a:p>
                      <a:pPr algn="ctr">
                        <a:defRPr sz="600">
                          <a:latin typeface="Nexa Book"/>
                        </a:defRPr>
                      </a:pPr>
                      <a:r>
                        <a:rPr sz="600">
                          <a:latin typeface="Nexa Book"/>
                        </a:rPr>
                        <a:t> 9.88</a:t>
                      </a:r>
                    </a:p>
                  </a:txBody>
                  <a:tcPr marL="2858" marR="2858" marT="2858" marB="0" anchor="ctr">
                    <a:noFill/>
                  </a:tcPr>
                </a:tc>
                <a:tc>
                  <a:txBody>
                    <a:bodyPr/>
                    <a:lstStyle/>
                    <a:p>
                      <a:pPr algn="ctr">
                        <a:defRPr sz="600">
                          <a:latin typeface="Nexa Book"/>
                        </a:defRPr>
                      </a:pPr>
                      <a:r>
                        <a:rPr sz="600">
                          <a:latin typeface="Nexa Book"/>
                        </a:rPr>
                        <a:t>350'447</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65%</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BLACK 3 BLADE DISPOSABLE SENSITIVE 4CT</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 6.50</a:t>
                      </a:r>
                    </a:p>
                  </a:txBody>
                  <a:tcPr marL="2858" marR="2858" marT="2858" marB="0" anchor="ctr">
                    <a:noFill/>
                  </a:tcPr>
                </a:tc>
                <a:tc>
                  <a:txBody>
                    <a:bodyPr/>
                    <a:lstStyle/>
                    <a:p>
                      <a:pPr algn="ctr">
                        <a:defRPr sz="600">
                          <a:latin typeface="Nexa Book"/>
                        </a:defRPr>
                      </a:pPr>
                      <a:r>
                        <a:rPr sz="600">
                          <a:latin typeface="Nexa Book"/>
                        </a:rPr>
                        <a:t> 6.01</a:t>
                      </a:r>
                    </a:p>
                  </a:txBody>
                  <a:tcPr marL="2858" marR="2858" marT="2858" marB="0" anchor="ctr">
                    <a:noFill/>
                  </a:tcPr>
                </a:tc>
                <a:tc>
                  <a:txBody>
                    <a:bodyPr/>
                    <a:lstStyle/>
                    <a:p>
                      <a:pPr algn="ctr">
                        <a:defRPr sz="600">
                          <a:latin typeface="Nexa Book"/>
                        </a:defRPr>
                      </a:pPr>
                      <a:r>
                        <a:rPr sz="600">
                          <a:latin typeface="Nexa Book"/>
                        </a:rPr>
                        <a:t>287'346</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62%</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2 SENSITIVE 2 BLADE DISPOSABLE NORMAL 12CT</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 6.50</a:t>
                      </a:r>
                    </a:p>
                  </a:txBody>
                  <a:tcPr marL="2858" marR="2858" marT="2858" marB="0" anchor="ctr">
                    <a:noFill/>
                  </a:tcPr>
                </a:tc>
                <a:tc>
                  <a:txBody>
                    <a:bodyPr/>
                    <a:lstStyle/>
                    <a:p>
                      <a:pPr algn="ctr">
                        <a:defRPr sz="600">
                          <a:latin typeface="Nexa Book"/>
                        </a:defRPr>
                      </a:pPr>
                      <a:r>
                        <a:rPr sz="600">
                          <a:latin typeface="Nexa Book"/>
                        </a:rPr>
                        <a:t> 6.06</a:t>
                      </a:r>
                    </a:p>
                  </a:txBody>
                  <a:tcPr marL="2858" marR="2858" marT="2858" marB="0" anchor="ctr">
                    <a:noFill/>
                  </a:tcPr>
                </a:tc>
                <a:tc>
                  <a:txBody>
                    <a:bodyPr/>
                    <a:lstStyle/>
                    <a:p>
                      <a:pPr algn="ctr">
                        <a:defRPr sz="600">
                          <a:latin typeface="Nexa Book"/>
                        </a:defRPr>
                      </a:pPr>
                      <a:r>
                        <a:rPr sz="600">
                          <a:latin typeface="Nexa Book"/>
                        </a:rPr>
                        <a:t>283'39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77%</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BLACK GREEN 3 BLADE DISPOSABLE SENSITIVE 12CT</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 15.03</a:t>
                      </a:r>
                    </a:p>
                  </a:txBody>
                  <a:tcPr marL="2858" marR="2858" marT="2858" marB="0" anchor="ctr">
                    <a:noFill/>
                  </a:tcPr>
                </a:tc>
                <a:tc>
                  <a:txBody>
                    <a:bodyPr/>
                    <a:lstStyle/>
                    <a:p>
                      <a:pPr algn="ctr">
                        <a:defRPr sz="600">
                          <a:latin typeface="Nexa Book"/>
                        </a:defRPr>
                      </a:pPr>
                      <a:r>
                        <a:rPr sz="600">
                          <a:latin typeface="Nexa Book"/>
                        </a:rPr>
                        <a:t> 12.89</a:t>
                      </a:r>
                    </a:p>
                  </a:txBody>
                  <a:tcPr marL="2858" marR="2858" marT="2858" marB="0" anchor="ctr">
                    <a:noFill/>
                  </a:tcPr>
                </a:tc>
                <a:tc>
                  <a:txBody>
                    <a:bodyPr/>
                    <a:lstStyle/>
                    <a:p>
                      <a:pPr algn="ctr">
                        <a:defRPr sz="600">
                          <a:latin typeface="Nexa Book"/>
                        </a:defRPr>
                      </a:pPr>
                      <a:r>
                        <a:rPr sz="600">
                          <a:latin typeface="Nexa Book"/>
                        </a:rPr>
                        <a:t>161'245</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52%</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GREEN HOLIDAY GIFT PACK 3 BLADE DISPOSABLE SENSITIVE 8CT</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0.00</a:t>
                      </a:r>
                    </a:p>
                  </a:txBody>
                  <a:tcPr marL="2858" marR="2858" marT="2858" marB="0" anchor="ctr">
                    <a:noFill/>
                  </a:tcPr>
                </a:tc>
                <a:tc>
                  <a:txBody>
                    <a:bodyPr/>
                    <a:lstStyle/>
                    <a:p>
                      <a:pPr algn="ctr">
                        <a:defRPr sz="600">
                          <a:latin typeface="Nexa Book"/>
                        </a:defRPr>
                      </a:pPr>
                      <a:r>
                        <a:rPr sz="600">
                          <a:latin typeface="Nexa Book"/>
                        </a:rPr>
                        <a:t> 8.92</a:t>
                      </a:r>
                    </a:p>
                  </a:txBody>
                  <a:tcPr marL="2858" marR="2858" marT="2858" marB="0" anchor="ctr">
                    <a:noFill/>
                  </a:tcPr>
                </a:tc>
                <a:tc>
                  <a:txBody>
                    <a:bodyPr/>
                    <a:lstStyle/>
                    <a:p>
                      <a:pPr algn="ctr">
                        <a:defRPr sz="600">
                          <a:latin typeface="Nexa Book"/>
                        </a:defRPr>
                      </a:pPr>
                      <a:r>
                        <a:rPr sz="600">
                          <a:latin typeface="Nexa Book"/>
                        </a:rPr>
                        <a:t>1'128'687</a:t>
                      </a:r>
                    </a:p>
                  </a:txBody>
                  <a:tcPr marL="2858" marR="2858" marT="2858" marB="0" anchor="ctr">
                    <a:noFill/>
                  </a:tcPr>
                </a:tc>
                <a:tc>
                  <a:txBody>
                    <a:bodyPr/>
                    <a:lstStyle/>
                    <a:p>
                      <a:pPr algn="ctr">
                        <a:defRPr sz="600">
                          <a:latin typeface="Nexa Book"/>
                        </a:defRPr>
                      </a:pPr>
                      <a:r>
                        <a:rPr sz="600">
                          <a:latin typeface="Nexa Book"/>
                        </a:rPr>
                        <a:t>49%</a:t>
                      </a:r>
                    </a:p>
                  </a:txBody>
                  <a:tcPr marL="2858" marR="2858" marT="2858" marB="0" anchor="ctr">
                    <a:noFill/>
                  </a:tcPr>
                </a:tc>
                <a:tc>
                  <a:txBody>
                    <a:bodyPr/>
                    <a:lstStyle/>
                    <a:p>
                      <a:pPr algn="ctr">
                        <a:defRPr sz="600">
                          <a:latin typeface="Nexa Book"/>
                        </a:defRPr>
                      </a:pPr>
                      <a:r>
                        <a:rPr sz="600">
                          <a:latin typeface="Nexa Book"/>
                        </a:rPr>
                        <a:t>78%</a:t>
                      </a:r>
                    </a:p>
                  </a:txBody>
                  <a:tcPr marL="2858" marR="2858" marT="2858" marB="0" anchor="ctr">
                    <a:noFill/>
                  </a:tcPr>
                </a:tc>
                <a:tc>
                  <a:txBody>
                    <a:bodyPr/>
                    <a:lstStyle/>
                    <a:p>
                      <a:pPr algn="ctr">
                        <a:defRPr sz="600">
                          <a:latin typeface="Nexa Book"/>
                        </a:defRPr>
                      </a:pPr>
                      <a:r>
                        <a:rPr sz="600">
                          <a:latin typeface="Nexa Book"/>
                        </a:rPr>
                        <a:t>220533</a:t>
                      </a:r>
                    </a:p>
                  </a:txBody>
                  <a:tcPr marL="2858" marR="2858" marT="2858" marB="0" anchor="ctr">
                    <a:noFill/>
                  </a:tcPr>
                </a:tc>
                <a:tc>
                  <a:txBody>
                    <a:bodyPr/>
                    <a:lstStyle/>
                    <a:p>
                      <a:pPr algn="ctr">
                        <a:defRPr sz="600">
                          <a:latin typeface="Nexa Book"/>
                        </a:defRPr>
                      </a:pPr>
                      <a:r>
                        <a:rPr sz="600">
                          <a:latin typeface="Nexa Book"/>
                        </a:rPr>
                        <a:t>162%</a:t>
                      </a:r>
                    </a:p>
                  </a:txBody>
                  <a:tcPr marL="2858" marR="2858" marT="2858" marB="0" anchor="ctr">
                    <a:noFill/>
                  </a:tcPr>
                </a:tc>
                <a:tc>
                  <a:txBody>
                    <a:bodyPr/>
                    <a:lstStyle/>
                    <a:p>
                      <a:pPr algn="ctr">
                        <a:defRPr sz="600">
                          <a:latin typeface="Nexa Book"/>
                        </a:defRPr>
                      </a:pPr>
                      <a:r>
                        <a:rPr sz="600">
                          <a:latin typeface="Nexa Book"/>
                        </a:rPr>
                        <a:t>34%</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77453860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6C832E98-8678-A693-5643-768C58A832B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6C832E98-8678-A693-5643-768C58A832B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D64701B2-2460-45D5-865F-3FB4D1BD3AB0}" type="datetime1">
              <a:rPr lang="en-US"/>
              <a:pPr/>
              <a:t>8/18/2025</a:t>
            </a:fld>
            <a:endParaRPr lang="en-US"/>
          </a:p>
        </p:txBody>
      </p:sp>
      <p:sp>
        <p:nvSpPr>
          <p:cNvPr id="12" name="Footer Placeholder 11">
            <a:extLst>
              <a:ext uri="{FF2B5EF4-FFF2-40B4-BE49-F238E27FC236}">
                <a16:creationId xmlns:a16="http://schemas.microsoft.com/office/drawing/2014/main" id="{7BE67518-82EE-BCF7-A57F-695B8A635C15}"/>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9274C1D-4570-8715-ED07-3FEB8DF0862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6</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Bottom 20 Promotions By Value and Incremental | Bj's And Sam's  |  Disposable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Bottom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9884"/>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C8526F18-9B48-AA97-5928-5A2BA7578A65}"/>
              </a:ext>
            </a:extLst>
          </p:cNvPr>
          <p:cNvGraphicFramePr>
            <a:graphicFrameLocks noGrp="1"/>
          </p:cNvGraphicFramePr>
          <p:nvPr>
            <p:extLst>
              <p:ext uri="{D42A27DB-BD31-4B8C-83A1-F6EECF244321}">
                <p14:modId xmlns:p14="http://schemas.microsoft.com/office/powerpoint/2010/main" val="1625795460"/>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080440">
                <a:tc>
                  <a:txBody>
                    <a:bodyPr/>
                    <a:lstStyle/>
                    <a:p>
                      <a:pPr algn="l">
                        <a:defRPr sz="600">
                          <a:latin typeface="Nexa Book"/>
                        </a:defRPr>
                      </a:pPr>
                      <a:r>
                        <a:rPr sz="600">
                          <a:latin typeface="Nexa Book"/>
                        </a:rPr>
                        <a:t>Schick</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SCHICK XTREME 3 SENSITIVE 3 BLADE DISPOSABLE SENSITIVE 25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7%</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83%</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25.24</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20.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7'68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7%</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0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3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2682436867"/>
                  </a:ext>
                </a:extLst>
              </a:tr>
              <a:tr h="108044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BLACK 3 BLADE DISPOSABLE SENSITIVE 20CT</a:t>
                      </a:r>
                    </a:p>
                  </a:txBody>
                  <a:tcPr marL="2858" marR="2858" marT="2858" marB="0" anchor="ctr">
                    <a:noFill/>
                  </a:tcPr>
                </a:tc>
                <a:tc>
                  <a:txBody>
                    <a:bodyPr/>
                    <a:lstStyle/>
                    <a:p>
                      <a:pPr algn="ctr">
                        <a:defRPr sz="600">
                          <a:latin typeface="Nexa Book"/>
                        </a:defRPr>
                      </a:pPr>
                      <a:r>
                        <a:rPr sz="600">
                          <a:latin typeface="Nexa Book"/>
                        </a:rPr>
                        <a:t>13%</a:t>
                      </a:r>
                    </a:p>
                  </a:txBody>
                  <a:tcPr marL="2858" marR="2858" marT="2858" marB="0" anchor="ctr">
                    <a:noFill/>
                  </a:tcPr>
                </a:tc>
                <a:tc>
                  <a:txBody>
                    <a:bodyPr/>
                    <a:lstStyle/>
                    <a:p>
                      <a:pPr algn="ctr">
                        <a:defRPr sz="600">
                          <a:latin typeface="Nexa Book"/>
                        </a:defRPr>
                      </a:pPr>
                      <a:r>
                        <a:rPr sz="600">
                          <a:latin typeface="Nexa Book"/>
                        </a:rPr>
                        <a:t>80%</a:t>
                      </a:r>
                    </a:p>
                  </a:txBody>
                  <a:tcPr marL="2858" marR="2858" marT="2858" marB="0" anchor="ctr">
                    <a:noFill/>
                  </a:tcPr>
                </a:tc>
                <a:tc>
                  <a:txBody>
                    <a:bodyPr/>
                    <a:lstStyle/>
                    <a:p>
                      <a:pPr algn="ctr">
                        <a:defRPr sz="600">
                          <a:latin typeface="Nexa Book"/>
                        </a:defRPr>
                      </a:pPr>
                      <a:r>
                        <a:rPr sz="600">
                          <a:latin typeface="Nexa Book"/>
                        </a:rPr>
                        <a:t> 22.68</a:t>
                      </a:r>
                    </a:p>
                  </a:txBody>
                  <a:tcPr marL="2858" marR="2858" marT="2858" marB="0" anchor="ctr">
                    <a:noFill/>
                  </a:tcPr>
                </a:tc>
                <a:tc>
                  <a:txBody>
                    <a:bodyPr/>
                    <a:lstStyle/>
                    <a:p>
                      <a:pPr algn="ctr">
                        <a:defRPr sz="600">
                          <a:latin typeface="Nexa Book"/>
                        </a:defRPr>
                      </a:pPr>
                      <a:r>
                        <a:rPr sz="600">
                          <a:latin typeface="Nexa Book"/>
                        </a:rPr>
                        <a:t> 19.72</a:t>
                      </a:r>
                    </a:p>
                  </a:txBody>
                  <a:tcPr marL="2858" marR="2858" marT="2858" marB="0" anchor="ctr">
                    <a:noFill/>
                  </a:tcPr>
                </a:tc>
                <a:tc>
                  <a:txBody>
                    <a:bodyPr/>
                    <a:lstStyle/>
                    <a:p>
                      <a:pPr algn="ctr">
                        <a:defRPr sz="600">
                          <a:latin typeface="Nexa Book"/>
                        </a:defRPr>
                      </a:pPr>
                      <a:r>
                        <a:rPr sz="600">
                          <a:latin typeface="Nexa Book"/>
                        </a:rPr>
                        <a:t>560'410</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26%</a:t>
                      </a:r>
                    </a:p>
                  </a:txBody>
                  <a:tcPr marL="2858" marR="2858" marT="2858" marB="0" anchor="ctr">
                    <a:noFill/>
                  </a:tcPr>
                </a:tc>
                <a:tc>
                  <a:txBody>
                    <a:bodyPr/>
                    <a:lstStyle/>
                    <a:p>
                      <a:pPr algn="ctr">
                        <a:defRPr sz="600">
                          <a:latin typeface="Nexa Book"/>
                        </a:defRPr>
                      </a:pPr>
                      <a:r>
                        <a:rPr sz="600">
                          <a:latin typeface="Nexa Book"/>
                        </a:rPr>
                        <a:t>46156</a:t>
                      </a:r>
                    </a:p>
                  </a:txBody>
                  <a:tcPr marL="2858" marR="2858" marT="2858" marB="0" anchor="ctr">
                    <a:noFill/>
                  </a:tcPr>
                </a:tc>
                <a:tc>
                  <a:txBody>
                    <a:bodyPr/>
                    <a:lstStyle/>
                    <a:p>
                      <a:pPr algn="ctr">
                        <a:defRPr sz="600">
                          <a:latin typeface="Nexa Book"/>
                        </a:defRPr>
                      </a:pPr>
                      <a:r>
                        <a:rPr sz="600">
                          <a:latin typeface="Nexa Book"/>
                        </a:rPr>
                        <a:t>55%</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08044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BLACK GREEN 3 BLADE DISPOSABLE SENSITIVE 20CT</a:t>
                      </a:r>
                    </a:p>
                  </a:txBody>
                  <a:tcPr marL="2858" marR="2858" marT="2858" marB="0" anchor="ctr">
                    <a:noFill/>
                  </a:tcPr>
                </a:tc>
                <a:tc>
                  <a:txBody>
                    <a:bodyPr/>
                    <a:lstStyle/>
                    <a:p>
                      <a:pPr algn="ctr">
                        <a:defRPr sz="600">
                          <a:latin typeface="Nexa Book"/>
                        </a:defRPr>
                      </a:pPr>
                      <a:r>
                        <a:rPr sz="600">
                          <a:latin typeface="Nexa Book"/>
                        </a:rPr>
                        <a:t>19%</a:t>
                      </a:r>
                    </a:p>
                  </a:txBody>
                  <a:tcPr marL="2858" marR="2858" marT="2858" marB="0" anchor="ctr">
                    <a:noFill/>
                  </a:tcPr>
                </a:tc>
                <a:tc>
                  <a:txBody>
                    <a:bodyPr/>
                    <a:lstStyle/>
                    <a:p>
                      <a:pPr algn="ctr">
                        <a:defRPr sz="600">
                          <a:latin typeface="Nexa Book"/>
                        </a:defRPr>
                      </a:pPr>
                      <a:r>
                        <a:rPr sz="600">
                          <a:latin typeface="Nexa Book"/>
                        </a:rPr>
                        <a:t>56%</a:t>
                      </a:r>
                    </a:p>
                  </a:txBody>
                  <a:tcPr marL="2858" marR="2858" marT="2858" marB="0" anchor="ctr">
                    <a:noFill/>
                  </a:tcPr>
                </a:tc>
                <a:tc>
                  <a:txBody>
                    <a:bodyPr/>
                    <a:lstStyle/>
                    <a:p>
                      <a:pPr algn="ctr">
                        <a:defRPr sz="600">
                          <a:latin typeface="Nexa Book"/>
                        </a:defRPr>
                      </a:pPr>
                      <a:r>
                        <a:rPr sz="600">
                          <a:latin typeface="Nexa Book"/>
                        </a:rPr>
                        <a:t> 20.24</a:t>
                      </a:r>
                    </a:p>
                  </a:txBody>
                  <a:tcPr marL="2858" marR="2858" marT="2858" marB="0" anchor="ctr">
                    <a:noFill/>
                  </a:tcPr>
                </a:tc>
                <a:tc>
                  <a:txBody>
                    <a:bodyPr/>
                    <a:lstStyle/>
                    <a:p>
                      <a:pPr algn="ctr">
                        <a:defRPr sz="600">
                          <a:latin typeface="Nexa Book"/>
                        </a:defRPr>
                      </a:pPr>
                      <a:r>
                        <a:rPr sz="600">
                          <a:latin typeface="Nexa Book"/>
                        </a:rPr>
                        <a:t> 16.48</a:t>
                      </a:r>
                    </a:p>
                  </a:txBody>
                  <a:tcPr marL="2858" marR="2858" marT="2858" marB="0" anchor="ctr">
                    <a:noFill/>
                  </a:tcPr>
                </a:tc>
                <a:tc>
                  <a:txBody>
                    <a:bodyPr/>
                    <a:lstStyle/>
                    <a:p>
                      <a:pPr algn="ctr">
                        <a:defRPr sz="600">
                          <a:latin typeface="Nexa Book"/>
                        </a:defRPr>
                      </a:pPr>
                      <a:r>
                        <a:rPr sz="600">
                          <a:latin typeface="Nexa Book"/>
                        </a:rPr>
                        <a:t>5'674'749</a:t>
                      </a:r>
                    </a:p>
                  </a:txBody>
                  <a:tcPr marL="2858" marR="2858" marT="2858" marB="0" anchor="ctr">
                    <a:noFill/>
                  </a:tcPr>
                </a:tc>
                <a:tc>
                  <a:txBody>
                    <a:bodyPr/>
                    <a:lstStyle/>
                    <a:p>
                      <a:pPr algn="ctr">
                        <a:defRPr sz="600">
                          <a:latin typeface="Nexa Book"/>
                        </a:defRPr>
                      </a:pPr>
                      <a:r>
                        <a:rPr sz="600">
                          <a:latin typeface="Nexa Book"/>
                        </a:rPr>
                        <a:t>24%</a:t>
                      </a:r>
                    </a:p>
                  </a:txBody>
                  <a:tcPr marL="2858" marR="2858" marT="2858" marB="0" anchor="ctr">
                    <a:noFill/>
                  </a:tcPr>
                </a:tc>
                <a:tc>
                  <a:txBody>
                    <a:bodyPr/>
                    <a:lstStyle/>
                    <a:p>
                      <a:pPr algn="ctr">
                        <a:defRPr sz="600">
                          <a:latin typeface="Nexa Book"/>
                        </a:defRPr>
                      </a:pPr>
                      <a:r>
                        <a:rPr sz="600">
                          <a:latin typeface="Nexa Book"/>
                        </a:rPr>
                        <a:t>53%</a:t>
                      </a:r>
                    </a:p>
                  </a:txBody>
                  <a:tcPr marL="2858" marR="2858" marT="2858" marB="0" anchor="ctr">
                    <a:noFill/>
                  </a:tcPr>
                </a:tc>
                <a:tc>
                  <a:txBody>
                    <a:bodyPr/>
                    <a:lstStyle/>
                    <a:p>
                      <a:pPr algn="ctr">
                        <a:defRPr sz="600">
                          <a:latin typeface="Nexa Book"/>
                        </a:defRPr>
                      </a:pPr>
                      <a:r>
                        <a:rPr sz="600">
                          <a:latin typeface="Nexa Book"/>
                        </a:rPr>
                        <a:t>1093869</a:t>
                      </a:r>
                    </a:p>
                  </a:txBody>
                  <a:tcPr marL="2858" marR="2858" marT="2858" marB="0" anchor="ctr">
                    <a:noFill/>
                  </a:tcPr>
                </a:tc>
                <a:tc>
                  <a:txBody>
                    <a:bodyPr/>
                    <a:lstStyle/>
                    <a:p>
                      <a:pPr algn="ctr">
                        <a:defRPr sz="600">
                          <a:latin typeface="Nexa Book"/>
                        </a:defRPr>
                      </a:pPr>
                      <a:r>
                        <a:rPr sz="600">
                          <a:latin typeface="Nexa Book"/>
                        </a:rPr>
                        <a:t>85%</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4000308239"/>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6C832E98-8678-A693-5643-768C58A832B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6C832E98-8678-A693-5643-768C58A832B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D64701B2-2460-45D5-865F-3FB4D1BD3AB0}" type="datetime1">
              <a:rPr lang="en-US"/>
              <a:pPr/>
              <a:t>8/18/2025</a:t>
            </a:fld>
            <a:endParaRPr lang="en-US"/>
          </a:p>
        </p:txBody>
      </p:sp>
      <p:sp>
        <p:nvSpPr>
          <p:cNvPr id="12" name="Footer Placeholder 11">
            <a:extLst>
              <a:ext uri="{FF2B5EF4-FFF2-40B4-BE49-F238E27FC236}">
                <a16:creationId xmlns:a16="http://schemas.microsoft.com/office/drawing/2014/main" id="{7BE67518-82EE-BCF7-A57F-695B8A635C15}"/>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9274C1D-4570-8715-ED07-3FEB8DF0862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7</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Bottom 20 Promotions By Value and Incremental | Walmart  |  Disposable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Bottom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9884"/>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C8526F18-9B48-AA97-5928-5A2BA7578A65}"/>
              </a:ext>
            </a:extLst>
          </p:cNvPr>
          <p:cNvGraphicFramePr>
            <a:graphicFrameLocks noGrp="1"/>
          </p:cNvGraphicFramePr>
          <p:nvPr>
            <p:extLst>
              <p:ext uri="{D42A27DB-BD31-4B8C-83A1-F6EECF244321}">
                <p14:modId xmlns:p14="http://schemas.microsoft.com/office/powerpoint/2010/main" val="1625795460"/>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270110">
                <a:tc>
                  <a:txBody>
                    <a:bodyPr/>
                    <a:lstStyle/>
                    <a:p>
                      <a:pPr algn="l">
                        <a:defRPr sz="600">
                          <a:latin typeface="Nexa Book"/>
                        </a:defRPr>
                      </a:pPr>
                      <a:r>
                        <a:rPr sz="600">
                          <a:latin typeface="Nexa Book"/>
                        </a:rPr>
                        <a:t>Schick</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SCHICK XTREME 3 SENSITIVE HOLIDAY GIFT PACK 3 BLADE DISPOSABLE SENSITIVE 6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3%</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0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6.6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5.1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5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4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9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3%</a:t>
                      </a: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292605199"/>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3 BLADE DISPOSABLE SENSITIVE 1CT</a:t>
                      </a:r>
                    </a:p>
                  </a:txBody>
                  <a:tcPr marL="2858" marR="2858" marT="2858" marB="0" anchor="ctr">
                    <a:noFill/>
                  </a:tcPr>
                </a:tc>
                <a:tc>
                  <a:txBody>
                    <a:bodyPr/>
                    <a:lstStyle/>
                    <a:p>
                      <a:pPr algn="ctr">
                        <a:defRPr sz="600">
                          <a:latin typeface="Nexa Book"/>
                        </a:defRPr>
                      </a:pPr>
                      <a:r>
                        <a:rPr sz="600">
                          <a:latin typeface="Nexa Book"/>
                        </a:rPr>
                        <a:t>45%</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 1.16</a:t>
                      </a:r>
                    </a:p>
                  </a:txBody>
                  <a:tcPr marL="2858" marR="2858" marT="2858" marB="0" anchor="ctr">
                    <a:noFill/>
                  </a:tcPr>
                </a:tc>
                <a:tc>
                  <a:txBody>
                    <a:bodyPr/>
                    <a:lstStyle/>
                    <a:p>
                      <a:pPr algn="ctr">
                        <a:defRPr sz="600">
                          <a:latin typeface="Nexa Book"/>
                        </a:defRPr>
                      </a:pPr>
                      <a:r>
                        <a:rPr sz="600">
                          <a:latin typeface="Nexa Book"/>
                        </a:rPr>
                        <a:t> 0.60</a:t>
                      </a:r>
                    </a:p>
                  </a:txBody>
                  <a:tcPr marL="2858" marR="2858" marT="2858" marB="0" anchor="ctr">
                    <a:noFill/>
                  </a:tcPr>
                </a:tc>
                <a:tc>
                  <a:txBody>
                    <a:bodyPr/>
                    <a:lstStyle/>
                    <a:p>
                      <a:pPr algn="ctr">
                        <a:defRPr sz="600">
                          <a:latin typeface="Nexa Book"/>
                        </a:defRPr>
                      </a:pPr>
                      <a:r>
                        <a:rPr sz="600">
                          <a:latin typeface="Nexa Book"/>
                        </a:rPr>
                        <a:t>7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7</a:t>
                      </a:r>
                    </a:p>
                  </a:txBody>
                  <a:tcPr marL="2858" marR="2858" marT="2858" marB="0" anchor="ctr">
                    <a:noFill/>
                  </a:tcPr>
                </a:tc>
                <a:tc>
                  <a:txBody>
                    <a:bodyPr/>
                    <a:lstStyle/>
                    <a:p>
                      <a:pPr algn="ctr">
                        <a:defRPr sz="600">
                          <a:latin typeface="Nexa Book"/>
                        </a:defRPr>
                      </a:pPr>
                      <a:r>
                        <a:rPr sz="600">
                          <a:latin typeface="Nexa Book"/>
                        </a:rPr>
                        <a:t>-64%</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DUO COMFORT 3 BLADE DISPOSABLE NORMAL 4CT</a:t>
                      </a:r>
                    </a:p>
                  </a:txBody>
                  <a:tcPr marL="2858" marR="2858" marT="2858" marB="0" anchor="ctr">
                    <a:noFill/>
                  </a:tcPr>
                </a:tc>
                <a:tc>
                  <a:txBody>
                    <a:bodyPr/>
                    <a:lstStyle/>
                    <a:p>
                      <a:pPr algn="ctr">
                        <a:defRPr sz="600">
                          <a:latin typeface="Nexa Book"/>
                        </a:defRPr>
                      </a:pPr>
                      <a:r>
                        <a:rPr sz="600">
                          <a:latin typeface="Nexa Book"/>
                        </a:rPr>
                        <a:t>63%</a:t>
                      </a:r>
                    </a:p>
                  </a:txBody>
                  <a:tcPr marL="2858" marR="2858" marT="2858" marB="0" anchor="ctr">
                    <a:noFill/>
                  </a:tcPr>
                </a:tc>
                <a:tc>
                  <a:txBody>
                    <a:bodyPr/>
                    <a:lstStyle/>
                    <a:p>
                      <a:pPr algn="ctr">
                        <a:defRPr sz="600">
                          <a:latin typeface="Nexa Book"/>
                        </a:defRPr>
                      </a:pPr>
                      <a:r>
                        <a:rPr sz="600">
                          <a:latin typeface="Nexa Book"/>
                        </a:rPr>
                        <a:t>30%</a:t>
                      </a:r>
                    </a:p>
                  </a:txBody>
                  <a:tcPr marL="2858" marR="2858" marT="2858" marB="0" anchor="ctr">
                    <a:noFill/>
                  </a:tcPr>
                </a:tc>
                <a:tc>
                  <a:txBody>
                    <a:bodyPr/>
                    <a:lstStyle/>
                    <a:p>
                      <a:pPr algn="ctr">
                        <a:defRPr sz="600">
                          <a:latin typeface="Nexa Book"/>
                        </a:defRPr>
                      </a:pPr>
                      <a:r>
                        <a:rPr sz="600">
                          <a:latin typeface="Nexa Book"/>
                        </a:rPr>
                        <a:t> 5.86</a:t>
                      </a:r>
                    </a:p>
                  </a:txBody>
                  <a:tcPr marL="2858" marR="2858" marT="2858" marB="0" anchor="ctr">
                    <a:noFill/>
                  </a:tcPr>
                </a:tc>
                <a:tc>
                  <a:txBody>
                    <a:bodyPr/>
                    <a:lstStyle/>
                    <a:p>
                      <a:pPr algn="ctr">
                        <a:defRPr sz="600">
                          <a:latin typeface="Nexa Book"/>
                        </a:defRPr>
                      </a:pPr>
                      <a:r>
                        <a:rPr sz="600">
                          <a:latin typeface="Nexa Book"/>
                        </a:rPr>
                        <a:t> 2.15</a:t>
                      </a:r>
                    </a:p>
                  </a:txBody>
                  <a:tcPr marL="2858" marR="2858" marT="2858" marB="0" anchor="ctr">
                    <a:noFill/>
                  </a:tcPr>
                </a:tc>
                <a:tc>
                  <a:txBody>
                    <a:bodyPr/>
                    <a:lstStyle/>
                    <a:p>
                      <a:pPr algn="ctr">
                        <a:defRPr sz="600">
                          <a:latin typeface="Nexa Book"/>
                        </a:defRPr>
                      </a:pPr>
                      <a:r>
                        <a:rPr sz="600">
                          <a:latin typeface="Nexa Book"/>
                        </a:rPr>
                        <a:t>28</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19</a:t>
                      </a:r>
                    </a:p>
                  </a:txBody>
                  <a:tcPr marL="2858" marR="2858" marT="2858" marB="0" anchor="ctr">
                    <a:noFill/>
                  </a:tcPr>
                </a:tc>
                <a:tc>
                  <a:txBody>
                    <a:bodyPr/>
                    <a:lstStyle/>
                    <a:p>
                      <a:pPr algn="ctr">
                        <a:defRPr sz="600">
                          <a:latin typeface="Nexa Book"/>
                        </a:defRPr>
                      </a:pPr>
                      <a:r>
                        <a:rPr sz="600">
                          <a:latin typeface="Nexa Book"/>
                        </a:rPr>
                        <a:t>-39%</a:t>
                      </a:r>
                    </a:p>
                  </a:txBody>
                  <a:tcPr marL="2858" marR="2858" marT="2858" marB="0" anchor="ctr">
                    <a:noFill/>
                  </a:tcPr>
                </a:tc>
                <a:tc>
                  <a:txBody>
                    <a:bodyPr/>
                    <a:lstStyle/>
                    <a:p>
                      <a:pPr algn="ctr">
                        <a:defRPr sz="600">
                          <a:latin typeface="Nexa Book"/>
                        </a:defRPr>
                      </a:pPr>
                      <a:r>
                        <a:rPr sz="600">
                          <a:latin typeface="Nexa Book"/>
                        </a:rPr>
                        <a:t>62%</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HOLIDAY GIFT PACK REM BLADES DISPOSABLE 8CT</a:t>
                      </a:r>
                    </a:p>
                  </a:txBody>
                  <a:tcPr marL="2858" marR="2858" marT="2858" marB="0" anchor="ctr">
                    <a:noFill/>
                  </a:tcPr>
                </a:tc>
                <a:tc>
                  <a:txBody>
                    <a:bodyPr/>
                    <a:lstStyle/>
                    <a:p>
                      <a:pPr algn="ctr">
                        <a:defRPr sz="600">
                          <a:latin typeface="Nexa Book"/>
                        </a:defRPr>
                      </a:pPr>
                      <a:r>
                        <a:rPr sz="600">
                          <a:latin typeface="Nexa Book"/>
                        </a:rPr>
                        <a:t>24%</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1.00</a:t>
                      </a:r>
                    </a:p>
                  </a:txBody>
                  <a:tcPr marL="2858" marR="2858" marT="2858" marB="0" anchor="ctr">
                    <a:noFill/>
                  </a:tcPr>
                </a:tc>
                <a:tc>
                  <a:txBody>
                    <a:bodyPr/>
                    <a:lstStyle/>
                    <a:p>
                      <a:pPr algn="ctr">
                        <a:defRPr sz="600">
                          <a:latin typeface="Nexa Book"/>
                        </a:defRPr>
                      </a:pPr>
                      <a:r>
                        <a:rPr sz="600">
                          <a:latin typeface="Nexa Book"/>
                        </a:rPr>
                        <a:t> 8.33</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4 OUTLAST 4 BLADE DISPOSABLE NORMAL 3CT</a:t>
                      </a:r>
                    </a:p>
                  </a:txBody>
                  <a:tcPr marL="2858" marR="2858" marT="2858" marB="0" anchor="ctr">
                    <a:noFill/>
                  </a:tcPr>
                </a:tc>
                <a:tc>
                  <a:txBody>
                    <a:bodyPr/>
                    <a:lstStyle/>
                    <a:p>
                      <a:pPr algn="ctr">
                        <a:defRPr sz="600">
                          <a:latin typeface="Nexa Book"/>
                        </a:defRPr>
                      </a:pPr>
                      <a:r>
                        <a:rPr sz="600">
                          <a:latin typeface="Nexa Book"/>
                        </a:rPr>
                        <a:t>86%</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 6.94</a:t>
                      </a:r>
                    </a:p>
                  </a:txBody>
                  <a:tcPr marL="2858" marR="2858" marT="2858" marB="0" anchor="ctr">
                    <a:noFill/>
                  </a:tcPr>
                </a:tc>
                <a:tc>
                  <a:txBody>
                    <a:bodyPr/>
                    <a:lstStyle/>
                    <a:p>
                      <a:pPr algn="ctr">
                        <a:defRPr sz="600">
                          <a:latin typeface="Nexa Book"/>
                        </a:defRPr>
                      </a:pPr>
                      <a:r>
                        <a:rPr sz="600">
                          <a:latin typeface="Nexa Book"/>
                        </a:rPr>
                        <a:t> 1.00</a:t>
                      </a:r>
                    </a:p>
                  </a:txBody>
                  <a:tcPr marL="2858" marR="2858" marT="2858" marB="0" anchor="ctr">
                    <a:noFill/>
                  </a:tcPr>
                </a:tc>
                <a:tc>
                  <a:txBody>
                    <a:bodyPr/>
                    <a:lstStyle/>
                    <a:p>
                      <a:pPr algn="ctr">
                        <a:defRPr sz="600">
                          <a:latin typeface="Nexa Book"/>
                        </a:defRPr>
                      </a:pPr>
                      <a:r>
                        <a:rPr sz="600">
                          <a:latin typeface="Nexa Book"/>
                        </a:rPr>
                        <a:t>1</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ORIGINAL HOLIDAY GIFT PACK 4 BLADE DISPOSABLE 8CT</a:t>
                      </a:r>
                    </a:p>
                  </a:txBody>
                  <a:tcPr marL="2858" marR="2858" marT="2858" marB="0" anchor="ctr">
                    <a:noFill/>
                  </a:tcPr>
                </a:tc>
                <a:tc>
                  <a:txBody>
                    <a:bodyPr/>
                    <a:lstStyle/>
                    <a:p>
                      <a:pPr algn="ctr">
                        <a:defRPr sz="600">
                          <a:latin typeface="Nexa Book"/>
                        </a:defRPr>
                      </a:pPr>
                      <a:r>
                        <a:rPr sz="600">
                          <a:latin typeface="Nexa Book"/>
                        </a:rPr>
                        <a:t>1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0.00</a:t>
                      </a:r>
                    </a:p>
                  </a:txBody>
                  <a:tcPr marL="2858" marR="2858" marT="2858" marB="0" anchor="ctr">
                    <a:noFill/>
                  </a:tcPr>
                </a:tc>
                <a:tc>
                  <a:txBody>
                    <a:bodyPr/>
                    <a:lstStyle/>
                    <a:p>
                      <a:pPr algn="ctr">
                        <a:defRPr sz="600">
                          <a:latin typeface="Nexa Book"/>
                        </a:defRPr>
                      </a:pPr>
                      <a:r>
                        <a:rPr sz="600">
                          <a:latin typeface="Nexa Book"/>
                        </a:rPr>
                        <a:t> 8.50</a:t>
                      </a:r>
                    </a:p>
                  </a:txBody>
                  <a:tcPr marL="2858" marR="2858" marT="2858" marB="0" anchor="ctr">
                    <a:noFill/>
                  </a:tcPr>
                </a:tc>
                <a:tc>
                  <a:txBody>
                    <a:bodyPr/>
                    <a:lstStyle/>
                    <a:p>
                      <a:pPr algn="ctr">
                        <a:defRPr sz="600">
                          <a:latin typeface="Nexa Book"/>
                        </a:defRPr>
                      </a:pPr>
                      <a:r>
                        <a:rPr sz="600">
                          <a:latin typeface="Nexa Book"/>
                        </a:rPr>
                        <a:t>17</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HOLIDAY GIFT PACK 3 BLADE DISPOSABLE NORMAL 8CT</a:t>
                      </a:r>
                    </a:p>
                  </a:txBody>
                  <a:tcPr marL="2858" marR="2858" marT="2858" marB="0" anchor="ctr">
                    <a:noFill/>
                  </a:tcPr>
                </a:tc>
                <a:tc>
                  <a:txBody>
                    <a:bodyPr/>
                    <a:lstStyle/>
                    <a:p>
                      <a:pPr algn="ctr">
                        <a:defRPr sz="600">
                          <a:latin typeface="Nexa Book"/>
                        </a:defRPr>
                      </a:pPr>
                      <a:r>
                        <a:rPr sz="600">
                          <a:latin typeface="Nexa Book"/>
                        </a:rPr>
                        <a:t>30%</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0.00</a:t>
                      </a:r>
                    </a:p>
                  </a:txBody>
                  <a:tcPr marL="2858" marR="2858" marT="2858" marB="0" anchor="ctr">
                    <a:noFill/>
                  </a:tcPr>
                </a:tc>
                <a:tc>
                  <a:txBody>
                    <a:bodyPr/>
                    <a:lstStyle/>
                    <a:p>
                      <a:pPr algn="ctr">
                        <a:defRPr sz="600">
                          <a:latin typeface="Nexa Book"/>
                        </a:defRPr>
                      </a:pPr>
                      <a:r>
                        <a:rPr sz="600">
                          <a:latin typeface="Nexa Book"/>
                        </a:rPr>
                        <a:t> 7.00</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GREEN 3 BLADE DISPOSABLE SENSITIVE 8CT</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 11.01</a:t>
                      </a:r>
                    </a:p>
                  </a:txBody>
                  <a:tcPr marL="2858" marR="2858" marT="2858" marB="0" anchor="ctr">
                    <a:noFill/>
                  </a:tcPr>
                </a:tc>
                <a:tc>
                  <a:txBody>
                    <a:bodyPr/>
                    <a:lstStyle/>
                    <a:p>
                      <a:pPr algn="ctr">
                        <a:defRPr sz="600">
                          <a:latin typeface="Nexa Book"/>
                        </a:defRPr>
                      </a:pPr>
                      <a:r>
                        <a:rPr sz="600">
                          <a:latin typeface="Nexa Book"/>
                        </a:rPr>
                        <a:t> 9.88</a:t>
                      </a:r>
                    </a:p>
                  </a:txBody>
                  <a:tcPr marL="2858" marR="2858" marT="2858" marB="0" anchor="ctr">
                    <a:noFill/>
                  </a:tcPr>
                </a:tc>
                <a:tc>
                  <a:txBody>
                    <a:bodyPr/>
                    <a:lstStyle/>
                    <a:p>
                      <a:pPr algn="ctr">
                        <a:defRPr sz="600">
                          <a:latin typeface="Nexa Book"/>
                        </a:defRPr>
                      </a:pPr>
                      <a:r>
                        <a:rPr sz="600">
                          <a:latin typeface="Nexa Book"/>
                        </a:rPr>
                        <a:t>350'447</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65%</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BLACK 3 BLADE DISPOSABLE SENSITIVE 4CT</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 6.50</a:t>
                      </a:r>
                    </a:p>
                  </a:txBody>
                  <a:tcPr marL="2858" marR="2858" marT="2858" marB="0" anchor="ctr">
                    <a:noFill/>
                  </a:tcPr>
                </a:tc>
                <a:tc>
                  <a:txBody>
                    <a:bodyPr/>
                    <a:lstStyle/>
                    <a:p>
                      <a:pPr algn="ctr">
                        <a:defRPr sz="600">
                          <a:latin typeface="Nexa Book"/>
                        </a:defRPr>
                      </a:pPr>
                      <a:r>
                        <a:rPr sz="600">
                          <a:latin typeface="Nexa Book"/>
                        </a:rPr>
                        <a:t> 6.01</a:t>
                      </a:r>
                    </a:p>
                  </a:txBody>
                  <a:tcPr marL="2858" marR="2858" marT="2858" marB="0" anchor="ctr">
                    <a:noFill/>
                  </a:tcPr>
                </a:tc>
                <a:tc>
                  <a:txBody>
                    <a:bodyPr/>
                    <a:lstStyle/>
                    <a:p>
                      <a:pPr algn="ctr">
                        <a:defRPr sz="600">
                          <a:latin typeface="Nexa Book"/>
                        </a:defRPr>
                      </a:pPr>
                      <a:r>
                        <a:rPr sz="600">
                          <a:latin typeface="Nexa Book"/>
                        </a:rPr>
                        <a:t>287'346</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62%</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2 SENSITIVE 2 BLADE DISPOSABLE NORMAL 12CT</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 6.50</a:t>
                      </a:r>
                    </a:p>
                  </a:txBody>
                  <a:tcPr marL="2858" marR="2858" marT="2858" marB="0" anchor="ctr">
                    <a:noFill/>
                  </a:tcPr>
                </a:tc>
                <a:tc>
                  <a:txBody>
                    <a:bodyPr/>
                    <a:lstStyle/>
                    <a:p>
                      <a:pPr algn="ctr">
                        <a:defRPr sz="600">
                          <a:latin typeface="Nexa Book"/>
                        </a:defRPr>
                      </a:pPr>
                      <a:r>
                        <a:rPr sz="600">
                          <a:latin typeface="Nexa Book"/>
                        </a:rPr>
                        <a:t> 6.06</a:t>
                      </a:r>
                    </a:p>
                  </a:txBody>
                  <a:tcPr marL="2858" marR="2858" marT="2858" marB="0" anchor="ctr">
                    <a:noFill/>
                  </a:tcPr>
                </a:tc>
                <a:tc>
                  <a:txBody>
                    <a:bodyPr/>
                    <a:lstStyle/>
                    <a:p>
                      <a:pPr algn="ctr">
                        <a:defRPr sz="600">
                          <a:latin typeface="Nexa Book"/>
                        </a:defRPr>
                      </a:pPr>
                      <a:r>
                        <a:rPr sz="600">
                          <a:latin typeface="Nexa Book"/>
                        </a:rPr>
                        <a:t>283'39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77%</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BLACK GREEN 3 BLADE DISPOSABLE SENSITIVE 12CT</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 15.03</a:t>
                      </a:r>
                    </a:p>
                  </a:txBody>
                  <a:tcPr marL="2858" marR="2858" marT="2858" marB="0" anchor="ctr">
                    <a:noFill/>
                  </a:tcPr>
                </a:tc>
                <a:tc>
                  <a:txBody>
                    <a:bodyPr/>
                    <a:lstStyle/>
                    <a:p>
                      <a:pPr algn="ctr">
                        <a:defRPr sz="600">
                          <a:latin typeface="Nexa Book"/>
                        </a:defRPr>
                      </a:pPr>
                      <a:r>
                        <a:rPr sz="600">
                          <a:latin typeface="Nexa Book"/>
                        </a:rPr>
                        <a:t> 12.89</a:t>
                      </a:r>
                    </a:p>
                  </a:txBody>
                  <a:tcPr marL="2858" marR="2858" marT="2858" marB="0" anchor="ctr">
                    <a:noFill/>
                  </a:tcPr>
                </a:tc>
                <a:tc>
                  <a:txBody>
                    <a:bodyPr/>
                    <a:lstStyle/>
                    <a:p>
                      <a:pPr algn="ctr">
                        <a:defRPr sz="600">
                          <a:latin typeface="Nexa Book"/>
                        </a:defRPr>
                      </a:pPr>
                      <a:r>
                        <a:rPr sz="600">
                          <a:latin typeface="Nexa Book"/>
                        </a:rPr>
                        <a:t>161'245</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52%</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270110">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XTREME 3 SENSITIVE GREEN HOLIDAY GIFT PACK 3 BLADE DISPOSABLE SENSITIVE 8CT</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0.00</a:t>
                      </a:r>
                    </a:p>
                  </a:txBody>
                  <a:tcPr marL="2858" marR="2858" marT="2858" marB="0" anchor="ctr">
                    <a:noFill/>
                  </a:tcPr>
                </a:tc>
                <a:tc>
                  <a:txBody>
                    <a:bodyPr/>
                    <a:lstStyle/>
                    <a:p>
                      <a:pPr algn="ctr">
                        <a:defRPr sz="600">
                          <a:latin typeface="Nexa Book"/>
                        </a:defRPr>
                      </a:pPr>
                      <a:r>
                        <a:rPr sz="600">
                          <a:latin typeface="Nexa Book"/>
                        </a:rPr>
                        <a:t> 8.92</a:t>
                      </a:r>
                    </a:p>
                  </a:txBody>
                  <a:tcPr marL="2858" marR="2858" marT="2858" marB="0" anchor="ctr">
                    <a:noFill/>
                  </a:tcPr>
                </a:tc>
                <a:tc>
                  <a:txBody>
                    <a:bodyPr/>
                    <a:lstStyle/>
                    <a:p>
                      <a:pPr algn="ctr">
                        <a:defRPr sz="600">
                          <a:latin typeface="Nexa Book"/>
                        </a:defRPr>
                      </a:pPr>
                      <a:r>
                        <a:rPr sz="600">
                          <a:latin typeface="Nexa Book"/>
                        </a:rPr>
                        <a:t>1'128'687</a:t>
                      </a:r>
                    </a:p>
                  </a:txBody>
                  <a:tcPr marL="2858" marR="2858" marT="2858" marB="0" anchor="ctr">
                    <a:noFill/>
                  </a:tcPr>
                </a:tc>
                <a:tc>
                  <a:txBody>
                    <a:bodyPr/>
                    <a:lstStyle/>
                    <a:p>
                      <a:pPr algn="ctr">
                        <a:defRPr sz="600">
                          <a:latin typeface="Nexa Book"/>
                        </a:defRPr>
                      </a:pPr>
                      <a:r>
                        <a:rPr sz="600">
                          <a:latin typeface="Nexa Book"/>
                        </a:rPr>
                        <a:t>49%</a:t>
                      </a:r>
                    </a:p>
                  </a:txBody>
                  <a:tcPr marL="2858" marR="2858" marT="2858" marB="0" anchor="ctr">
                    <a:noFill/>
                  </a:tcPr>
                </a:tc>
                <a:tc>
                  <a:txBody>
                    <a:bodyPr/>
                    <a:lstStyle/>
                    <a:p>
                      <a:pPr algn="ctr">
                        <a:defRPr sz="600">
                          <a:latin typeface="Nexa Book"/>
                        </a:defRPr>
                      </a:pPr>
                      <a:r>
                        <a:rPr sz="600">
                          <a:latin typeface="Nexa Book"/>
                        </a:rPr>
                        <a:t>78%</a:t>
                      </a:r>
                    </a:p>
                  </a:txBody>
                  <a:tcPr marL="2858" marR="2858" marT="2858" marB="0" anchor="ctr">
                    <a:noFill/>
                  </a:tcPr>
                </a:tc>
                <a:tc>
                  <a:txBody>
                    <a:bodyPr/>
                    <a:lstStyle/>
                    <a:p>
                      <a:pPr algn="ctr">
                        <a:defRPr sz="600">
                          <a:latin typeface="Nexa Book"/>
                        </a:defRPr>
                      </a:pPr>
                      <a:r>
                        <a:rPr sz="600">
                          <a:latin typeface="Nexa Book"/>
                        </a:rPr>
                        <a:t>220533</a:t>
                      </a:r>
                    </a:p>
                  </a:txBody>
                  <a:tcPr marL="2858" marR="2858" marT="2858" marB="0" anchor="ctr">
                    <a:noFill/>
                  </a:tcPr>
                </a:tc>
                <a:tc>
                  <a:txBody>
                    <a:bodyPr/>
                    <a:lstStyle/>
                    <a:p>
                      <a:pPr algn="ctr">
                        <a:defRPr sz="600">
                          <a:latin typeface="Nexa Book"/>
                        </a:defRPr>
                      </a:pPr>
                      <a:r>
                        <a:rPr sz="600">
                          <a:latin typeface="Nexa Book"/>
                        </a:rPr>
                        <a:t>162%</a:t>
                      </a:r>
                    </a:p>
                  </a:txBody>
                  <a:tcPr marL="2858" marR="2858" marT="2858" marB="0" anchor="ctr">
                    <a:noFill/>
                  </a:tcPr>
                </a:tc>
                <a:tc>
                  <a:txBody>
                    <a:bodyPr/>
                    <a:lstStyle/>
                    <a:p>
                      <a:pPr algn="ctr">
                        <a:defRPr sz="600">
                          <a:latin typeface="Nexa Book"/>
                        </a:defRPr>
                      </a:pPr>
                      <a:r>
                        <a:rPr sz="600">
                          <a:latin typeface="Nexa Book"/>
                        </a:rPr>
                        <a:t>34%</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221445488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6C832E98-8678-A693-5643-768C58A832B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6C832E98-8678-A693-5643-768C58A832B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D64701B2-2460-45D5-865F-3FB4D1BD3AB0}" type="datetime1">
              <a:rPr lang="en-US"/>
              <a:pPr/>
              <a:t>8/18/2025</a:t>
            </a:fld>
            <a:endParaRPr lang="en-US"/>
          </a:p>
        </p:txBody>
      </p:sp>
      <p:sp>
        <p:nvSpPr>
          <p:cNvPr id="12" name="Footer Placeholder 11">
            <a:extLst>
              <a:ext uri="{FF2B5EF4-FFF2-40B4-BE49-F238E27FC236}">
                <a16:creationId xmlns:a16="http://schemas.microsoft.com/office/drawing/2014/main" id="{7BE67518-82EE-BCF7-A57F-695B8A635C15}"/>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9274C1D-4570-8715-ED07-3FEB8DF0862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Bottom 20 Promotions By Value and Incremental | Bj's And Sam's  |  Razor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Bottom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9884"/>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C8526F18-9B48-AA97-5928-5A2BA7578A65}"/>
              </a:ext>
            </a:extLst>
          </p:cNvPr>
          <p:cNvGraphicFramePr>
            <a:graphicFrameLocks noGrp="1"/>
          </p:cNvGraphicFramePr>
          <p:nvPr>
            <p:extLst>
              <p:ext uri="{D42A27DB-BD31-4B8C-83A1-F6EECF244321}">
                <p14:modId xmlns:p14="http://schemas.microsoft.com/office/powerpoint/2010/main" val="1625795460"/>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3241320">
                <a:tc>
                  <a:txBody>
                    <a:bodyPr/>
                    <a:lstStyle/>
                    <a:p>
                      <a:pPr algn="l">
                        <a:defRPr sz="600">
                          <a:latin typeface="Nexa Book"/>
                        </a:defRPr>
                      </a:pPr>
                      <a:r>
                        <a:rPr sz="600">
                          <a:latin typeface="Nexa Book"/>
                        </a:rPr>
                        <a:t>Cremo</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CREMO HERITAGE BLACK HOLIDAY GIFT PACK REM BLADES RAZOR 5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3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0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4.3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8.8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30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8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9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1354052927"/>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6C832E98-8678-A693-5643-768C58A832B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6C832E98-8678-A693-5643-768C58A832B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D64701B2-2460-45D5-865F-3FB4D1BD3AB0}" type="datetime1">
              <a:rPr lang="en-US"/>
              <a:pPr/>
              <a:t>8/18/2025</a:t>
            </a:fld>
            <a:endParaRPr lang="en-US"/>
          </a:p>
        </p:txBody>
      </p:sp>
      <p:sp>
        <p:nvSpPr>
          <p:cNvPr id="12" name="Footer Placeholder 11">
            <a:extLst>
              <a:ext uri="{FF2B5EF4-FFF2-40B4-BE49-F238E27FC236}">
                <a16:creationId xmlns:a16="http://schemas.microsoft.com/office/drawing/2014/main" id="{7BE67518-82EE-BCF7-A57F-695B8A635C15}"/>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9274C1D-4570-8715-ED07-3FEB8DF0862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9</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Bottom 20 Promotions By Value and Incremental | Walmart  |  Razor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Bottom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9884"/>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C8526F18-9B48-AA97-5928-5A2BA7578A65}"/>
              </a:ext>
            </a:extLst>
          </p:cNvPr>
          <p:cNvGraphicFramePr>
            <a:graphicFrameLocks noGrp="1"/>
          </p:cNvGraphicFramePr>
          <p:nvPr>
            <p:extLst>
              <p:ext uri="{D42A27DB-BD31-4B8C-83A1-F6EECF244321}">
                <p14:modId xmlns:p14="http://schemas.microsoft.com/office/powerpoint/2010/main" val="1625795460"/>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324132">
                <a:tc>
                  <a:txBody>
                    <a:bodyPr/>
                    <a:lstStyle/>
                    <a:p>
                      <a:pPr algn="l">
                        <a:defRPr sz="600">
                          <a:latin typeface="Nexa Book"/>
                        </a:defRPr>
                      </a:pPr>
                      <a:r>
                        <a:rPr sz="600">
                          <a:latin typeface="Nexa Book"/>
                        </a:rPr>
                        <a:t>Schick</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SCHICK HYDRO 3 SENSITIVE 3 BLADE RAZOR SENSITIVE 4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4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9.97</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5.8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6'974</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37%</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62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60%</a:t>
                      </a: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104603477"/>
                  </a:ext>
                </a:extLst>
              </a:tr>
              <a:tr h="324132">
                <a:tc>
                  <a:txBody>
                    <a:bodyPr/>
                    <a:lstStyle/>
                    <a:p>
                      <a:pPr algn="l">
                        <a:defRPr sz="600">
                          <a:latin typeface="Nexa Book"/>
                        </a:defRPr>
                      </a:pPr>
                      <a:r>
                        <a:rPr sz="600">
                          <a:latin typeface="Nexa Book"/>
                        </a:rPr>
                        <a:t>Cremo</a:t>
                      </a:r>
                    </a:p>
                  </a:txBody>
                  <a:tcPr marL="2858" marR="2858" marT="2858" marB="0" anchor="ctr">
                    <a:noFill/>
                  </a:tcPr>
                </a:tc>
                <a:tc>
                  <a:txBody>
                    <a:bodyPr/>
                    <a:lstStyle/>
                    <a:p>
                      <a:pPr algn="l">
                        <a:defRPr sz="600">
                          <a:latin typeface="Nexa Book"/>
                        </a:defRPr>
                      </a:pPr>
                      <a:r>
                        <a:rPr sz="600">
                          <a:latin typeface="Nexa Book"/>
                        </a:rPr>
                        <a:t>CREMO HOLIDAY GIFT PACK 5 BLADE RAZOR 2CT</a:t>
                      </a:r>
                    </a:p>
                  </a:txBody>
                  <a:tcPr marL="2858" marR="2858" marT="2858" marB="0" anchor="ctr">
                    <a:noFill/>
                  </a:tcPr>
                </a:tc>
                <a:tc>
                  <a:txBody>
                    <a:bodyPr/>
                    <a:lstStyle/>
                    <a:p>
                      <a:pPr algn="ctr">
                        <a:defRPr sz="600">
                          <a:latin typeface="Nexa Book"/>
                        </a:defRPr>
                      </a:pPr>
                      <a:r>
                        <a:rPr sz="600">
                          <a:latin typeface="Nexa Book"/>
                        </a:rPr>
                        <a:t>38%</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9.08</a:t>
                      </a:r>
                    </a:p>
                  </a:txBody>
                  <a:tcPr marL="2858" marR="2858" marT="2858" marB="0" anchor="ctr">
                    <a:noFill/>
                  </a:tcPr>
                </a:tc>
                <a:tc>
                  <a:txBody>
                    <a:bodyPr/>
                    <a:lstStyle/>
                    <a:p>
                      <a:pPr algn="ctr">
                        <a:defRPr sz="600">
                          <a:latin typeface="Nexa Book"/>
                        </a:defRPr>
                      </a:pPr>
                      <a:r>
                        <a:rPr sz="600">
                          <a:latin typeface="Nexa Book"/>
                        </a:rPr>
                        <a:t> 5.62</a:t>
                      </a:r>
                    </a:p>
                  </a:txBody>
                  <a:tcPr marL="2858" marR="2858" marT="2858" marB="0" anchor="ctr">
                    <a:noFill/>
                  </a:tcPr>
                </a:tc>
                <a:tc>
                  <a:txBody>
                    <a:bodyPr/>
                    <a:lstStyle/>
                    <a:p>
                      <a:pPr algn="ctr">
                        <a:defRPr sz="600">
                          <a:latin typeface="Nexa Book"/>
                        </a:defRPr>
                      </a:pPr>
                      <a:r>
                        <a:rPr sz="600">
                          <a:latin typeface="Nexa Book"/>
                        </a:rPr>
                        <a:t>219</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13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32413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DRY SKIN 5 BLADE RAZOR DRY 2CT</a:t>
                      </a:r>
                    </a:p>
                  </a:txBody>
                  <a:tcPr marL="2858" marR="2858" marT="2858" marB="0" anchor="ctr">
                    <a:noFill/>
                  </a:tcPr>
                </a:tc>
                <a:tc>
                  <a:txBody>
                    <a:bodyPr/>
                    <a:lstStyle/>
                    <a:p>
                      <a:pPr algn="ctr">
                        <a:defRPr sz="600">
                          <a:latin typeface="Nexa Book"/>
                        </a:defRPr>
                      </a:pPr>
                      <a:r>
                        <a:rPr sz="600">
                          <a:latin typeface="Nexa Book"/>
                        </a:rPr>
                        <a:t>50%</a:t>
                      </a:r>
                    </a:p>
                  </a:txBody>
                  <a:tcPr marL="2858" marR="2858" marT="2858" marB="0" anchor="ctr">
                    <a:noFill/>
                  </a:tcPr>
                </a:tc>
                <a:tc>
                  <a:txBody>
                    <a:bodyPr/>
                    <a:lstStyle/>
                    <a:p>
                      <a:pPr algn="ctr">
                        <a:defRPr sz="600">
                          <a:latin typeface="Nexa Book"/>
                        </a:defRPr>
                      </a:pPr>
                      <a:r>
                        <a:rPr sz="600">
                          <a:latin typeface="Nexa Book"/>
                        </a:rPr>
                        <a:t>34%</a:t>
                      </a:r>
                    </a:p>
                  </a:txBody>
                  <a:tcPr marL="2858" marR="2858" marT="2858" marB="0" anchor="ctr">
                    <a:noFill/>
                  </a:tcPr>
                </a:tc>
                <a:tc>
                  <a:txBody>
                    <a:bodyPr/>
                    <a:lstStyle/>
                    <a:p>
                      <a:pPr algn="ctr">
                        <a:defRPr sz="600">
                          <a:latin typeface="Nexa Book"/>
                        </a:defRPr>
                      </a:pPr>
                      <a:r>
                        <a:rPr sz="600">
                          <a:latin typeface="Nexa Book"/>
                        </a:rPr>
                        <a:t> 9.60</a:t>
                      </a:r>
                    </a:p>
                  </a:txBody>
                  <a:tcPr marL="2858" marR="2858" marT="2858" marB="0" anchor="ctr">
                    <a:noFill/>
                  </a:tcPr>
                </a:tc>
                <a:tc>
                  <a:txBody>
                    <a:bodyPr/>
                    <a:lstStyle/>
                    <a:p>
                      <a:pPr algn="ctr">
                        <a:defRPr sz="600">
                          <a:latin typeface="Nexa Book"/>
                        </a:defRPr>
                      </a:pPr>
                      <a:r>
                        <a:rPr sz="600">
                          <a:latin typeface="Nexa Book"/>
                        </a:rPr>
                        <a:t> 4.65</a:t>
                      </a:r>
                    </a:p>
                  </a:txBody>
                  <a:tcPr marL="2858" marR="2858" marT="2858" marB="0" anchor="ctr">
                    <a:noFill/>
                  </a:tcPr>
                </a:tc>
                <a:tc>
                  <a:txBody>
                    <a:bodyPr/>
                    <a:lstStyle/>
                    <a:p>
                      <a:pPr algn="ctr">
                        <a:defRPr sz="600">
                          <a:latin typeface="Nexa Book"/>
                        </a:defRPr>
                      </a:pPr>
                      <a:r>
                        <a:rPr sz="600">
                          <a:latin typeface="Nexa Book"/>
                        </a:rPr>
                        <a:t>344</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90</a:t>
                      </a:r>
                    </a:p>
                  </a:txBody>
                  <a:tcPr marL="2858" marR="2858" marT="2858" marB="0" anchor="ctr">
                    <a:noFill/>
                  </a:tcPr>
                </a:tc>
                <a:tc>
                  <a:txBody>
                    <a:bodyPr/>
                    <a:lstStyle/>
                    <a:p>
                      <a:pPr algn="ctr">
                        <a:defRPr sz="600">
                          <a:latin typeface="Nexa Book"/>
                        </a:defRPr>
                      </a:pPr>
                      <a:r>
                        <a:rPr sz="600">
                          <a:latin typeface="Nexa Book"/>
                        </a:rPr>
                        <a:t>-26%</a:t>
                      </a:r>
                    </a:p>
                  </a:txBody>
                  <a:tcPr marL="2858" marR="2858" marT="2858" marB="0" anchor="ctr">
                    <a:noFill/>
                  </a:tcPr>
                </a:tc>
                <a:tc>
                  <a:txBody>
                    <a:bodyPr/>
                    <a:lstStyle/>
                    <a:p>
                      <a:pPr algn="ctr">
                        <a:defRPr sz="600">
                          <a:latin typeface="Nexa Book"/>
                        </a:defRPr>
                      </a:pPr>
                      <a:r>
                        <a:rPr sz="600">
                          <a:latin typeface="Nexa Book"/>
                        </a:rPr>
                        <a:t>56%</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324132">
                <a:tc>
                  <a:txBody>
                    <a:bodyPr/>
                    <a:lstStyle/>
                    <a:p>
                      <a:pPr algn="l">
                        <a:defRPr sz="600">
                          <a:latin typeface="Nexa Book"/>
                        </a:defRPr>
                      </a:pPr>
                      <a:r>
                        <a:rPr sz="600">
                          <a:latin typeface="Nexa Book"/>
                        </a:rPr>
                        <a:t>Cremo</a:t>
                      </a:r>
                    </a:p>
                  </a:txBody>
                  <a:tcPr marL="2858" marR="2858" marT="2858" marB="0" anchor="ctr">
                    <a:noFill/>
                  </a:tcPr>
                </a:tc>
                <a:tc>
                  <a:txBody>
                    <a:bodyPr/>
                    <a:lstStyle/>
                    <a:p>
                      <a:pPr algn="l">
                        <a:defRPr sz="600">
                          <a:latin typeface="Nexa Book"/>
                        </a:defRPr>
                      </a:pPr>
                      <a:r>
                        <a:rPr sz="600">
                          <a:latin typeface="Nexa Book"/>
                        </a:rPr>
                        <a:t>CREMO HERITAGE RED HOLIDAY GIFT PACK REM BLADES RAZOR 2CT</a:t>
                      </a:r>
                    </a:p>
                  </a:txBody>
                  <a:tcPr marL="2858" marR="2858" marT="2858" marB="0" anchor="ctr">
                    <a:noFill/>
                  </a:tcPr>
                </a:tc>
                <a:tc>
                  <a:txBody>
                    <a:bodyPr/>
                    <a:lstStyle/>
                    <a:p>
                      <a:pPr algn="ctr">
                        <a:defRPr sz="600">
                          <a:latin typeface="Nexa Book"/>
                        </a:defRPr>
                      </a:pPr>
                      <a:r>
                        <a:rPr sz="600">
                          <a:latin typeface="Nexa Book"/>
                        </a:rPr>
                        <a:t>26%</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6.73</a:t>
                      </a:r>
                    </a:p>
                  </a:txBody>
                  <a:tcPr marL="2858" marR="2858" marT="2858" marB="0" anchor="ctr">
                    <a:noFill/>
                  </a:tcPr>
                </a:tc>
                <a:tc>
                  <a:txBody>
                    <a:bodyPr/>
                    <a:lstStyle/>
                    <a:p>
                      <a:pPr algn="ctr">
                        <a:defRPr sz="600">
                          <a:latin typeface="Nexa Book"/>
                        </a:defRPr>
                      </a:pPr>
                      <a:r>
                        <a:rPr sz="600">
                          <a:latin typeface="Nexa Book"/>
                        </a:rPr>
                        <a:t> 4.98</a:t>
                      </a:r>
                    </a:p>
                  </a:txBody>
                  <a:tcPr marL="2858" marR="2858" marT="2858" marB="0" anchor="ctr">
                    <a:noFill/>
                  </a:tcPr>
                </a:tc>
                <a:tc>
                  <a:txBody>
                    <a:bodyPr/>
                    <a:lstStyle/>
                    <a:p>
                      <a:pPr algn="ctr">
                        <a:defRPr sz="600">
                          <a:latin typeface="Nexa Book"/>
                        </a:defRPr>
                      </a:pPr>
                      <a:r>
                        <a:rPr sz="600">
                          <a:latin typeface="Nexa Book"/>
                        </a:rPr>
                        <a:t>259</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84</a:t>
                      </a:r>
                    </a:p>
                  </a:txBody>
                  <a:tcPr marL="2858" marR="2858" marT="2858" marB="0" anchor="ctr">
                    <a:noFill/>
                  </a:tcPr>
                </a:tc>
                <a:tc>
                  <a:txBody>
                    <a:bodyPr/>
                    <a:lstStyle/>
                    <a:p>
                      <a:pPr algn="ctr">
                        <a:defRPr sz="600">
                          <a:latin typeface="Nexa Book"/>
                        </a:defRPr>
                      </a:pPr>
                      <a:r>
                        <a:rPr sz="600">
                          <a:latin typeface="Nexa Book"/>
                        </a:rPr>
                        <a:t>-92%</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32413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HOLIDAY GIFT PACK REM BLADES RAZOR SENSITIVE 3CT</a:t>
                      </a:r>
                    </a:p>
                  </a:txBody>
                  <a:tcPr marL="2858" marR="2858" marT="2858" marB="0" anchor="ctr">
                    <a:noFill/>
                  </a:tcPr>
                </a:tc>
                <a:tc>
                  <a:txBody>
                    <a:bodyPr/>
                    <a:lstStyle/>
                    <a:p>
                      <a:pPr algn="ctr">
                        <a:defRPr sz="600">
                          <a:latin typeface="Nexa Book"/>
                        </a:defRPr>
                      </a:pPr>
                      <a:r>
                        <a:rPr sz="600">
                          <a:latin typeface="Nexa Book"/>
                        </a:rPr>
                        <a:t>29%</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7.64</a:t>
                      </a:r>
                    </a:p>
                  </a:txBody>
                  <a:tcPr marL="2858" marR="2858" marT="2858" marB="0" anchor="ctr">
                    <a:noFill/>
                  </a:tcPr>
                </a:tc>
                <a:tc>
                  <a:txBody>
                    <a:bodyPr/>
                    <a:lstStyle/>
                    <a:p>
                      <a:pPr algn="ctr">
                        <a:defRPr sz="600">
                          <a:latin typeface="Nexa Book"/>
                        </a:defRPr>
                      </a:pPr>
                      <a:r>
                        <a:rPr sz="600">
                          <a:latin typeface="Nexa Book"/>
                        </a:rPr>
                        <a:t> 5.45</a:t>
                      </a:r>
                    </a:p>
                  </a:txBody>
                  <a:tcPr marL="2858" marR="2858" marT="2858" marB="0" anchor="ctr">
                    <a:noFill/>
                  </a:tcPr>
                </a:tc>
                <a:tc>
                  <a:txBody>
                    <a:bodyPr/>
                    <a:lstStyle/>
                    <a:p>
                      <a:pPr algn="ctr">
                        <a:defRPr sz="600">
                          <a:latin typeface="Nexa Book"/>
                        </a:defRPr>
                      </a:pPr>
                      <a:r>
                        <a:rPr sz="600">
                          <a:latin typeface="Nexa Book"/>
                        </a:rPr>
                        <a:t>12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48</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19%</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324132">
                <a:tc>
                  <a:txBody>
                    <a:bodyPr/>
                    <a:lstStyle/>
                    <a:p>
                      <a:pPr algn="l">
                        <a:defRPr sz="600">
                          <a:latin typeface="Nexa Book"/>
                        </a:defRPr>
                      </a:pPr>
                      <a:r>
                        <a:rPr sz="600">
                          <a:latin typeface="Nexa Book"/>
                        </a:rPr>
                        <a:t>Equate</a:t>
                      </a:r>
                    </a:p>
                  </a:txBody>
                  <a:tcPr marL="2858" marR="2858" marT="2858" marB="0" anchor="ctr">
                    <a:noFill/>
                  </a:tcPr>
                </a:tc>
                <a:tc>
                  <a:txBody>
                    <a:bodyPr/>
                    <a:lstStyle/>
                    <a:p>
                      <a:pPr algn="l">
                        <a:defRPr sz="600">
                          <a:latin typeface="Nexa Book"/>
                        </a:defRPr>
                      </a:pPr>
                      <a:r>
                        <a:rPr sz="600">
                          <a:latin typeface="Nexa Book"/>
                        </a:rPr>
                        <a:t>EQUATE CALIBER 5 BLACK 5 BLADE RAZOR NORMAL 2CT</a:t>
                      </a:r>
                    </a:p>
                  </a:txBody>
                  <a:tcPr marL="2858" marR="2858" marT="2858" marB="0" anchor="ctr">
                    <a:noFill/>
                  </a:tcPr>
                </a:tc>
                <a:tc>
                  <a:txBody>
                    <a:bodyPr/>
                    <a:lstStyle/>
                    <a:p>
                      <a:pPr algn="ctr">
                        <a:defRPr sz="600">
                          <a:latin typeface="Nexa Book"/>
                        </a:defRPr>
                      </a:pPr>
                      <a:r>
                        <a:rPr sz="600">
                          <a:latin typeface="Nexa Book"/>
                        </a:rPr>
                        <a:t>60%</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 5.15</a:t>
                      </a:r>
                    </a:p>
                  </a:txBody>
                  <a:tcPr marL="2858" marR="2858" marT="2858" marB="0" anchor="ctr">
                    <a:noFill/>
                  </a:tcPr>
                </a:tc>
                <a:tc>
                  <a:txBody>
                    <a:bodyPr/>
                    <a:lstStyle/>
                    <a:p>
                      <a:pPr algn="ctr">
                        <a:defRPr sz="600">
                          <a:latin typeface="Nexa Book"/>
                        </a:defRPr>
                      </a:pPr>
                      <a:r>
                        <a:rPr sz="600">
                          <a:latin typeface="Nexa Book"/>
                        </a:rPr>
                        <a:t> 2.00</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32413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HOLIDAY GIFT PACK REM BLADES RAZOR SENSITIVE 2CT</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0.00</a:t>
                      </a:r>
                    </a:p>
                  </a:txBody>
                  <a:tcPr marL="2858" marR="2858" marT="2858" marB="0" anchor="ctr">
                    <a:noFill/>
                  </a:tcPr>
                </a:tc>
                <a:tc>
                  <a:txBody>
                    <a:bodyPr/>
                    <a:lstStyle/>
                    <a:p>
                      <a:pPr algn="ctr">
                        <a:defRPr sz="600">
                          <a:latin typeface="Nexa Book"/>
                        </a:defRPr>
                      </a:pPr>
                      <a:r>
                        <a:rPr sz="600">
                          <a:latin typeface="Nexa Book"/>
                        </a:rPr>
                        <a:t> 7.50</a:t>
                      </a:r>
                    </a:p>
                  </a:txBody>
                  <a:tcPr marL="2858" marR="2858" marT="2858" marB="0" anchor="ctr">
                    <a:noFill/>
                  </a:tcPr>
                </a:tc>
                <a:tc>
                  <a:txBody>
                    <a:bodyPr/>
                    <a:lstStyle/>
                    <a:p>
                      <a:pPr algn="ctr">
                        <a:defRPr sz="600">
                          <a:latin typeface="Nexa Book"/>
                        </a:defRPr>
                      </a:pPr>
                      <a:r>
                        <a:rPr sz="600">
                          <a:latin typeface="Nexa Book"/>
                        </a:rPr>
                        <a:t>15</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32413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5 BLADE RAZOR SENSITIVE 3CT</a:t>
                      </a:r>
                    </a:p>
                  </a:txBody>
                  <a:tcPr marL="2858" marR="2858" marT="2858" marB="0" anchor="ctr">
                    <a:noFill/>
                  </a:tcPr>
                </a:tc>
                <a:tc>
                  <a:txBody>
                    <a:bodyPr/>
                    <a:lstStyle/>
                    <a:p>
                      <a:pPr algn="ctr">
                        <a:defRPr sz="600">
                          <a:latin typeface="Nexa Book"/>
                        </a:defRPr>
                      </a:pPr>
                      <a:r>
                        <a:rPr sz="600">
                          <a:latin typeface="Nexa Book"/>
                        </a:rPr>
                        <a:t>57%</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7.00</a:t>
                      </a:r>
                    </a:p>
                  </a:txBody>
                  <a:tcPr marL="2858" marR="2858" marT="2858" marB="0" anchor="ctr">
                    <a:noFill/>
                  </a:tcPr>
                </a:tc>
                <a:tc>
                  <a:txBody>
                    <a:bodyPr/>
                    <a:lstStyle/>
                    <a:p>
                      <a:pPr algn="ctr">
                        <a:defRPr sz="600">
                          <a:latin typeface="Nexa Book"/>
                        </a:defRPr>
                      </a:pPr>
                      <a:r>
                        <a:rPr sz="600">
                          <a:latin typeface="Nexa Book"/>
                        </a:rPr>
                        <a:t> 3.00</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4</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32413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5 BLADE RAZOR SENSITIVE 3CT</a:t>
                      </a:r>
                    </a:p>
                  </a:txBody>
                  <a:tcPr marL="2858" marR="2858" marT="2858" marB="0" anchor="ctr">
                    <a:noFill/>
                  </a:tcPr>
                </a:tc>
                <a:tc>
                  <a:txBody>
                    <a:bodyPr/>
                    <a:lstStyle/>
                    <a:p>
                      <a:pPr algn="ctr">
                        <a:defRPr sz="600">
                          <a:latin typeface="Nexa Book"/>
                        </a:defRPr>
                      </a:pPr>
                      <a:r>
                        <a:rPr sz="600">
                          <a:latin typeface="Nexa Book"/>
                        </a:rPr>
                        <a:t>12%</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 9.96</a:t>
                      </a:r>
                    </a:p>
                  </a:txBody>
                  <a:tcPr marL="2858" marR="2858" marT="2858" marB="0" anchor="ctr">
                    <a:noFill/>
                  </a:tcPr>
                </a:tc>
                <a:tc>
                  <a:txBody>
                    <a:bodyPr/>
                    <a:lstStyle/>
                    <a:p>
                      <a:pPr algn="ctr">
                        <a:defRPr sz="600">
                          <a:latin typeface="Nexa Book"/>
                        </a:defRPr>
                      </a:pPr>
                      <a:r>
                        <a:rPr sz="600">
                          <a:latin typeface="Nexa Book"/>
                        </a:rPr>
                        <a:t> 8.72</a:t>
                      </a:r>
                    </a:p>
                  </a:txBody>
                  <a:tcPr marL="2858" marR="2858" marT="2858" marB="0" anchor="ctr">
                    <a:noFill/>
                  </a:tcPr>
                </a:tc>
                <a:tc>
                  <a:txBody>
                    <a:bodyPr/>
                    <a:lstStyle/>
                    <a:p>
                      <a:pPr algn="ctr">
                        <a:defRPr sz="600">
                          <a:latin typeface="Nexa Book"/>
                        </a:defRPr>
                      </a:pPr>
                      <a:r>
                        <a:rPr sz="600">
                          <a:latin typeface="Nexa Book"/>
                        </a:rPr>
                        <a:t>306'489</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53%</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32413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GRAY HOLIDAY GIFT PACK 5 BLADE RAZOR SENSITIVE 3CT</a:t>
                      </a:r>
                    </a:p>
                  </a:txBody>
                  <a:tcPr marL="2858" marR="2858" marT="2858" marB="0" anchor="ctr">
                    <a:noFill/>
                  </a:tcPr>
                </a:tc>
                <a:tc>
                  <a:txBody>
                    <a:bodyPr/>
                    <a:lstStyle/>
                    <a:p>
                      <a:pPr algn="ctr">
                        <a:defRPr sz="600">
                          <a:latin typeface="Nexa Book"/>
                        </a:defRPr>
                      </a:pPr>
                      <a:r>
                        <a:rPr sz="600">
                          <a:latin typeface="Nexa Book"/>
                        </a:rPr>
                        <a:t>14%</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r>
                        <a:rPr sz="600">
                          <a:latin typeface="Nexa Book"/>
                        </a:rPr>
                        <a:t> 10.00</a:t>
                      </a:r>
                    </a:p>
                  </a:txBody>
                  <a:tcPr marL="2858" marR="2858" marT="2858" marB="0" anchor="ctr">
                    <a:noFill/>
                  </a:tcPr>
                </a:tc>
                <a:tc>
                  <a:txBody>
                    <a:bodyPr/>
                    <a:lstStyle/>
                    <a:p>
                      <a:pPr algn="ctr">
                        <a:defRPr sz="600">
                          <a:latin typeface="Nexa Book"/>
                        </a:defRPr>
                      </a:pPr>
                      <a:r>
                        <a:rPr sz="600">
                          <a:latin typeface="Nexa Book"/>
                        </a:rPr>
                        <a:t> 8.58</a:t>
                      </a:r>
                    </a:p>
                  </a:txBody>
                  <a:tcPr marL="2858" marR="2858" marT="2858" marB="0" anchor="ctr">
                    <a:noFill/>
                  </a:tcPr>
                </a:tc>
                <a:tc>
                  <a:txBody>
                    <a:bodyPr/>
                    <a:lstStyle/>
                    <a:p>
                      <a:pPr algn="ctr">
                        <a:defRPr sz="600">
                          <a:latin typeface="Nexa Book"/>
                        </a:defRPr>
                      </a:pPr>
                      <a:r>
                        <a:rPr sz="600">
                          <a:latin typeface="Nexa Book"/>
                        </a:rPr>
                        <a:t>1'356'208</a:t>
                      </a:r>
                    </a:p>
                  </a:txBody>
                  <a:tcPr marL="2858" marR="2858" marT="2858" marB="0" anchor="ctr">
                    <a:noFill/>
                  </a:tcPr>
                </a:tc>
                <a:tc>
                  <a:txBody>
                    <a:bodyPr/>
                    <a:lstStyle/>
                    <a:p>
                      <a:pPr algn="ctr">
                        <a:defRPr sz="600">
                          <a:latin typeface="Nexa Book"/>
                        </a:defRPr>
                      </a:pPr>
                      <a:r>
                        <a:rPr sz="600">
                          <a:latin typeface="Nexa Book"/>
                        </a:rPr>
                        <a:t>85%</a:t>
                      </a:r>
                    </a:p>
                  </a:txBody>
                  <a:tcPr marL="2858" marR="2858" marT="2858" marB="0" anchor="ctr">
                    <a:noFill/>
                  </a:tcPr>
                </a:tc>
                <a:tc>
                  <a:txBody>
                    <a:bodyPr/>
                    <a:lstStyle/>
                    <a:p>
                      <a:pPr algn="ctr">
                        <a:defRPr sz="600">
                          <a:latin typeface="Nexa Book"/>
                        </a:defRPr>
                      </a:pPr>
                      <a:r>
                        <a:rPr sz="600">
                          <a:latin typeface="Nexa Book"/>
                        </a:rPr>
                        <a:t>131%</a:t>
                      </a:r>
                    </a:p>
                  </a:txBody>
                  <a:tcPr marL="2858" marR="2858" marT="2858" marB="0" anchor="ctr">
                    <a:noFill/>
                  </a:tcPr>
                </a:tc>
                <a:tc>
                  <a:txBody>
                    <a:bodyPr/>
                    <a:lstStyle/>
                    <a:p>
                      <a:pPr algn="ctr">
                        <a:defRPr sz="600">
                          <a:latin typeface="Nexa Book"/>
                        </a:defRPr>
                      </a:pPr>
                      <a:r>
                        <a:rPr sz="600">
                          <a:latin typeface="Nexa Book"/>
                        </a:rPr>
                        <a:t>391970</a:t>
                      </a:r>
                    </a:p>
                  </a:txBody>
                  <a:tcPr marL="2858" marR="2858" marT="2858" marB="0" anchor="ctr">
                    <a:noFill/>
                  </a:tcPr>
                </a:tc>
                <a:tc>
                  <a:txBody>
                    <a:bodyPr/>
                    <a:lstStyle/>
                    <a:p>
                      <a:pPr algn="ctr">
                        <a:defRPr sz="600">
                          <a:latin typeface="Nexa Book"/>
                        </a:defRPr>
                      </a:pPr>
                      <a:r>
                        <a:rPr sz="600">
                          <a:latin typeface="Nexa Book"/>
                        </a:rPr>
                        <a:t>175%</a:t>
                      </a:r>
                    </a:p>
                  </a:txBody>
                  <a:tcPr marL="2858" marR="2858" marT="2858" marB="0" anchor="ctr">
                    <a:noFill/>
                  </a:tcPr>
                </a:tc>
                <a:tc>
                  <a:txBody>
                    <a:bodyPr/>
                    <a:lstStyle/>
                    <a:p>
                      <a:pPr algn="ctr">
                        <a:defRPr sz="600">
                          <a:latin typeface="Nexa Book"/>
                        </a:defRPr>
                      </a:pPr>
                      <a:r>
                        <a:rPr sz="600">
                          <a:latin typeface="Nexa Book"/>
                        </a:rPr>
                        <a:t>25%</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36559453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8/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Walmart | Disposables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7"/>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809941">
                <a:tc>
                  <a:txBody>
                    <a:bodyPr/>
                    <a:lstStyle/>
                    <a:p>
                      <a:pPr algn="ctr">
                        <a:defRPr sz="800">
                          <a:latin typeface="Nexa Bold"/>
                        </a:defRPr>
                      </a:pPr>
                      <a:r>
                        <a:t>Schick</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38,31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809941">
                <a:tc>
                  <a:txBody>
                    <a:bodyPr/>
                    <a:lstStyle/>
                    <a:p>
                      <a:pPr algn="ctr">
                        <a:defRPr sz="800">
                          <a:latin typeface="Nexa Bold"/>
                        </a:defRPr>
                      </a:pPr>
                      <a:r>
                        <a:t>Bic</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16,10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809941">
                <a:tc>
                  <a:txBody>
                    <a:bodyPr/>
                    <a:lstStyle/>
                    <a:p>
                      <a:pPr algn="ctr">
                        <a:defRPr sz="800">
                          <a:latin typeface="Nexa Bold"/>
                        </a:defRPr>
                      </a:pPr>
                      <a:r>
                        <a:t>Equa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1,17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809941">
                <a:tc>
                  <a:txBody>
                    <a:bodyPr/>
                    <a:lstStyle/>
                    <a:p>
                      <a:pPr algn="ctr">
                        <a:defRPr sz="800">
                          <a:latin typeface="Nexa Bold"/>
                        </a:defRPr>
                      </a:pPr>
                      <a:r>
                        <a:t>Gille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5,49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141572350"/>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6C832E98-8678-A693-5643-768C58A832B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6C832E98-8678-A693-5643-768C58A832B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D64701B2-2460-45D5-865F-3FB4D1BD3AB0}" type="datetime1">
              <a:rPr lang="en-US"/>
              <a:pPr/>
              <a:t>8/18/2025</a:t>
            </a:fld>
            <a:endParaRPr lang="en-US"/>
          </a:p>
        </p:txBody>
      </p:sp>
      <p:sp>
        <p:nvSpPr>
          <p:cNvPr id="12" name="Footer Placeholder 11">
            <a:extLst>
              <a:ext uri="{FF2B5EF4-FFF2-40B4-BE49-F238E27FC236}">
                <a16:creationId xmlns:a16="http://schemas.microsoft.com/office/drawing/2014/main" id="{7BE67518-82EE-BCF7-A57F-695B8A635C15}"/>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9274C1D-4570-8715-ED07-3FEB8DF0862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0</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pPr>
              <a:defRPr sz="1200">
                <a:latin typeface="Nexa Bold (Headings)"/>
              </a:defRPr>
            </a:pPr>
            <a:r>
              <a:t>Bottom 20 Promotions By Value and Incremental | Walmart  |  Refill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Bottom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9884"/>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C8526F18-9B48-AA97-5928-5A2BA7578A65}"/>
              </a:ext>
            </a:extLst>
          </p:cNvPr>
          <p:cNvGraphicFramePr>
            <a:graphicFrameLocks noGrp="1"/>
          </p:cNvGraphicFramePr>
          <p:nvPr>
            <p:extLst>
              <p:ext uri="{D42A27DB-BD31-4B8C-83A1-F6EECF244321}">
                <p14:modId xmlns:p14="http://schemas.microsoft.com/office/powerpoint/2010/main" val="1625795460"/>
              </p:ext>
            </p:extLst>
          </p:nvPr>
        </p:nvGraphicFramePr>
        <p:xfrm>
          <a:off x="503238" y="1140180"/>
          <a:ext cx="8125623" cy="3596868"/>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Shelf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Price/Unit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Promo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Incr Value ($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rPr sz="700">
                          <a:latin typeface="Nexa Bold"/>
                        </a:rPr>
                        <a:t>Gros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231522">
                <a:tc>
                  <a:txBody>
                    <a:bodyPr/>
                    <a:lstStyle/>
                    <a:p>
                      <a:pPr algn="l">
                        <a:defRPr sz="600">
                          <a:latin typeface="Nexa Book"/>
                        </a:defRPr>
                      </a:pPr>
                      <a:r>
                        <a:rPr sz="600">
                          <a:latin typeface="Nexa Book"/>
                        </a:rPr>
                        <a:t>Schick</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a:defRPr sz="600">
                          <a:latin typeface="Nexa Book"/>
                        </a:defRPr>
                      </a:pPr>
                      <a:r>
                        <a:rPr sz="600">
                          <a:latin typeface="Nexa Book"/>
                        </a:rPr>
                        <a:t>HYDRO 5 SENSITIVE 5 BLADE REFILL SENSITIVE 6CT</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7%</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4.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 13.84</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1'432'558</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5%</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2%</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7781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6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a:defRPr sz="600">
                          <a:latin typeface="Nexa Book"/>
                        </a:defRPr>
                      </a:pPr>
                      <a:r>
                        <a:rPr sz="600">
                          <a:latin typeface="Nexa Book"/>
                        </a:rPr>
                        <a:t>69%</a:t>
                      </a: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2365975895"/>
                  </a:ext>
                </a:extLst>
              </a:tr>
              <a:tr h="231522">
                <a:tc>
                  <a:txBody>
                    <a:bodyPr/>
                    <a:lstStyle/>
                    <a:p>
                      <a:pPr algn="l">
                        <a:defRPr sz="600">
                          <a:latin typeface="Nexa Book"/>
                        </a:defRPr>
                      </a:pPr>
                      <a:r>
                        <a:rPr sz="600">
                          <a:latin typeface="Nexa Book"/>
                        </a:rPr>
                        <a:t>Equate</a:t>
                      </a:r>
                    </a:p>
                  </a:txBody>
                  <a:tcPr marL="2858" marR="2858" marT="2858" marB="0" anchor="ctr">
                    <a:noFill/>
                  </a:tcPr>
                </a:tc>
                <a:tc>
                  <a:txBody>
                    <a:bodyPr/>
                    <a:lstStyle/>
                    <a:p>
                      <a:pPr algn="l">
                        <a:defRPr sz="600">
                          <a:latin typeface="Nexa Book"/>
                        </a:defRPr>
                      </a:pPr>
                      <a:r>
                        <a:rPr sz="600">
                          <a:latin typeface="Nexa Book"/>
                        </a:rPr>
                        <a:t>EQUATE EASY FIT 5 5 BLADE REFILL NORMAL 8CT</a:t>
                      </a:r>
                    </a:p>
                  </a:txBody>
                  <a:tcPr marL="2858" marR="2858" marT="2858" marB="0" anchor="ctr">
                    <a:noFill/>
                  </a:tcPr>
                </a:tc>
                <a:tc>
                  <a:txBody>
                    <a:bodyPr/>
                    <a:lstStyle/>
                    <a:p>
                      <a:pPr algn="ctr">
                        <a:defRPr sz="600">
                          <a:latin typeface="Nexa Book"/>
                        </a:defRPr>
                      </a:pPr>
                      <a:r>
                        <a:rPr sz="600">
                          <a:latin typeface="Nexa Book"/>
                        </a:rPr>
                        <a:t>39%</a:t>
                      </a:r>
                    </a:p>
                  </a:txBody>
                  <a:tcPr marL="2858" marR="2858" marT="2858" marB="0" anchor="ctr">
                    <a:noFill/>
                  </a:tcPr>
                </a:tc>
                <a:tc>
                  <a:txBody>
                    <a:bodyPr/>
                    <a:lstStyle/>
                    <a:p>
                      <a:pPr algn="ctr">
                        <a:defRPr sz="600">
                          <a:latin typeface="Nexa Book"/>
                        </a:defRPr>
                      </a:pPr>
                      <a:r>
                        <a:rPr sz="600">
                          <a:latin typeface="Nexa Book"/>
                        </a:rPr>
                        <a:t>10%</a:t>
                      </a:r>
                    </a:p>
                  </a:txBody>
                  <a:tcPr marL="2858" marR="2858" marT="2858" marB="0" anchor="ctr">
                    <a:noFill/>
                  </a:tcPr>
                </a:tc>
                <a:tc>
                  <a:txBody>
                    <a:bodyPr/>
                    <a:lstStyle/>
                    <a:p>
                      <a:pPr algn="ctr">
                        <a:defRPr sz="600">
                          <a:latin typeface="Nexa Book"/>
                        </a:defRPr>
                      </a:pPr>
                      <a:r>
                        <a:rPr sz="600">
                          <a:latin typeface="Nexa Book"/>
                        </a:rPr>
                        <a:t> 15.95</a:t>
                      </a:r>
                    </a:p>
                  </a:txBody>
                  <a:tcPr marL="2858" marR="2858" marT="2858" marB="0" anchor="ctr">
                    <a:noFill/>
                  </a:tcPr>
                </a:tc>
                <a:tc>
                  <a:txBody>
                    <a:bodyPr/>
                    <a:lstStyle/>
                    <a:p>
                      <a:pPr algn="ctr">
                        <a:defRPr sz="600">
                          <a:latin typeface="Nexa Book"/>
                        </a:defRPr>
                      </a:pPr>
                      <a:r>
                        <a:rPr sz="600">
                          <a:latin typeface="Nexa Book"/>
                        </a:rPr>
                        <a:t> 9.77</a:t>
                      </a:r>
                    </a:p>
                  </a:txBody>
                  <a:tcPr marL="2858" marR="2858" marT="2858" marB="0" anchor="ctr">
                    <a:noFill/>
                  </a:tcPr>
                </a:tc>
                <a:tc>
                  <a:txBody>
                    <a:bodyPr/>
                    <a:lstStyle/>
                    <a:p>
                      <a:pPr algn="ctr">
                        <a:defRPr sz="600">
                          <a:latin typeface="Nexa Book"/>
                        </a:defRPr>
                      </a:pPr>
                      <a:r>
                        <a:rPr sz="600">
                          <a:latin typeface="Nexa Book"/>
                        </a:rPr>
                        <a:t>150'016</a:t>
                      </a:r>
                    </a:p>
                  </a:txBody>
                  <a:tcPr marL="2858" marR="2858" marT="2858" marB="0" anchor="ctr">
                    <a:noFill/>
                  </a:tcPr>
                </a:tc>
                <a:tc>
                  <a:txBody>
                    <a:bodyPr/>
                    <a:lstStyle/>
                    <a:p>
                      <a:pPr algn="ctr">
                        <a:defRPr sz="600">
                          <a:latin typeface="Nexa Book"/>
                        </a:defRPr>
                      </a:pPr>
                      <a:r>
                        <a:rPr sz="600">
                          <a:latin typeface="Nexa Book"/>
                        </a:rPr>
                        <a:t>-16%</a:t>
                      </a:r>
                    </a:p>
                  </a:txBody>
                  <a:tcPr marL="2858" marR="2858" marT="2858" marB="0" anchor="ctr">
                    <a:noFill/>
                  </a:tcPr>
                </a:tc>
                <a:tc>
                  <a:txBody>
                    <a:bodyPr/>
                    <a:lstStyle/>
                    <a:p>
                      <a:pPr algn="ctr">
                        <a:defRPr sz="600">
                          <a:latin typeface="Nexa Book"/>
                        </a:defRPr>
                      </a:pPr>
                      <a:r>
                        <a:rPr sz="600">
                          <a:latin typeface="Nexa Book"/>
                        </a:rPr>
                        <a:t>34%</a:t>
                      </a:r>
                    </a:p>
                  </a:txBody>
                  <a:tcPr marL="2858" marR="2858" marT="2858" marB="0" anchor="ctr">
                    <a:noFill/>
                  </a:tcPr>
                </a:tc>
                <a:tc>
                  <a:txBody>
                    <a:bodyPr/>
                    <a:lstStyle/>
                    <a:p>
                      <a:pPr algn="ctr">
                        <a:defRPr sz="600">
                          <a:latin typeface="Nexa Book"/>
                        </a:defRPr>
                      </a:pPr>
                      <a:r>
                        <a:rPr sz="600">
                          <a:latin typeface="Nexa Book"/>
                        </a:rPr>
                        <a:t>-42801</a:t>
                      </a:r>
                    </a:p>
                  </a:txBody>
                  <a:tcPr marL="2858" marR="2858" marT="2858" marB="0" anchor="ctr">
                    <a:noFill/>
                  </a:tcPr>
                </a:tc>
                <a:tc>
                  <a:txBody>
                    <a:bodyPr/>
                    <a:lstStyle/>
                    <a:p>
                      <a:pPr algn="ctr">
                        <a:defRPr sz="600">
                          <a:latin typeface="Nexa Book"/>
                        </a:defRPr>
                      </a:pPr>
                      <a:r>
                        <a:rPr sz="600">
                          <a:latin typeface="Nexa Book"/>
                        </a:rPr>
                        <a:t>-45%</a:t>
                      </a:r>
                    </a:p>
                  </a:txBody>
                  <a:tcPr marL="2858" marR="2858" marT="2858" marB="0" anchor="ctr">
                    <a:noFill/>
                  </a:tcPr>
                </a:tc>
                <a:tc>
                  <a:txBody>
                    <a:bodyPr/>
                    <a:lstStyle/>
                    <a:p>
                      <a:pPr algn="ctr">
                        <a:defRPr sz="600">
                          <a:latin typeface="Nexa Book"/>
                        </a:defRPr>
                      </a:pPr>
                      <a:r>
                        <a:rPr sz="600">
                          <a:latin typeface="Nexa Book"/>
                        </a:rPr>
                        <a:t>71%</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23152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HYDRO 3 SENSITIVE 3 BLADE REFILL SENSITIVE 5CT</a:t>
                      </a:r>
                    </a:p>
                  </a:txBody>
                  <a:tcPr marL="2858" marR="2858" marT="2858" marB="0" anchor="ctr">
                    <a:noFill/>
                  </a:tcPr>
                </a:tc>
                <a:tc>
                  <a:txBody>
                    <a:bodyPr/>
                    <a:lstStyle/>
                    <a:p>
                      <a:pPr algn="ctr">
                        <a:defRPr sz="600">
                          <a:latin typeface="Nexa Book"/>
                        </a:defRPr>
                      </a:pPr>
                      <a:r>
                        <a:rPr sz="600">
                          <a:latin typeface="Nexa Book"/>
                        </a:rPr>
                        <a:t>58%</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 9.92</a:t>
                      </a:r>
                    </a:p>
                  </a:txBody>
                  <a:tcPr marL="2858" marR="2858" marT="2858" marB="0" anchor="ctr">
                    <a:noFill/>
                  </a:tcPr>
                </a:tc>
                <a:tc>
                  <a:txBody>
                    <a:bodyPr/>
                    <a:lstStyle/>
                    <a:p>
                      <a:pPr algn="ctr">
                        <a:defRPr sz="600">
                          <a:latin typeface="Nexa Book"/>
                        </a:defRPr>
                      </a:pPr>
                      <a:r>
                        <a:rPr sz="600">
                          <a:latin typeface="Nexa Book"/>
                        </a:rPr>
                        <a:t> 4.17</a:t>
                      </a:r>
                    </a:p>
                  </a:txBody>
                  <a:tcPr marL="2858" marR="2858" marT="2858" marB="0" anchor="ctr">
                    <a:noFill/>
                  </a:tcPr>
                </a:tc>
                <a:tc>
                  <a:txBody>
                    <a:bodyPr/>
                    <a:lstStyle/>
                    <a:p>
                      <a:pPr algn="ctr">
                        <a:defRPr sz="600">
                          <a:latin typeface="Nexa Book"/>
                        </a:defRPr>
                      </a:pPr>
                      <a:r>
                        <a:rPr sz="600">
                          <a:latin typeface="Nexa Book"/>
                        </a:rPr>
                        <a:t>12'839</a:t>
                      </a:r>
                    </a:p>
                  </a:txBody>
                  <a:tcPr marL="2858" marR="2858" marT="2858" marB="0" anchor="ctr">
                    <a:noFill/>
                  </a:tcPr>
                </a:tc>
                <a:tc>
                  <a:txBody>
                    <a:bodyPr/>
                    <a:lstStyle/>
                    <a:p>
                      <a:pPr algn="ctr">
                        <a:defRPr sz="600">
                          <a:latin typeface="Nexa Book"/>
                        </a:defRPr>
                      </a:pPr>
                      <a:r>
                        <a:rPr sz="600">
                          <a:latin typeface="Nexa Book"/>
                        </a:rPr>
                        <a:t>-21%</a:t>
                      </a:r>
                    </a:p>
                  </a:txBody>
                  <a:tcPr marL="2858" marR="2858" marT="2858" marB="0" anchor="ctr">
                    <a:noFill/>
                  </a:tcPr>
                </a:tc>
                <a:tc>
                  <a:txBody>
                    <a:bodyPr/>
                    <a:lstStyle/>
                    <a:p>
                      <a:pPr algn="ctr">
                        <a:defRPr sz="600">
                          <a:latin typeface="Nexa Book"/>
                        </a:defRPr>
                      </a:pPr>
                      <a:r>
                        <a:rPr sz="600">
                          <a:latin typeface="Nexa Book"/>
                        </a:rPr>
                        <a:t>74%</a:t>
                      </a:r>
                    </a:p>
                  </a:txBody>
                  <a:tcPr marL="2858" marR="2858" marT="2858" marB="0" anchor="ctr">
                    <a:noFill/>
                  </a:tcPr>
                </a:tc>
                <a:tc>
                  <a:txBody>
                    <a:bodyPr/>
                    <a:lstStyle/>
                    <a:p>
                      <a:pPr algn="ctr">
                        <a:defRPr sz="600">
                          <a:latin typeface="Nexa Book"/>
                        </a:defRPr>
                      </a:pPr>
                      <a:r>
                        <a:rPr sz="600">
                          <a:latin typeface="Nexa Book"/>
                        </a:rPr>
                        <a:t>-4632</a:t>
                      </a:r>
                    </a:p>
                  </a:txBody>
                  <a:tcPr marL="2858" marR="2858" marT="2858" marB="0" anchor="ctr">
                    <a:noFill/>
                  </a:tcPr>
                </a:tc>
                <a:tc>
                  <a:txBody>
                    <a:bodyPr/>
                    <a:lstStyle/>
                    <a:p>
                      <a:pPr algn="ctr">
                        <a:defRPr sz="600">
                          <a:latin typeface="Nexa Book"/>
                        </a:defRPr>
                      </a:pPr>
                      <a:r>
                        <a:rPr sz="600">
                          <a:latin typeface="Nexa Book"/>
                        </a:rPr>
                        <a:t>-26%</a:t>
                      </a:r>
                    </a:p>
                  </a:txBody>
                  <a:tcPr marL="2858" marR="2858" marT="2858" marB="0" anchor="ctr">
                    <a:noFill/>
                  </a:tcPr>
                </a:tc>
                <a:tc>
                  <a:txBody>
                    <a:bodyPr/>
                    <a:lstStyle/>
                    <a:p>
                      <a:pPr algn="ctr">
                        <a:defRPr sz="600">
                          <a:latin typeface="Nexa Book"/>
                        </a:defRPr>
                      </a:pPr>
                      <a:r>
                        <a:rPr sz="600">
                          <a:latin typeface="Nexa Book"/>
                        </a:rPr>
                        <a:t>73%</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23152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5 BLADE REFILL SENSITIVE 12CT</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29%</a:t>
                      </a:r>
                    </a:p>
                  </a:txBody>
                  <a:tcPr marL="2858" marR="2858" marT="2858" marB="0" anchor="ctr">
                    <a:noFill/>
                  </a:tcPr>
                </a:tc>
                <a:tc>
                  <a:txBody>
                    <a:bodyPr/>
                    <a:lstStyle/>
                    <a:p>
                      <a:pPr algn="ctr">
                        <a:defRPr sz="600">
                          <a:latin typeface="Nexa Book"/>
                        </a:defRPr>
                      </a:pPr>
                      <a:r>
                        <a:rPr sz="600">
                          <a:latin typeface="Nexa Book"/>
                        </a:rPr>
                        <a:t> 26.97</a:t>
                      </a:r>
                    </a:p>
                  </a:txBody>
                  <a:tcPr marL="2858" marR="2858" marT="2858" marB="0" anchor="ctr">
                    <a:noFill/>
                  </a:tcPr>
                </a:tc>
                <a:tc>
                  <a:txBody>
                    <a:bodyPr/>
                    <a:lstStyle/>
                    <a:p>
                      <a:pPr algn="ctr">
                        <a:defRPr sz="600">
                          <a:latin typeface="Nexa Book"/>
                        </a:defRPr>
                      </a:pPr>
                      <a:r>
                        <a:rPr sz="600">
                          <a:latin typeface="Nexa Book"/>
                        </a:rPr>
                        <a:t> 24.15</a:t>
                      </a:r>
                    </a:p>
                  </a:txBody>
                  <a:tcPr marL="2858" marR="2858" marT="2858" marB="0" anchor="ctr">
                    <a:noFill/>
                  </a:tcPr>
                </a:tc>
                <a:tc>
                  <a:txBody>
                    <a:bodyPr/>
                    <a:lstStyle/>
                    <a:p>
                      <a:pPr algn="ctr">
                        <a:defRPr sz="600">
                          <a:latin typeface="Nexa Book"/>
                        </a:defRPr>
                      </a:pPr>
                      <a:r>
                        <a:rPr sz="600">
                          <a:latin typeface="Nexa Book"/>
                        </a:rPr>
                        <a:t>914'106</a:t>
                      </a:r>
                    </a:p>
                  </a:txBody>
                  <a:tcPr marL="2858" marR="2858" marT="2858" marB="0" anchor="ctr">
                    <a:noFill/>
                  </a:tcPr>
                </a:tc>
                <a:tc>
                  <a:txBody>
                    <a:bodyPr/>
                    <a:lstStyle/>
                    <a:p>
                      <a:pPr algn="ctr">
                        <a:defRPr sz="600">
                          <a:latin typeface="Nexa Book"/>
                        </a:defRPr>
                      </a:pPr>
                      <a:r>
                        <a:rPr sz="600">
                          <a:latin typeface="Nexa Book"/>
                        </a:rPr>
                        <a:t>-2%</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2900</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r>
                        <a:rPr sz="600">
                          <a:latin typeface="Nexa Book"/>
                        </a:rPr>
                        <a:t>69%</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23152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DRY SKIN 5 BLADE REFILL NORMAL 4CT</a:t>
                      </a:r>
                    </a:p>
                  </a:txBody>
                  <a:tcPr marL="2858" marR="2858" marT="2858" marB="0" anchor="ctr">
                    <a:noFill/>
                  </a:tcPr>
                </a:tc>
                <a:tc>
                  <a:txBody>
                    <a:bodyPr/>
                    <a:lstStyle/>
                    <a:p>
                      <a:pPr algn="ctr">
                        <a:defRPr sz="600">
                          <a:latin typeface="Nexa Book"/>
                        </a:defRPr>
                      </a:pPr>
                      <a:r>
                        <a:rPr sz="600">
                          <a:latin typeface="Nexa Book"/>
                        </a:rPr>
                        <a:t>59%</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 6.09</a:t>
                      </a:r>
                    </a:p>
                  </a:txBody>
                  <a:tcPr marL="2858" marR="2858" marT="2858" marB="0" anchor="ctr">
                    <a:noFill/>
                  </a:tcPr>
                </a:tc>
                <a:tc>
                  <a:txBody>
                    <a:bodyPr/>
                    <a:lstStyle/>
                    <a:p>
                      <a:pPr algn="ctr">
                        <a:defRPr sz="600">
                          <a:latin typeface="Nexa Book"/>
                        </a:defRPr>
                      </a:pPr>
                      <a:r>
                        <a:rPr sz="600">
                          <a:latin typeface="Nexa Book"/>
                        </a:rPr>
                        <a:t> 2.44</a:t>
                      </a:r>
                    </a:p>
                  </a:txBody>
                  <a:tcPr marL="2858" marR="2858" marT="2858" marB="0" anchor="ctr">
                    <a:noFill/>
                  </a:tcPr>
                </a:tc>
                <a:tc>
                  <a:txBody>
                    <a:bodyPr/>
                    <a:lstStyle/>
                    <a:p>
                      <a:pPr algn="ctr">
                        <a:defRPr sz="600">
                          <a:latin typeface="Nexa Book"/>
                        </a:defRPr>
                      </a:pPr>
                      <a:r>
                        <a:rPr sz="600">
                          <a:latin typeface="Nexa Book"/>
                        </a:rPr>
                        <a:t>61</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131</a:t>
                      </a:r>
                    </a:p>
                  </a:txBody>
                  <a:tcPr marL="2858" marR="2858" marT="2858" marB="0" anchor="ctr">
                    <a:noFill/>
                  </a:tcPr>
                </a:tc>
                <a:tc>
                  <a:txBody>
                    <a:bodyPr/>
                    <a:lstStyle/>
                    <a:p>
                      <a:pPr algn="ctr">
                        <a:defRPr sz="600">
                          <a:latin typeface="Nexa Book"/>
                        </a:defRPr>
                      </a:pPr>
                      <a:r>
                        <a:rPr sz="600">
                          <a:latin typeface="Nexa Book"/>
                        </a:rPr>
                        <a:t>-147%</a:t>
                      </a:r>
                    </a:p>
                  </a:txBody>
                  <a:tcPr marL="2858" marR="2858" marT="2858" marB="0" anchor="ctr">
                    <a:noFill/>
                  </a:tcPr>
                </a:tc>
                <a:tc>
                  <a:txBody>
                    <a:bodyPr/>
                    <a:lstStyle/>
                    <a:p>
                      <a:pPr algn="ctr">
                        <a:defRPr sz="600">
                          <a:latin typeface="Nexa Book"/>
                        </a:defRPr>
                      </a:pPr>
                      <a:r>
                        <a:rPr sz="600">
                          <a:latin typeface="Nexa Book"/>
                        </a:rPr>
                        <a:t>80%</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23152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QUATTRO FOR MEN 4 BLADE REFILL NORMAL 6CT</a:t>
                      </a:r>
                    </a:p>
                  </a:txBody>
                  <a:tcPr marL="2858" marR="2858" marT="2858" marB="0" anchor="ctr">
                    <a:noFill/>
                  </a:tcPr>
                </a:tc>
                <a:tc>
                  <a:txBody>
                    <a:bodyPr/>
                    <a:lstStyle/>
                    <a:p>
                      <a:pPr algn="ctr">
                        <a:defRPr sz="600">
                          <a:latin typeface="Nexa Book"/>
                        </a:defRPr>
                      </a:pPr>
                      <a:r>
                        <a:rPr sz="600">
                          <a:latin typeface="Nexa Book"/>
                        </a:rPr>
                        <a:t>56%</a:t>
                      </a:r>
                    </a:p>
                  </a:txBody>
                  <a:tcPr marL="2858" marR="2858" marT="2858" marB="0" anchor="ctr">
                    <a:noFill/>
                  </a:tcPr>
                </a:tc>
                <a:tc>
                  <a:txBody>
                    <a:bodyPr/>
                    <a:lstStyle/>
                    <a:p>
                      <a:pPr algn="ctr">
                        <a:defRPr sz="600">
                          <a:latin typeface="Nexa Book"/>
                        </a:defRPr>
                      </a:pPr>
                      <a:r>
                        <a:rPr sz="600">
                          <a:latin typeface="Nexa Book"/>
                        </a:rPr>
                        <a:t>72%</a:t>
                      </a:r>
                    </a:p>
                  </a:txBody>
                  <a:tcPr marL="2858" marR="2858" marT="2858" marB="0" anchor="ctr">
                    <a:noFill/>
                  </a:tcPr>
                </a:tc>
                <a:tc>
                  <a:txBody>
                    <a:bodyPr/>
                    <a:lstStyle/>
                    <a:p>
                      <a:pPr algn="ctr">
                        <a:defRPr sz="600">
                          <a:latin typeface="Nexa Book"/>
                        </a:defRPr>
                      </a:pPr>
                      <a:r>
                        <a:rPr sz="600">
                          <a:latin typeface="Nexa Book"/>
                        </a:rPr>
                        <a:t> 8.00</a:t>
                      </a:r>
                    </a:p>
                  </a:txBody>
                  <a:tcPr marL="2858" marR="2858" marT="2858" marB="0" anchor="ctr">
                    <a:noFill/>
                  </a:tcPr>
                </a:tc>
                <a:tc>
                  <a:txBody>
                    <a:bodyPr/>
                    <a:lstStyle/>
                    <a:p>
                      <a:pPr algn="ctr">
                        <a:defRPr sz="600">
                          <a:latin typeface="Nexa Book"/>
                        </a:defRPr>
                      </a:pPr>
                      <a:r>
                        <a:rPr sz="600">
                          <a:latin typeface="Nexa Book"/>
                        </a:rPr>
                        <a:t> 3.36</a:t>
                      </a:r>
                    </a:p>
                  </a:txBody>
                  <a:tcPr marL="2858" marR="2858" marT="2858" marB="0" anchor="ctr">
                    <a:noFill/>
                  </a:tcPr>
                </a:tc>
                <a:tc>
                  <a:txBody>
                    <a:bodyPr/>
                    <a:lstStyle/>
                    <a:p>
                      <a:pPr algn="ctr">
                        <a:defRPr sz="600">
                          <a:latin typeface="Nexa Book"/>
                        </a:defRPr>
                      </a:pPr>
                      <a:r>
                        <a:rPr sz="600">
                          <a:latin typeface="Nexa Book"/>
                        </a:rPr>
                        <a:t>111</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50</a:t>
                      </a:r>
                    </a:p>
                  </a:txBody>
                  <a:tcPr marL="2858" marR="2858" marT="2858" marB="0" anchor="ctr">
                    <a:noFill/>
                  </a:tcPr>
                </a:tc>
                <a:tc>
                  <a:txBody>
                    <a:bodyPr/>
                    <a:lstStyle/>
                    <a:p>
                      <a:pPr algn="ctr">
                        <a:defRPr sz="600">
                          <a:latin typeface="Nexa Book"/>
                        </a:defRPr>
                      </a:pPr>
                      <a:r>
                        <a:rPr sz="600">
                          <a:latin typeface="Nexa Book"/>
                        </a:rPr>
                        <a:t>-35%</a:t>
                      </a:r>
                    </a:p>
                  </a:txBody>
                  <a:tcPr marL="2858" marR="2858" marT="2858" marB="0" anchor="ctr">
                    <a:noFill/>
                  </a:tcPr>
                </a:tc>
                <a:tc>
                  <a:txBody>
                    <a:bodyPr/>
                    <a:lstStyle/>
                    <a:p>
                      <a:pPr algn="ctr">
                        <a:defRPr sz="600">
                          <a:latin typeface="Nexa Book"/>
                        </a:defRPr>
                      </a:pPr>
                      <a:r>
                        <a:rPr sz="600">
                          <a:latin typeface="Nexa Book"/>
                        </a:rPr>
                        <a:t>71%</a:t>
                      </a: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231522">
                <a:tc>
                  <a:txBody>
                    <a:bodyPr/>
                    <a:lstStyle/>
                    <a:p>
                      <a:pPr algn="l">
                        <a:defRPr sz="600">
                          <a:latin typeface="Nexa Book"/>
                        </a:defRPr>
                      </a:pPr>
                      <a:r>
                        <a:rPr sz="600">
                          <a:latin typeface="Nexa Book"/>
                        </a:rPr>
                        <a:t>Equate</a:t>
                      </a:r>
                    </a:p>
                  </a:txBody>
                  <a:tcPr marL="2858" marR="2858" marT="2858" marB="0" anchor="ctr">
                    <a:noFill/>
                  </a:tcPr>
                </a:tc>
                <a:tc>
                  <a:txBody>
                    <a:bodyPr/>
                    <a:lstStyle/>
                    <a:p>
                      <a:pPr algn="l">
                        <a:defRPr sz="600">
                          <a:latin typeface="Nexa Book"/>
                        </a:defRPr>
                      </a:pPr>
                      <a:r>
                        <a:rPr sz="600">
                          <a:latin typeface="Nexa Book"/>
                        </a:rPr>
                        <a:t>EQUATE CALIBER 5 5 BLADE REFILL NORMAL 8CT</a:t>
                      </a:r>
                    </a:p>
                  </a:txBody>
                  <a:tcPr marL="2858" marR="2858" marT="2858" marB="0" anchor="ctr">
                    <a:noFill/>
                  </a:tcPr>
                </a:tc>
                <a:tc>
                  <a:txBody>
                    <a:bodyPr/>
                    <a:lstStyle/>
                    <a:p>
                      <a:pPr algn="ctr">
                        <a:defRPr sz="600">
                          <a:latin typeface="Nexa Book"/>
                        </a:defRPr>
                      </a:pPr>
                      <a:r>
                        <a:rPr sz="600">
                          <a:latin typeface="Nexa Book"/>
                        </a:rPr>
                        <a:t>72%</a:t>
                      </a:r>
                    </a:p>
                  </a:txBody>
                  <a:tcPr marL="2858" marR="2858" marT="2858" marB="0" anchor="ctr">
                    <a:noFill/>
                  </a:tcPr>
                </a:tc>
                <a:tc>
                  <a:txBody>
                    <a:bodyPr/>
                    <a:lstStyle/>
                    <a:p>
                      <a:pPr algn="ctr">
                        <a:defRPr sz="600">
                          <a:latin typeface="Nexa Book"/>
                        </a:defRPr>
                      </a:pPr>
                      <a:r>
                        <a:rPr sz="600">
                          <a:latin typeface="Nexa Book"/>
                        </a:rPr>
                        <a:t>7%</a:t>
                      </a:r>
                    </a:p>
                  </a:txBody>
                  <a:tcPr marL="2858" marR="2858" marT="2858" marB="0" anchor="ctr">
                    <a:noFill/>
                  </a:tcPr>
                </a:tc>
                <a:tc>
                  <a:txBody>
                    <a:bodyPr/>
                    <a:lstStyle/>
                    <a:p>
                      <a:pPr algn="ctr">
                        <a:defRPr sz="600">
                          <a:latin typeface="Nexa Book"/>
                        </a:defRPr>
                      </a:pPr>
                      <a:r>
                        <a:rPr sz="600">
                          <a:latin typeface="Nexa Book"/>
                        </a:rPr>
                        <a:t> 9.86</a:t>
                      </a:r>
                    </a:p>
                  </a:txBody>
                  <a:tcPr marL="2858" marR="2858" marT="2858" marB="0" anchor="ctr">
                    <a:noFill/>
                  </a:tcPr>
                </a:tc>
                <a:tc>
                  <a:txBody>
                    <a:bodyPr/>
                    <a:lstStyle/>
                    <a:p>
                      <a:pPr algn="ctr">
                        <a:defRPr sz="600">
                          <a:latin typeface="Nexa Book"/>
                        </a:defRPr>
                      </a:pPr>
                      <a:r>
                        <a:rPr sz="600">
                          <a:latin typeface="Nexa Book"/>
                        </a:rPr>
                        <a:t> 3.60</a:t>
                      </a:r>
                    </a:p>
                  </a:txBody>
                  <a:tcPr marL="2858" marR="2858" marT="2858" marB="0" anchor="ctr">
                    <a:noFill/>
                  </a:tcPr>
                </a:tc>
                <a:tc>
                  <a:txBody>
                    <a:bodyPr/>
                    <a:lstStyle/>
                    <a:p>
                      <a:pPr algn="ctr">
                        <a:defRPr sz="600">
                          <a:latin typeface="Nexa Book"/>
                        </a:defRPr>
                      </a:pPr>
                      <a:r>
                        <a:rPr sz="600">
                          <a:latin typeface="Nexa Book"/>
                        </a:rPr>
                        <a:t>18</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42</a:t>
                      </a:r>
                    </a:p>
                  </a:txBody>
                  <a:tcPr marL="2858" marR="2858" marT="2858" marB="0" anchor="ctr">
                    <a:noFill/>
                  </a:tcPr>
                </a:tc>
                <a:tc>
                  <a:txBody>
                    <a:bodyPr/>
                    <a:lstStyle/>
                    <a:p>
                      <a:pPr algn="ctr">
                        <a:defRPr sz="600">
                          <a:latin typeface="Nexa Book"/>
                        </a:defRPr>
                      </a:pPr>
                      <a:r>
                        <a:rPr sz="600">
                          <a:latin typeface="Nexa Book"/>
                        </a:rPr>
                        <a:t>-89%</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231522">
                <a:tc>
                  <a:txBody>
                    <a:bodyPr/>
                    <a:lstStyle/>
                    <a:p>
                      <a:pPr algn="l">
                        <a:defRPr sz="600">
                          <a:latin typeface="Nexa Book"/>
                        </a:defRPr>
                      </a:pPr>
                      <a:r>
                        <a:rPr sz="600">
                          <a:latin typeface="Nexa Book"/>
                        </a:rPr>
                        <a:t>Cremo</a:t>
                      </a:r>
                    </a:p>
                  </a:txBody>
                  <a:tcPr marL="2858" marR="2858" marT="2858" marB="0" anchor="ctr">
                    <a:noFill/>
                  </a:tcPr>
                </a:tc>
                <a:tc>
                  <a:txBody>
                    <a:bodyPr/>
                    <a:lstStyle/>
                    <a:p>
                      <a:pPr algn="l">
                        <a:defRPr sz="600">
                          <a:latin typeface="Nexa Book"/>
                        </a:defRPr>
                      </a:pPr>
                      <a:r>
                        <a:rPr sz="600">
                          <a:latin typeface="Nexa Book"/>
                        </a:rPr>
                        <a:t>CREMO 5 BLADE REFILL NORMAL 4CT</a:t>
                      </a:r>
                    </a:p>
                  </a:txBody>
                  <a:tcPr marL="2858" marR="2858" marT="2858" marB="0" anchor="ctr">
                    <a:noFill/>
                  </a:tcPr>
                </a:tc>
                <a:tc>
                  <a:txBody>
                    <a:bodyPr/>
                    <a:lstStyle/>
                    <a:p>
                      <a:pPr algn="ctr">
                        <a:defRPr sz="600">
                          <a:latin typeface="Nexa Book"/>
                        </a:defRPr>
                      </a:pPr>
                      <a:r>
                        <a:rPr sz="600">
                          <a:latin typeface="Nexa Book"/>
                        </a:rPr>
                        <a:t>63%</a:t>
                      </a:r>
                    </a:p>
                  </a:txBody>
                  <a:tcPr marL="2858" marR="2858" marT="2858" marB="0" anchor="ctr">
                    <a:noFill/>
                  </a:tcPr>
                </a:tc>
                <a:tc>
                  <a:txBody>
                    <a:bodyPr/>
                    <a:lstStyle/>
                    <a:p>
                      <a:pPr algn="ctr">
                        <a:defRPr sz="600">
                          <a:latin typeface="Nexa Book"/>
                        </a:defRPr>
                      </a:pPr>
                      <a:r>
                        <a:rPr sz="600">
                          <a:latin typeface="Nexa Book"/>
                        </a:rPr>
                        <a:t>6%</a:t>
                      </a:r>
                    </a:p>
                  </a:txBody>
                  <a:tcPr marL="2858" marR="2858" marT="2858" marB="0" anchor="ctr">
                    <a:noFill/>
                  </a:tcPr>
                </a:tc>
                <a:tc>
                  <a:txBody>
                    <a:bodyPr/>
                    <a:lstStyle/>
                    <a:p>
                      <a:pPr algn="ctr">
                        <a:defRPr sz="600">
                          <a:latin typeface="Nexa Book"/>
                        </a:defRPr>
                      </a:pPr>
                      <a:r>
                        <a:rPr sz="600">
                          <a:latin typeface="Nexa Book"/>
                        </a:rPr>
                        <a:t> 13.86</a:t>
                      </a:r>
                    </a:p>
                  </a:txBody>
                  <a:tcPr marL="2858" marR="2858" marT="2858" marB="0" anchor="ctr">
                    <a:noFill/>
                  </a:tcPr>
                </a:tc>
                <a:tc>
                  <a:txBody>
                    <a:bodyPr/>
                    <a:lstStyle/>
                    <a:p>
                      <a:pPr algn="ctr">
                        <a:defRPr sz="600">
                          <a:latin typeface="Nexa Book"/>
                        </a:defRPr>
                      </a:pPr>
                      <a:r>
                        <a:rPr sz="600">
                          <a:latin typeface="Nexa Book"/>
                        </a:rPr>
                        <a:t> 5.08</a:t>
                      </a:r>
                    </a:p>
                  </a:txBody>
                  <a:tcPr marL="2858" marR="2858" marT="2858" marB="0" anchor="ctr">
                    <a:noFill/>
                  </a:tcPr>
                </a:tc>
                <a:tc>
                  <a:txBody>
                    <a:bodyPr/>
                    <a:lstStyle/>
                    <a:p>
                      <a:pPr algn="ctr">
                        <a:defRPr sz="600">
                          <a:latin typeface="Nexa Book"/>
                        </a:defRPr>
                      </a:pPr>
                      <a:r>
                        <a:rPr sz="600">
                          <a:latin typeface="Nexa Book"/>
                        </a:rPr>
                        <a:t>889</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39</a:t>
                      </a:r>
                    </a:p>
                  </a:txBody>
                  <a:tcPr marL="2858" marR="2858" marT="2858" marB="0" anchor="ctr">
                    <a:noFill/>
                  </a:tcPr>
                </a:tc>
                <a:tc>
                  <a:txBody>
                    <a:bodyPr/>
                    <a:lstStyle/>
                    <a:p>
                      <a:pPr algn="ctr">
                        <a:defRPr sz="600">
                          <a:latin typeface="Nexa Book"/>
                        </a:defRPr>
                      </a:pPr>
                      <a:r>
                        <a:rPr sz="600">
                          <a:latin typeface="Nexa Book"/>
                        </a:rPr>
                        <a:t>-3%</a:t>
                      </a:r>
                    </a:p>
                  </a:txBody>
                  <a:tcPr marL="2858" marR="2858" marT="2858" marB="0" anchor="ctr">
                    <a:noFill/>
                  </a:tcPr>
                </a:tc>
                <a:tc>
                  <a:txBody>
                    <a:bodyPr/>
                    <a:lstStyle/>
                    <a:p>
                      <a:pPr algn="ctr">
                        <a:defRPr sz="600">
                          <a:latin typeface="Nexa Book"/>
                        </a:defRPr>
                      </a:pPr>
                      <a:r>
                        <a:rPr sz="600">
                          <a:latin typeface="Nexa Book"/>
                        </a:rPr>
                        <a:t>71%</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23152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DRY SKIN 5 BLADE REFILL DRY 8CT</a:t>
                      </a:r>
                    </a:p>
                  </a:txBody>
                  <a:tcPr marL="2858" marR="2858" marT="2858" marB="0" anchor="ctr">
                    <a:noFill/>
                  </a:tcPr>
                </a:tc>
                <a:tc>
                  <a:txBody>
                    <a:bodyPr/>
                    <a:lstStyle/>
                    <a:p>
                      <a:pPr algn="ctr">
                        <a:defRPr sz="600">
                          <a:latin typeface="Nexa Book"/>
                        </a:defRPr>
                      </a:pPr>
                      <a:r>
                        <a:rPr sz="600">
                          <a:latin typeface="Nexa Book"/>
                        </a:rPr>
                        <a:t>86%</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r>
                        <a:rPr sz="600">
                          <a:latin typeface="Nexa Book"/>
                        </a:rPr>
                        <a:t> 18.18</a:t>
                      </a:r>
                    </a:p>
                  </a:txBody>
                  <a:tcPr marL="2858" marR="2858" marT="2858" marB="0" anchor="ctr">
                    <a:noFill/>
                  </a:tcPr>
                </a:tc>
                <a:tc>
                  <a:txBody>
                    <a:bodyPr/>
                    <a:lstStyle/>
                    <a:p>
                      <a:pPr algn="ctr">
                        <a:defRPr sz="600">
                          <a:latin typeface="Nexa Book"/>
                        </a:defRPr>
                      </a:pPr>
                      <a:r>
                        <a:rPr sz="600">
                          <a:latin typeface="Nexa Book"/>
                        </a:rPr>
                        <a:t> 4.00</a:t>
                      </a:r>
                    </a:p>
                  </a:txBody>
                  <a:tcPr marL="2858" marR="2858" marT="2858" marB="0" anchor="ctr">
                    <a:noFill/>
                  </a:tcPr>
                </a:tc>
                <a:tc>
                  <a:txBody>
                    <a:bodyPr/>
                    <a:lstStyle/>
                    <a:p>
                      <a:pPr algn="ctr">
                        <a:defRPr sz="600">
                          <a:latin typeface="Nexa Book"/>
                        </a:defRPr>
                      </a:pPr>
                      <a:r>
                        <a:rPr sz="600">
                          <a:latin typeface="Nexa Book"/>
                        </a:rPr>
                        <a:t>4</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25</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23152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QUATTRO FOR MEN 4 BLADE REFILL NORMAL 8CT</a:t>
                      </a:r>
                    </a:p>
                  </a:txBody>
                  <a:tcPr marL="2858" marR="2858" marT="2858" marB="0" anchor="ctr">
                    <a:noFill/>
                  </a:tcPr>
                </a:tc>
                <a:tc>
                  <a:txBody>
                    <a:bodyPr/>
                    <a:lstStyle/>
                    <a:p>
                      <a:pPr algn="ctr">
                        <a:defRPr sz="600">
                          <a:latin typeface="Nexa Book"/>
                        </a:defRPr>
                      </a:pPr>
                      <a:r>
                        <a:rPr sz="600">
                          <a:latin typeface="Nexa Book"/>
                        </a:rPr>
                        <a:t>70%</a:t>
                      </a:r>
                    </a:p>
                  </a:txBody>
                  <a:tcPr marL="2858" marR="2858" marT="2858" marB="0" anchor="ctr">
                    <a:noFill/>
                  </a:tcPr>
                </a:tc>
                <a:tc>
                  <a:txBody>
                    <a:bodyPr/>
                    <a:lstStyle/>
                    <a:p>
                      <a:pPr algn="ctr">
                        <a:defRPr sz="600">
                          <a:latin typeface="Nexa Book"/>
                        </a:defRPr>
                      </a:pPr>
                      <a:r>
                        <a:rPr sz="600">
                          <a:latin typeface="Nexa Book"/>
                        </a:rPr>
                        <a:t>13%</a:t>
                      </a:r>
                    </a:p>
                  </a:txBody>
                  <a:tcPr marL="2858" marR="2858" marT="2858" marB="0" anchor="ctr">
                    <a:noFill/>
                  </a:tcPr>
                </a:tc>
                <a:tc>
                  <a:txBody>
                    <a:bodyPr/>
                    <a:lstStyle/>
                    <a:p>
                      <a:pPr algn="ctr">
                        <a:defRPr sz="600">
                          <a:latin typeface="Nexa Book"/>
                        </a:defRPr>
                      </a:pPr>
                      <a:r>
                        <a:rPr sz="600">
                          <a:latin typeface="Nexa Book"/>
                        </a:rPr>
                        <a:t> 6.87</a:t>
                      </a:r>
                    </a:p>
                  </a:txBody>
                  <a:tcPr marL="2858" marR="2858" marT="2858" marB="0" anchor="ctr">
                    <a:noFill/>
                  </a:tcPr>
                </a:tc>
                <a:tc>
                  <a:txBody>
                    <a:bodyPr/>
                    <a:lstStyle/>
                    <a:p>
                      <a:pPr algn="ctr">
                        <a:defRPr sz="600">
                          <a:latin typeface="Nexa Book"/>
                        </a:defRPr>
                      </a:pPr>
                      <a:r>
                        <a:rPr sz="600">
                          <a:latin typeface="Nexa Book"/>
                        </a:rPr>
                        <a:t> 3.30</a:t>
                      </a:r>
                    </a:p>
                  </a:txBody>
                  <a:tcPr marL="2858" marR="2858" marT="2858" marB="0" anchor="ctr">
                    <a:noFill/>
                  </a:tcPr>
                </a:tc>
                <a:tc>
                  <a:txBody>
                    <a:bodyPr/>
                    <a:lstStyle/>
                    <a:p>
                      <a:pPr algn="ctr">
                        <a:defRPr sz="600">
                          <a:latin typeface="Nexa Book"/>
                        </a:defRPr>
                      </a:pPr>
                      <a:r>
                        <a:rPr sz="600">
                          <a:latin typeface="Nexa Book"/>
                        </a:rPr>
                        <a:t>33</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17</a:t>
                      </a:r>
                    </a:p>
                  </a:txBody>
                  <a:tcPr marL="2858" marR="2858" marT="2858" marB="0" anchor="ctr">
                    <a:noFill/>
                  </a:tcPr>
                </a:tc>
                <a:tc>
                  <a:txBody>
                    <a:bodyPr/>
                    <a:lstStyle/>
                    <a:p>
                      <a:pPr algn="ctr">
                        <a:defRPr sz="600">
                          <a:latin typeface="Nexa Book"/>
                        </a:defRPr>
                      </a:pPr>
                      <a:r>
                        <a:rPr sz="600">
                          <a:latin typeface="Nexa Book"/>
                        </a:rPr>
                        <a:t>-22%</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23152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SCHICK QUATTRO FOR MEN 4 BLADE REFILL NORMAL 4CT</a:t>
                      </a:r>
                    </a:p>
                  </a:txBody>
                  <a:tcPr marL="2858" marR="2858" marT="2858" marB="0" anchor="ctr">
                    <a:noFill/>
                  </a:tcPr>
                </a:tc>
                <a:tc>
                  <a:txBody>
                    <a:bodyPr/>
                    <a:lstStyle/>
                    <a:p>
                      <a:pPr algn="ctr">
                        <a:defRPr sz="600">
                          <a:latin typeface="Nexa Book"/>
                        </a:defRPr>
                      </a:pPr>
                      <a:r>
                        <a:rPr sz="600">
                          <a:latin typeface="Nexa Book"/>
                        </a:rPr>
                        <a:t>90%</a:t>
                      </a:r>
                    </a:p>
                  </a:txBody>
                  <a:tcPr marL="2858" marR="2858" marT="2858" marB="0" anchor="ctr">
                    <a:noFill/>
                  </a:tcPr>
                </a:tc>
                <a:tc>
                  <a:txBody>
                    <a:bodyPr/>
                    <a:lstStyle/>
                    <a:p>
                      <a:pPr algn="ctr">
                        <a:defRPr sz="600">
                          <a:latin typeface="Nexa Book"/>
                        </a:defRPr>
                      </a:pPr>
                      <a:r>
                        <a:rPr sz="600">
                          <a:latin typeface="Nexa Book"/>
                        </a:rPr>
                        <a:t>8%</a:t>
                      </a:r>
                    </a:p>
                  </a:txBody>
                  <a:tcPr marL="2858" marR="2858" marT="2858" marB="0" anchor="ctr">
                    <a:noFill/>
                  </a:tcPr>
                </a:tc>
                <a:tc>
                  <a:txBody>
                    <a:bodyPr/>
                    <a:lstStyle/>
                    <a:p>
                      <a:pPr algn="ctr">
                        <a:defRPr sz="600">
                          <a:latin typeface="Nexa Book"/>
                        </a:defRPr>
                      </a:pPr>
                      <a:r>
                        <a:rPr sz="600">
                          <a:latin typeface="Nexa Book"/>
                        </a:rPr>
                        <a:t> 10.33</a:t>
                      </a:r>
                    </a:p>
                  </a:txBody>
                  <a:tcPr marL="2858" marR="2858" marT="2858" marB="0" anchor="ctr">
                    <a:noFill/>
                  </a:tcPr>
                </a:tc>
                <a:tc>
                  <a:txBody>
                    <a:bodyPr/>
                    <a:lstStyle/>
                    <a:p>
                      <a:pPr algn="ctr">
                        <a:defRPr sz="600">
                          <a:latin typeface="Nexa Book"/>
                        </a:defRPr>
                      </a:pPr>
                      <a:r>
                        <a:rPr sz="600">
                          <a:latin typeface="Nexa Book"/>
                        </a:rPr>
                        <a:t> 1.00</a:t>
                      </a:r>
                    </a:p>
                  </a:txBody>
                  <a:tcPr marL="2858" marR="2858" marT="2858" marB="0" anchor="ctr">
                    <a:noFill/>
                  </a:tcPr>
                </a:tc>
                <a:tc>
                  <a:txBody>
                    <a:bodyPr/>
                    <a:lstStyle/>
                    <a:p>
                      <a:pPr algn="ctr">
                        <a:defRPr sz="600">
                          <a:latin typeface="Nexa Book"/>
                        </a:defRPr>
                      </a:pPr>
                      <a:r>
                        <a:rPr sz="600">
                          <a:latin typeface="Nexa Book"/>
                        </a:rPr>
                        <a:t>1</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231522">
                <a:tc>
                  <a:txBody>
                    <a:bodyPr/>
                    <a:lstStyle/>
                    <a:p>
                      <a:pPr algn="l">
                        <a:defRPr sz="600">
                          <a:latin typeface="Nexa Book"/>
                        </a:defRPr>
                      </a:pPr>
                      <a:r>
                        <a:rPr sz="600">
                          <a:latin typeface="Nexa Book"/>
                        </a:rPr>
                        <a:t>Equate</a:t>
                      </a:r>
                    </a:p>
                  </a:txBody>
                  <a:tcPr marL="2858" marR="2858" marT="2858" marB="0" anchor="ctr">
                    <a:noFill/>
                  </a:tcPr>
                </a:tc>
                <a:tc>
                  <a:txBody>
                    <a:bodyPr/>
                    <a:lstStyle/>
                    <a:p>
                      <a:pPr algn="l">
                        <a:defRPr sz="600">
                          <a:latin typeface="Nexa Book"/>
                        </a:defRPr>
                      </a:pPr>
                      <a:r>
                        <a:rPr sz="600">
                          <a:latin typeface="Nexa Book"/>
                        </a:rPr>
                        <a:t>EQUATE EASY FIT 3 3 BLADE REFILL NORMAL 5CT</a:t>
                      </a:r>
                    </a:p>
                  </a:txBody>
                  <a:tcPr marL="2858" marR="2858" marT="2858" marB="0" anchor="ctr">
                    <a:noFill/>
                  </a:tcPr>
                </a:tc>
                <a:tc>
                  <a:txBody>
                    <a:bodyPr/>
                    <a:lstStyle/>
                    <a:p>
                      <a:pPr algn="ctr">
                        <a:defRPr sz="600">
                          <a:latin typeface="Nexa Book"/>
                        </a:defRPr>
                      </a:pPr>
                      <a:r>
                        <a:rPr sz="600">
                          <a:latin typeface="Nexa Book"/>
                        </a:rPr>
                        <a:t>67%</a:t>
                      </a:r>
                    </a:p>
                  </a:txBody>
                  <a:tcPr marL="2858" marR="2858" marT="2858" marB="0" anchor="ctr">
                    <a:noFill/>
                  </a:tcPr>
                </a:tc>
                <a:tc>
                  <a:txBody>
                    <a:bodyPr/>
                    <a:lstStyle/>
                    <a:p>
                      <a:pPr algn="ctr">
                        <a:defRPr sz="600">
                          <a:latin typeface="Nexa Book"/>
                        </a:defRPr>
                      </a:pPr>
                      <a:r>
                        <a:rPr sz="600">
                          <a:latin typeface="Nexa Book"/>
                        </a:rPr>
                        <a:t>20%</a:t>
                      </a:r>
                    </a:p>
                  </a:txBody>
                  <a:tcPr marL="2858" marR="2858" marT="2858" marB="0" anchor="ctr">
                    <a:noFill/>
                  </a:tcPr>
                </a:tc>
                <a:tc>
                  <a:txBody>
                    <a:bodyPr/>
                    <a:lstStyle/>
                    <a:p>
                      <a:pPr algn="ctr">
                        <a:defRPr sz="600">
                          <a:latin typeface="Nexa Book"/>
                        </a:defRPr>
                      </a:pPr>
                      <a:r>
                        <a:rPr sz="600">
                          <a:latin typeface="Nexa Book"/>
                        </a:rPr>
                        <a:t> 6.00</a:t>
                      </a:r>
                    </a:p>
                  </a:txBody>
                  <a:tcPr marL="2858" marR="2858" marT="2858" marB="0" anchor="ctr">
                    <a:noFill/>
                  </a:tcPr>
                </a:tc>
                <a:tc>
                  <a:txBody>
                    <a:bodyPr/>
                    <a:lstStyle/>
                    <a:p>
                      <a:pPr algn="ctr">
                        <a:defRPr sz="600">
                          <a:latin typeface="Nexa Book"/>
                        </a:defRPr>
                      </a:pPr>
                      <a:r>
                        <a:rPr sz="600">
                          <a:latin typeface="Nexa Book"/>
                        </a:rPr>
                        <a:t> 2.00</a:t>
                      </a:r>
                    </a:p>
                  </a:txBody>
                  <a:tcPr marL="2858" marR="2858" marT="2858" marB="0" anchor="ctr">
                    <a:noFill/>
                  </a:tcPr>
                </a:tc>
                <a:tc>
                  <a:txBody>
                    <a:bodyPr/>
                    <a:lstStyle/>
                    <a:p>
                      <a:pPr algn="ctr">
                        <a:defRPr sz="600">
                          <a:latin typeface="Nexa Book"/>
                        </a:defRPr>
                      </a:pPr>
                      <a:r>
                        <a:rPr sz="600">
                          <a:latin typeface="Nexa Book"/>
                        </a:rPr>
                        <a:t>2</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0%</a:t>
                      </a:r>
                    </a:p>
                  </a:txBody>
                  <a:tcPr marL="2858" marR="2858" marT="2858" marB="0" anchor="ctr">
                    <a:noFill/>
                  </a:tcPr>
                </a:tc>
                <a:tc>
                  <a:txBody>
                    <a:bodyPr/>
                    <a:lstStyle/>
                    <a:p>
                      <a:pPr algn="ctr">
                        <a:defRPr sz="600">
                          <a:latin typeface="Nexa Book"/>
                        </a:defRPr>
                      </a:pPr>
                      <a:r>
                        <a:rPr sz="600">
                          <a:latin typeface="Nexa Book"/>
                        </a:rPr>
                        <a:t>-4</a:t>
                      </a:r>
                    </a:p>
                  </a:txBody>
                  <a:tcPr marL="2858" marR="2858" marT="2858" marB="0" anchor="ctr">
                    <a:noFill/>
                  </a:tcPr>
                </a:tc>
                <a:tc>
                  <a:txBody>
                    <a:bodyPr/>
                    <a:lstStyle/>
                    <a:p>
                      <a:pPr algn="ctr">
                        <a:defRPr sz="600">
                          <a:latin typeface="Nexa Book"/>
                        </a:defRPr>
                      </a:pPr>
                      <a:r>
                        <a:rPr sz="600">
                          <a:latin typeface="Nexa Book"/>
                        </a:rPr>
                        <a:t>-100%</a:t>
                      </a:r>
                    </a:p>
                  </a:txBody>
                  <a:tcPr marL="2858" marR="2858" marT="2858" marB="0" anchor="ctr">
                    <a:noFill/>
                  </a:tcPr>
                </a:tc>
                <a:tc>
                  <a:txBody>
                    <a:bodyPr/>
                    <a:lstStyle/>
                    <a:p>
                      <a:pPr algn="ctr">
                        <a:defRPr sz="600">
                          <a:latin typeface="Nexa Book"/>
                        </a:defRPr>
                      </a:pPr>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231522">
                <a:tc>
                  <a:txBody>
                    <a:bodyPr/>
                    <a:lstStyle/>
                    <a:p>
                      <a:pPr algn="l">
                        <a:defRPr sz="600">
                          <a:latin typeface="Nexa Book"/>
                        </a:defRPr>
                      </a:pPr>
                      <a:r>
                        <a:rPr sz="600">
                          <a:latin typeface="Nexa Book"/>
                        </a:rPr>
                        <a:t>Schick</a:t>
                      </a:r>
                    </a:p>
                  </a:txBody>
                  <a:tcPr marL="2858" marR="2858" marT="2858" marB="0" anchor="ctr">
                    <a:noFill/>
                  </a:tcPr>
                </a:tc>
                <a:tc>
                  <a:txBody>
                    <a:bodyPr/>
                    <a:lstStyle/>
                    <a:p>
                      <a:pPr algn="l">
                        <a:defRPr sz="600">
                          <a:latin typeface="Nexa Book"/>
                        </a:defRPr>
                      </a:pPr>
                      <a:r>
                        <a:rPr sz="600">
                          <a:latin typeface="Nexa Book"/>
                        </a:rPr>
                        <a:t>HYDRO 5 SENSITIVE 5 BLADE REFILL SENSITIVE 4CT</a:t>
                      </a:r>
                    </a:p>
                  </a:txBody>
                  <a:tcPr marL="2858" marR="2858" marT="2858" marB="0" anchor="ctr">
                    <a:noFill/>
                  </a:tcPr>
                </a:tc>
                <a:tc>
                  <a:txBody>
                    <a:bodyPr/>
                    <a:lstStyle/>
                    <a:p>
                      <a:pPr algn="ctr">
                        <a:defRPr sz="600">
                          <a:latin typeface="Nexa Book"/>
                        </a:defRPr>
                      </a:pPr>
                      <a:r>
                        <a:rPr sz="600">
                          <a:latin typeface="Nexa Book"/>
                        </a:rPr>
                        <a:t>23%</a:t>
                      </a:r>
                    </a:p>
                  </a:txBody>
                  <a:tcPr marL="2858" marR="2858" marT="2858" marB="0" anchor="ctr">
                    <a:noFill/>
                  </a:tcPr>
                </a:tc>
                <a:tc>
                  <a:txBody>
                    <a:bodyPr/>
                    <a:lstStyle/>
                    <a:p>
                      <a:pPr algn="ctr">
                        <a:defRPr sz="600">
                          <a:latin typeface="Nexa Book"/>
                        </a:defRPr>
                      </a:pPr>
                      <a:r>
                        <a:rPr sz="600">
                          <a:latin typeface="Nexa Book"/>
                        </a:rPr>
                        <a:t>51%</a:t>
                      </a:r>
                    </a:p>
                  </a:txBody>
                  <a:tcPr marL="2858" marR="2858" marT="2858" marB="0" anchor="ctr">
                    <a:noFill/>
                  </a:tcPr>
                </a:tc>
                <a:tc>
                  <a:txBody>
                    <a:bodyPr/>
                    <a:lstStyle/>
                    <a:p>
                      <a:pPr algn="ctr">
                        <a:defRPr sz="600">
                          <a:latin typeface="Nexa Book"/>
                        </a:defRPr>
                      </a:pPr>
                      <a:r>
                        <a:rPr sz="600">
                          <a:latin typeface="Nexa Book"/>
                        </a:rPr>
                        <a:t> 7.72</a:t>
                      </a:r>
                    </a:p>
                  </a:txBody>
                  <a:tcPr marL="2858" marR="2858" marT="2858" marB="0" anchor="ctr">
                    <a:noFill/>
                  </a:tcPr>
                </a:tc>
                <a:tc>
                  <a:txBody>
                    <a:bodyPr/>
                    <a:lstStyle/>
                    <a:p>
                      <a:pPr algn="ctr">
                        <a:defRPr sz="600">
                          <a:latin typeface="Nexa Book"/>
                        </a:defRPr>
                      </a:pPr>
                      <a:r>
                        <a:rPr sz="600">
                          <a:latin typeface="Nexa Book"/>
                        </a:rPr>
                        <a:t> 5.60</a:t>
                      </a:r>
                    </a:p>
                  </a:txBody>
                  <a:tcPr marL="2858" marR="2858" marT="2858" marB="0" anchor="ctr">
                    <a:noFill/>
                  </a:tcPr>
                </a:tc>
                <a:tc>
                  <a:txBody>
                    <a:bodyPr/>
                    <a:lstStyle/>
                    <a:p>
                      <a:pPr algn="ctr">
                        <a:defRPr sz="600">
                          <a:latin typeface="Nexa Book"/>
                        </a:defRPr>
                      </a:pPr>
                      <a:r>
                        <a:rPr sz="600">
                          <a:latin typeface="Nexa Book"/>
                        </a:rPr>
                        <a:t>2'699</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r>
                        <a:rPr sz="600">
                          <a:latin typeface="Nexa Book"/>
                        </a:rPr>
                        <a:t>11%</a:t>
                      </a:r>
                    </a:p>
                  </a:txBody>
                  <a:tcPr marL="2858" marR="2858" marT="2858" marB="0" anchor="ctr">
                    <a:noFill/>
                  </a:tcPr>
                </a:tc>
                <a:tc>
                  <a:txBody>
                    <a:bodyPr/>
                    <a:lstStyle/>
                    <a:p>
                      <a:pPr algn="ctr">
                        <a:defRPr sz="600">
                          <a:latin typeface="Nexa Book"/>
                        </a:defRPr>
                      </a:pPr>
                      <a:r>
                        <a:rPr sz="600">
                          <a:latin typeface="Nexa Book"/>
                        </a:rPr>
                        <a:t>5</a:t>
                      </a:r>
                    </a:p>
                  </a:txBody>
                  <a:tcPr marL="2858" marR="2858" marT="2858" marB="0" anchor="ctr">
                    <a:noFill/>
                  </a:tcPr>
                </a:tc>
                <a:tc>
                  <a:txBody>
                    <a:bodyPr/>
                    <a:lstStyle/>
                    <a:p>
                      <a:pPr algn="ctr">
                        <a:defRPr sz="600">
                          <a:latin typeface="Nexa Book"/>
                        </a:defRPr>
                      </a:pPr>
                      <a:r>
                        <a:rPr sz="600">
                          <a:latin typeface="Nexa Book"/>
                        </a:rPr>
                        <a:t>1%</a:t>
                      </a:r>
                    </a:p>
                  </a:txBody>
                  <a:tcPr marL="2858" marR="2858" marT="2858" marB="0" anchor="ctr">
                    <a:noFill/>
                  </a:tcPr>
                </a:tc>
                <a:tc>
                  <a:txBody>
                    <a:bodyPr/>
                    <a:lstStyle/>
                    <a:p>
                      <a:pPr algn="ctr">
                        <a:defRPr sz="600">
                          <a:latin typeface="Nexa Book"/>
                        </a:defRPr>
                      </a:pPr>
                      <a:r>
                        <a:rPr sz="600">
                          <a:latin typeface="Nexa Book"/>
                        </a:rPr>
                        <a:t>79%</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231522">
                <a:tc>
                  <a:txBody>
                    <a:bodyPr/>
                    <a:lstStyle/>
                    <a:p>
                      <a:pPr algn="l">
                        <a:defRPr sz="600">
                          <a:latin typeface="Nexa Book"/>
                        </a:defRPr>
                      </a:pPr>
                      <a:r>
                        <a:rPr sz="600">
                          <a:latin typeface="Nexa Book"/>
                        </a:rPr>
                        <a:t>Equate</a:t>
                      </a:r>
                    </a:p>
                  </a:txBody>
                  <a:tcPr marL="2858" marR="2858" marT="2858" marB="0" anchor="ctr">
                    <a:noFill/>
                  </a:tcPr>
                </a:tc>
                <a:tc>
                  <a:txBody>
                    <a:bodyPr/>
                    <a:lstStyle/>
                    <a:p>
                      <a:pPr algn="l">
                        <a:defRPr sz="600">
                          <a:latin typeface="Nexa Book"/>
                        </a:defRPr>
                      </a:pPr>
                      <a:r>
                        <a:rPr sz="600">
                          <a:latin typeface="Nexa Book"/>
                        </a:rPr>
                        <a:t>EQUATE EASY FIT 5 5 BLADE REFILL NORMAL 12CT</a:t>
                      </a:r>
                    </a:p>
                  </a:txBody>
                  <a:tcPr marL="2858" marR="2858" marT="2858" marB="0" anchor="ctr">
                    <a:noFill/>
                  </a:tcPr>
                </a:tc>
                <a:tc>
                  <a:txBody>
                    <a:bodyPr/>
                    <a:lstStyle/>
                    <a:p>
                      <a:pPr algn="ctr">
                        <a:defRPr sz="600">
                          <a:latin typeface="Nexa Book"/>
                        </a:defRPr>
                      </a:pPr>
                      <a:r>
                        <a:rPr sz="600">
                          <a:latin typeface="Nexa Book"/>
                        </a:rPr>
                        <a:t>20%</a:t>
                      </a:r>
                    </a:p>
                  </a:txBody>
                  <a:tcPr marL="2858" marR="2858" marT="2858" marB="0" anchor="ctr">
                    <a:noFill/>
                  </a:tcPr>
                </a:tc>
                <a:tc>
                  <a:txBody>
                    <a:bodyPr/>
                    <a:lstStyle/>
                    <a:p>
                      <a:pPr algn="ctr">
                        <a:defRPr sz="600">
                          <a:latin typeface="Nexa Book"/>
                        </a:defRPr>
                      </a:pPr>
                      <a:r>
                        <a:rPr sz="600">
                          <a:latin typeface="Nexa Book"/>
                        </a:rPr>
                        <a:t>9%</a:t>
                      </a:r>
                    </a:p>
                  </a:txBody>
                  <a:tcPr marL="2858" marR="2858" marT="2858" marB="0" anchor="ctr">
                    <a:noFill/>
                  </a:tcPr>
                </a:tc>
                <a:tc>
                  <a:txBody>
                    <a:bodyPr/>
                    <a:lstStyle/>
                    <a:p>
                      <a:pPr algn="ctr">
                        <a:defRPr sz="600">
                          <a:latin typeface="Nexa Book"/>
                        </a:defRPr>
                      </a:pPr>
                      <a:r>
                        <a:rPr sz="600">
                          <a:latin typeface="Nexa Book"/>
                        </a:rPr>
                        <a:t> 20.00</a:t>
                      </a:r>
                    </a:p>
                  </a:txBody>
                  <a:tcPr marL="2858" marR="2858" marT="2858" marB="0" anchor="ctr">
                    <a:noFill/>
                  </a:tcPr>
                </a:tc>
                <a:tc>
                  <a:txBody>
                    <a:bodyPr/>
                    <a:lstStyle/>
                    <a:p>
                      <a:pPr algn="ctr">
                        <a:defRPr sz="600">
                          <a:latin typeface="Nexa Book"/>
                        </a:defRPr>
                      </a:pPr>
                      <a:r>
                        <a:rPr sz="600">
                          <a:latin typeface="Nexa Book"/>
                        </a:rPr>
                        <a:t> 15.99</a:t>
                      </a:r>
                    </a:p>
                  </a:txBody>
                  <a:tcPr marL="2858" marR="2858" marT="2858" marB="0" anchor="ctr">
                    <a:noFill/>
                  </a:tcPr>
                </a:tc>
                <a:tc>
                  <a:txBody>
                    <a:bodyPr/>
                    <a:lstStyle/>
                    <a:p>
                      <a:pPr algn="ctr">
                        <a:defRPr sz="600">
                          <a:latin typeface="Nexa Book"/>
                        </a:defRPr>
                      </a:pPr>
                      <a:r>
                        <a:rPr sz="600">
                          <a:latin typeface="Nexa Book"/>
                        </a:rPr>
                        <a:t>53'486</a:t>
                      </a:r>
                    </a:p>
                  </a:txBody>
                  <a:tcPr marL="2858" marR="2858" marT="2858" marB="0" anchor="ctr">
                    <a:noFill/>
                  </a:tcPr>
                </a:tc>
                <a:tc>
                  <a:txBody>
                    <a:bodyPr/>
                    <a:lstStyle/>
                    <a:p>
                      <a:pPr algn="ctr">
                        <a:defRPr sz="600">
                          <a:latin typeface="Nexa Book"/>
                        </a:defRPr>
                      </a:pPr>
                      <a:r>
                        <a:rPr sz="600">
                          <a:latin typeface="Nexa Book"/>
                        </a:rPr>
                        <a:t>16%</a:t>
                      </a:r>
                    </a:p>
                  </a:txBody>
                  <a:tcPr marL="2858" marR="2858" marT="2858" marB="0" anchor="ctr">
                    <a:noFill/>
                  </a:tcPr>
                </a:tc>
                <a:tc>
                  <a:txBody>
                    <a:bodyPr/>
                    <a:lstStyle/>
                    <a:p>
                      <a:pPr algn="ctr">
                        <a:defRPr sz="600">
                          <a:latin typeface="Nexa Book"/>
                        </a:defRPr>
                      </a:pPr>
                      <a:r>
                        <a:rPr sz="600">
                          <a:latin typeface="Nexa Book"/>
                        </a:rPr>
                        <a:t>44%</a:t>
                      </a:r>
                    </a:p>
                  </a:txBody>
                  <a:tcPr marL="2858" marR="2858" marT="2858" marB="0" anchor="ctr">
                    <a:noFill/>
                  </a:tcPr>
                </a:tc>
                <a:tc>
                  <a:txBody>
                    <a:bodyPr/>
                    <a:lstStyle/>
                    <a:p>
                      <a:pPr algn="ctr">
                        <a:defRPr sz="600">
                          <a:latin typeface="Nexa Book"/>
                        </a:defRPr>
                      </a:pPr>
                      <a:r>
                        <a:rPr sz="600">
                          <a:latin typeface="Nexa Book"/>
                        </a:rPr>
                        <a:t>6967</a:t>
                      </a:r>
                    </a:p>
                  </a:txBody>
                  <a:tcPr marL="2858" marR="2858" marT="2858" marB="0" anchor="ctr">
                    <a:noFill/>
                  </a:tcPr>
                </a:tc>
                <a:tc>
                  <a:txBody>
                    <a:bodyPr/>
                    <a:lstStyle/>
                    <a:p>
                      <a:pPr algn="ctr">
                        <a:defRPr sz="600">
                          <a:latin typeface="Nexa Book"/>
                        </a:defRPr>
                      </a:pPr>
                      <a:r>
                        <a:rPr sz="600">
                          <a:latin typeface="Nexa Book"/>
                        </a:rPr>
                        <a:t>52%</a:t>
                      </a:r>
                    </a:p>
                  </a:txBody>
                  <a:tcPr marL="2858" marR="2858" marT="2858" marB="0" anchor="ctr">
                    <a:noFill/>
                  </a:tcPr>
                </a:tc>
                <a:tc>
                  <a:txBody>
                    <a:bodyPr/>
                    <a:lstStyle/>
                    <a:p>
                      <a:pPr algn="ctr">
                        <a:defRPr sz="600">
                          <a:latin typeface="Nexa Book"/>
                        </a:defRPr>
                      </a:pPr>
                      <a:r>
                        <a:rPr sz="600">
                          <a:latin typeface="Nexa Book"/>
                        </a:rPr>
                        <a:t>68%</a:t>
                      </a: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3647119240"/>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8/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1</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Bj's And Sam's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Category</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Schick</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073212">
                <a:tc>
                  <a:txBody>
                    <a:bodyPr/>
                    <a:lstStyle/>
                    <a:p>
                      <a:pPr algn="ctr">
                        <a:defRPr sz="800">
                          <a:latin typeface="Nexa Bold"/>
                        </a:defRPr>
                      </a:pPr>
                      <a:r>
                        <a:rPr sz="800">
                          <a:latin typeface="Nexa Bold"/>
                        </a:rPr>
                        <a:t>Manual Shave Men</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4067708359"/>
                  </a:ext>
                </a:extLst>
              </a:tr>
              <a:tr h="1073212">
                <a:tc>
                  <a:txBody>
                    <a:bodyPr/>
                    <a:lstStyle/>
                    <a:p>
                      <a:pPr algn="ctr">
                        <a:defRPr sz="800">
                          <a:latin typeface="Nexa Bold"/>
                        </a:defRPr>
                      </a:pPr>
                      <a:r>
                        <a:rPr sz="800">
                          <a:latin typeface="Nexa Bold"/>
                        </a:rPr>
                        <a:t>Disposable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0741977"/>
                  </a:ext>
                </a:extLst>
              </a:tr>
              <a:tr h="1073212">
                <a:tc>
                  <a:txBody>
                    <a:bodyPr/>
                    <a:lstStyle/>
                    <a:p>
                      <a:pPr algn="ctr">
                        <a:defRPr sz="800">
                          <a:latin typeface="Nexa Bold"/>
                        </a:defRPr>
                      </a:pPr>
                      <a:r>
                        <a:rPr sz="800">
                          <a:latin typeface="Nexa Bold"/>
                        </a:rPr>
                        <a:t>System</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234609492"/>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8/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Bj's And Sam's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Category</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Cremo</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073212">
                <a:tc>
                  <a:txBody>
                    <a:bodyPr/>
                    <a:lstStyle/>
                    <a:p>
                      <a:pPr algn="ctr">
                        <a:defRPr sz="800">
                          <a:latin typeface="Nexa Bold"/>
                        </a:defRPr>
                      </a:pPr>
                      <a:r>
                        <a:rPr sz="800">
                          <a:latin typeface="Nexa Bold"/>
                        </a:rPr>
                        <a:t>Manual Shave Men</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4067708359"/>
                  </a:ext>
                </a:extLst>
              </a:tr>
              <a:tr h="1073212">
                <a:tc>
                  <a:txBody>
                    <a:bodyPr/>
                    <a:lstStyle/>
                    <a:p>
                      <a:pPr algn="ctr">
                        <a:defRPr sz="800">
                          <a:latin typeface="Nexa Bold"/>
                        </a:defRPr>
                      </a:pPr>
                      <a:r>
                        <a:rPr sz="800">
                          <a:latin typeface="Nexa Bold"/>
                        </a:rPr>
                        <a:t>Disposable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0741977"/>
                  </a:ext>
                </a:extLst>
              </a:tr>
              <a:tr h="1073212">
                <a:tc>
                  <a:txBody>
                    <a:bodyPr/>
                    <a:lstStyle/>
                    <a:p>
                      <a:pPr algn="ctr">
                        <a:defRPr sz="800">
                          <a:latin typeface="Nexa Bold"/>
                        </a:defRPr>
                      </a:pPr>
                      <a:r>
                        <a:rPr sz="800">
                          <a:latin typeface="Nexa Bold"/>
                        </a:rPr>
                        <a:t>System</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04175729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8/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3</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Bj's And Sam's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Category</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Edgewell Personal Care</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073212">
                <a:tc>
                  <a:txBody>
                    <a:bodyPr/>
                    <a:lstStyle/>
                    <a:p>
                      <a:pPr algn="ctr">
                        <a:defRPr sz="800">
                          <a:latin typeface="Nexa Bold"/>
                        </a:defRPr>
                      </a:pPr>
                      <a:r>
                        <a:rPr sz="800">
                          <a:latin typeface="Nexa Bold"/>
                        </a:rPr>
                        <a:t>Manual Shave Men</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4067708359"/>
                  </a:ext>
                </a:extLst>
              </a:tr>
              <a:tr h="1073212">
                <a:tc>
                  <a:txBody>
                    <a:bodyPr/>
                    <a:lstStyle/>
                    <a:p>
                      <a:pPr algn="ctr">
                        <a:defRPr sz="800">
                          <a:latin typeface="Nexa Bold"/>
                        </a:defRPr>
                      </a:pPr>
                      <a:r>
                        <a:rPr sz="800">
                          <a:latin typeface="Nexa Bold"/>
                        </a:rPr>
                        <a:t>Disposable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0741977"/>
                  </a:ext>
                </a:extLst>
              </a:tr>
              <a:tr h="1073212">
                <a:tc>
                  <a:txBody>
                    <a:bodyPr/>
                    <a:lstStyle/>
                    <a:p>
                      <a:pPr algn="ctr">
                        <a:defRPr sz="800">
                          <a:latin typeface="Nexa Bold"/>
                        </a:defRPr>
                      </a:pPr>
                      <a:r>
                        <a:rPr sz="800">
                          <a:latin typeface="Nexa Bold"/>
                        </a:rPr>
                        <a:t>System</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50198888"/>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8/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Walmart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Category</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Schick</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073212">
                <a:tc>
                  <a:txBody>
                    <a:bodyPr/>
                    <a:lstStyle/>
                    <a:p>
                      <a:pPr algn="ctr">
                        <a:defRPr sz="800">
                          <a:latin typeface="Nexa Bold"/>
                        </a:defRPr>
                      </a:pPr>
                      <a:r>
                        <a:rPr sz="800">
                          <a:latin typeface="Nexa Bold"/>
                        </a:rPr>
                        <a:t>Manual Shave Men</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4067708359"/>
                  </a:ext>
                </a:extLst>
              </a:tr>
              <a:tr h="1073212">
                <a:tc>
                  <a:txBody>
                    <a:bodyPr/>
                    <a:lstStyle/>
                    <a:p>
                      <a:pPr algn="ctr">
                        <a:defRPr sz="800">
                          <a:latin typeface="Nexa Bold"/>
                        </a:defRPr>
                      </a:pPr>
                      <a:r>
                        <a:rPr sz="800">
                          <a:latin typeface="Nexa Bold"/>
                        </a:rPr>
                        <a:t>Disposable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0741977"/>
                  </a:ext>
                </a:extLst>
              </a:tr>
              <a:tr h="1073212">
                <a:tc>
                  <a:txBody>
                    <a:bodyPr/>
                    <a:lstStyle/>
                    <a:p>
                      <a:pPr algn="ctr">
                        <a:defRPr sz="800">
                          <a:latin typeface="Nexa Bold"/>
                        </a:defRPr>
                      </a:pPr>
                      <a:r>
                        <a:rPr sz="800">
                          <a:latin typeface="Nexa Bold"/>
                        </a:rPr>
                        <a:t>System</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24463437"/>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8/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5</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Walmart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Category</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Equate</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073212">
                <a:tc>
                  <a:txBody>
                    <a:bodyPr/>
                    <a:lstStyle/>
                    <a:p>
                      <a:pPr algn="ctr">
                        <a:defRPr sz="800">
                          <a:latin typeface="Nexa Bold"/>
                        </a:defRPr>
                      </a:pPr>
                      <a:r>
                        <a:rPr sz="800">
                          <a:latin typeface="Nexa Bold"/>
                        </a:rPr>
                        <a:t>Manual Shave Men</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4067708359"/>
                  </a:ext>
                </a:extLst>
              </a:tr>
              <a:tr h="1073212">
                <a:tc>
                  <a:txBody>
                    <a:bodyPr/>
                    <a:lstStyle/>
                    <a:p>
                      <a:pPr algn="ctr">
                        <a:defRPr sz="800">
                          <a:latin typeface="Nexa Bold"/>
                        </a:defRPr>
                      </a:pPr>
                      <a:r>
                        <a:rPr sz="800">
                          <a:latin typeface="Nexa Bold"/>
                        </a:rPr>
                        <a:t>Disposable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0741977"/>
                  </a:ext>
                </a:extLst>
              </a:tr>
              <a:tr h="1073212">
                <a:tc>
                  <a:txBody>
                    <a:bodyPr/>
                    <a:lstStyle/>
                    <a:p>
                      <a:pPr algn="ctr">
                        <a:defRPr sz="800">
                          <a:latin typeface="Nexa Bold"/>
                        </a:defRPr>
                      </a:pPr>
                      <a:r>
                        <a:rPr sz="800">
                          <a:latin typeface="Nexa Bold"/>
                        </a:rPr>
                        <a:t>System</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087643981"/>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8/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Walmart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Category</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Cremo</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073212">
                <a:tc>
                  <a:txBody>
                    <a:bodyPr/>
                    <a:lstStyle/>
                    <a:p>
                      <a:pPr algn="ctr">
                        <a:defRPr sz="800">
                          <a:latin typeface="Nexa Bold"/>
                        </a:defRPr>
                      </a:pPr>
                      <a:r>
                        <a:rPr sz="800">
                          <a:latin typeface="Nexa Bold"/>
                        </a:rPr>
                        <a:t>Manual Shave Men</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4067708359"/>
                  </a:ext>
                </a:extLst>
              </a:tr>
              <a:tr h="1073212">
                <a:tc>
                  <a:txBody>
                    <a:bodyPr/>
                    <a:lstStyle/>
                    <a:p>
                      <a:pPr algn="ctr">
                        <a:defRPr sz="800">
                          <a:latin typeface="Nexa Bold"/>
                        </a:defRPr>
                      </a:pPr>
                      <a:r>
                        <a:rPr sz="800">
                          <a:latin typeface="Nexa Bold"/>
                        </a:rPr>
                        <a:t>Disposable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0741977"/>
                  </a:ext>
                </a:extLst>
              </a:tr>
              <a:tr h="1073212">
                <a:tc>
                  <a:txBody>
                    <a:bodyPr/>
                    <a:lstStyle/>
                    <a:p>
                      <a:pPr algn="ctr">
                        <a:defRPr sz="800">
                          <a:latin typeface="Nexa Bold"/>
                        </a:defRPr>
                      </a:pPr>
                      <a:r>
                        <a:rPr sz="800">
                          <a:latin typeface="Nexa Bold"/>
                        </a:rPr>
                        <a:t>System</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690286389"/>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8/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Walmart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Category</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Edgewell Personal Care</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073212">
                <a:tc>
                  <a:txBody>
                    <a:bodyPr/>
                    <a:lstStyle/>
                    <a:p>
                      <a:pPr algn="ctr">
                        <a:defRPr sz="800">
                          <a:latin typeface="Nexa Bold"/>
                        </a:defRPr>
                      </a:pPr>
                      <a:r>
                        <a:rPr sz="800">
                          <a:latin typeface="Nexa Bold"/>
                        </a:rPr>
                        <a:t>Manual Shave Men</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4067708359"/>
                  </a:ext>
                </a:extLst>
              </a:tr>
              <a:tr h="1073212">
                <a:tc>
                  <a:txBody>
                    <a:bodyPr/>
                    <a:lstStyle/>
                    <a:p>
                      <a:pPr algn="ctr">
                        <a:defRPr sz="800">
                          <a:latin typeface="Nexa Bold"/>
                        </a:defRPr>
                      </a:pPr>
                      <a:r>
                        <a:rPr sz="800">
                          <a:latin typeface="Nexa Bold"/>
                        </a:rPr>
                        <a:t>Disposable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0741977"/>
                  </a:ext>
                </a:extLst>
              </a:tr>
              <a:tr h="1073212">
                <a:tc>
                  <a:txBody>
                    <a:bodyPr/>
                    <a:lstStyle/>
                    <a:p>
                      <a:pPr algn="ctr">
                        <a:defRPr sz="800">
                          <a:latin typeface="Nexa Bold"/>
                        </a:defRPr>
                      </a:pPr>
                      <a:r>
                        <a:rPr sz="800">
                          <a:latin typeface="Nexa Bold"/>
                        </a:rPr>
                        <a:t>System</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852422717"/>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8/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8</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Bj's And Sam's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Sector</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Schick</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09818">
                <a:tc>
                  <a:txBody>
                    <a:bodyPr/>
                    <a:lstStyle/>
                    <a:p>
                      <a:pPr algn="ctr">
                        <a:defRPr sz="800">
                          <a:latin typeface="Nexa Bold"/>
                        </a:defRPr>
                      </a:pPr>
                      <a:r>
                        <a:rPr sz="800">
                          <a:latin typeface="Nexa Bold"/>
                        </a:rPr>
                        <a:t>Disposable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710741977"/>
                  </a:ext>
                </a:extLst>
              </a:tr>
              <a:tr h="1609818">
                <a:tc>
                  <a:txBody>
                    <a:bodyPr/>
                    <a:lstStyle/>
                    <a:p>
                      <a:pPr algn="ctr">
                        <a:defRPr sz="800">
                          <a:latin typeface="Nexa Bold"/>
                        </a:defRPr>
                      </a:pPr>
                      <a:r>
                        <a:rPr sz="800">
                          <a:latin typeface="Nexa Bold"/>
                        </a:rPr>
                        <a:t>Disposable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960569238"/>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8/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Bj's And Sam's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Sector</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Cremo</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09818">
                <a:tc>
                  <a:txBody>
                    <a:bodyPr/>
                    <a:lstStyle/>
                    <a:p>
                      <a:pPr algn="ctr">
                        <a:defRPr sz="800">
                          <a:latin typeface="Nexa Bold"/>
                        </a:defRPr>
                      </a:pPr>
                      <a:r>
                        <a:rPr sz="800">
                          <a:latin typeface="Nexa Bold"/>
                        </a:rPr>
                        <a:t>Disposable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710741977"/>
                  </a:ext>
                </a:extLst>
              </a:tr>
              <a:tr h="1609818">
                <a:tc>
                  <a:txBody>
                    <a:bodyPr/>
                    <a:lstStyle/>
                    <a:p>
                      <a:pPr algn="ctr">
                        <a:defRPr sz="800">
                          <a:latin typeface="Nexa Bold"/>
                        </a:defRPr>
                      </a:pPr>
                      <a:r>
                        <a:rPr sz="800">
                          <a:latin typeface="Nexa Bold"/>
                        </a:rPr>
                        <a:t>Disposable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2802356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8/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sz="1200">
                <a:latin typeface="Nexa Bold (Headings)"/>
              </a:defRPr>
            </a:pPr>
            <a:r>
              <a:t>Evolution (%) Promo efficiency across brands | Bj's And Sam's | Razors | P12M</a:t>
            </a:r>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7"/>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1619882">
                <a:tc>
                  <a:txBody>
                    <a:bodyPr/>
                    <a:lstStyle/>
                    <a:p>
                      <a:pPr algn="ctr">
                        <a:defRPr sz="800">
                          <a:latin typeface="Nexa Bold"/>
                        </a:defRPr>
                      </a:pPr>
                      <a:r>
                        <a:t>Gillette</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11,77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1619882">
                <a:tc>
                  <a:txBody>
                    <a:bodyPr/>
                    <a:lstStyle/>
                    <a:p>
                      <a:pPr algn="ctr">
                        <a:defRPr sz="800">
                          <a:latin typeface="Nexa Bold"/>
                        </a:defRPr>
                      </a:pPr>
                      <a:r>
                        <a:t>Harry'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2,56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defRPr sz="800"/>
                      </a:pPr>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821054358"/>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8/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Bj's And Sam's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Sector</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Edgewell Personal Care</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09818">
                <a:tc>
                  <a:txBody>
                    <a:bodyPr/>
                    <a:lstStyle/>
                    <a:p>
                      <a:pPr algn="ctr">
                        <a:defRPr sz="800">
                          <a:latin typeface="Nexa Bold"/>
                        </a:defRPr>
                      </a:pPr>
                      <a:r>
                        <a:rPr sz="800">
                          <a:latin typeface="Nexa Bold"/>
                        </a:rPr>
                        <a:t>Disposable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710741977"/>
                  </a:ext>
                </a:extLst>
              </a:tr>
              <a:tr h="1609818">
                <a:tc>
                  <a:txBody>
                    <a:bodyPr/>
                    <a:lstStyle/>
                    <a:p>
                      <a:pPr algn="ctr">
                        <a:defRPr sz="800">
                          <a:latin typeface="Nexa Bold"/>
                        </a:defRPr>
                      </a:pPr>
                      <a:r>
                        <a:rPr sz="800">
                          <a:latin typeface="Nexa Bold"/>
                        </a:rPr>
                        <a:t>Disposable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977743101"/>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8/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1</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Bj's And Sam's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Sector</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Schick</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073212">
                <a:tc>
                  <a:txBody>
                    <a:bodyPr/>
                    <a:lstStyle/>
                    <a:p>
                      <a:pPr algn="ctr">
                        <a:defRPr sz="800">
                          <a:latin typeface="Nexa Bold"/>
                        </a:defRPr>
                      </a:pPr>
                      <a:r>
                        <a:rPr sz="800">
                          <a:latin typeface="Nexa Bold"/>
                        </a:rPr>
                        <a:t>System</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4067708359"/>
                  </a:ext>
                </a:extLst>
              </a:tr>
              <a:tr h="1073212">
                <a:tc>
                  <a:txBody>
                    <a:bodyPr/>
                    <a:lstStyle/>
                    <a:p>
                      <a:pPr algn="ctr">
                        <a:defRPr sz="800">
                          <a:latin typeface="Nexa Bold"/>
                        </a:defRPr>
                      </a:pPr>
                      <a:r>
                        <a:rPr sz="800">
                          <a:latin typeface="Nexa Bold"/>
                        </a:rPr>
                        <a:t>Razor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0741977"/>
                  </a:ext>
                </a:extLst>
              </a:tr>
              <a:tr h="1073212">
                <a:tc>
                  <a:txBody>
                    <a:bodyPr/>
                    <a:lstStyle/>
                    <a:p>
                      <a:pPr algn="ctr">
                        <a:defRPr sz="800">
                          <a:latin typeface="Nexa Bold"/>
                        </a:defRPr>
                      </a:pPr>
                      <a:r>
                        <a:rPr sz="800">
                          <a:latin typeface="Nexa Bold"/>
                        </a:rPr>
                        <a:t>Refill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321628187"/>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8/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2</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Bj's And Sam's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Sector</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Cremo</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073212">
                <a:tc>
                  <a:txBody>
                    <a:bodyPr/>
                    <a:lstStyle/>
                    <a:p>
                      <a:pPr algn="ctr">
                        <a:defRPr sz="800">
                          <a:latin typeface="Nexa Bold"/>
                        </a:defRPr>
                      </a:pPr>
                      <a:r>
                        <a:rPr sz="800">
                          <a:latin typeface="Nexa Bold"/>
                        </a:rPr>
                        <a:t>System</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4067708359"/>
                  </a:ext>
                </a:extLst>
              </a:tr>
              <a:tr h="1073212">
                <a:tc>
                  <a:txBody>
                    <a:bodyPr/>
                    <a:lstStyle/>
                    <a:p>
                      <a:pPr algn="ctr">
                        <a:defRPr sz="800">
                          <a:latin typeface="Nexa Bold"/>
                        </a:defRPr>
                      </a:pPr>
                      <a:r>
                        <a:rPr sz="800">
                          <a:latin typeface="Nexa Bold"/>
                        </a:rPr>
                        <a:t>Razor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0741977"/>
                  </a:ext>
                </a:extLst>
              </a:tr>
              <a:tr h="1073212">
                <a:tc>
                  <a:txBody>
                    <a:bodyPr/>
                    <a:lstStyle/>
                    <a:p>
                      <a:pPr algn="ctr">
                        <a:defRPr sz="800">
                          <a:latin typeface="Nexa Bold"/>
                        </a:defRPr>
                      </a:pPr>
                      <a:r>
                        <a:rPr sz="800">
                          <a:latin typeface="Nexa Bold"/>
                        </a:rPr>
                        <a:t>Refill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74110006"/>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8/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3</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Bj's And Sam's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Sector</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Edgewell Personal Care</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073212">
                <a:tc>
                  <a:txBody>
                    <a:bodyPr/>
                    <a:lstStyle/>
                    <a:p>
                      <a:pPr algn="ctr">
                        <a:defRPr sz="800">
                          <a:latin typeface="Nexa Bold"/>
                        </a:defRPr>
                      </a:pPr>
                      <a:r>
                        <a:rPr sz="800">
                          <a:latin typeface="Nexa Bold"/>
                        </a:rPr>
                        <a:t>System</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4067708359"/>
                  </a:ext>
                </a:extLst>
              </a:tr>
              <a:tr h="1073212">
                <a:tc>
                  <a:txBody>
                    <a:bodyPr/>
                    <a:lstStyle/>
                    <a:p>
                      <a:pPr algn="ctr">
                        <a:defRPr sz="800">
                          <a:latin typeface="Nexa Bold"/>
                        </a:defRPr>
                      </a:pPr>
                      <a:r>
                        <a:rPr sz="800">
                          <a:latin typeface="Nexa Bold"/>
                        </a:rPr>
                        <a:t>Razor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0741977"/>
                  </a:ext>
                </a:extLst>
              </a:tr>
              <a:tr h="1073212">
                <a:tc>
                  <a:txBody>
                    <a:bodyPr/>
                    <a:lstStyle/>
                    <a:p>
                      <a:pPr algn="ctr">
                        <a:defRPr sz="800">
                          <a:latin typeface="Nexa Bold"/>
                        </a:defRPr>
                      </a:pPr>
                      <a:r>
                        <a:rPr sz="800">
                          <a:latin typeface="Nexa Bold"/>
                        </a:rPr>
                        <a:t>Refill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055984453"/>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8/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4</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Walmart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Sector</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Schick</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09818">
                <a:tc>
                  <a:txBody>
                    <a:bodyPr/>
                    <a:lstStyle/>
                    <a:p>
                      <a:pPr algn="ctr">
                        <a:defRPr sz="800">
                          <a:latin typeface="Nexa Bold"/>
                        </a:defRPr>
                      </a:pPr>
                      <a:r>
                        <a:rPr sz="800">
                          <a:latin typeface="Nexa Bold"/>
                        </a:rPr>
                        <a:t>Disposable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710741977"/>
                  </a:ext>
                </a:extLst>
              </a:tr>
              <a:tr h="1609818">
                <a:tc>
                  <a:txBody>
                    <a:bodyPr/>
                    <a:lstStyle/>
                    <a:p>
                      <a:pPr algn="ctr">
                        <a:defRPr sz="800">
                          <a:latin typeface="Nexa Bold"/>
                        </a:defRPr>
                      </a:pPr>
                      <a:r>
                        <a:rPr sz="800">
                          <a:latin typeface="Nexa Bold"/>
                        </a:rPr>
                        <a:t>Disposable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563204183"/>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8/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5</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Walmart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Sector</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Equate</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09818">
                <a:tc>
                  <a:txBody>
                    <a:bodyPr/>
                    <a:lstStyle/>
                    <a:p>
                      <a:pPr algn="ctr">
                        <a:defRPr sz="800">
                          <a:latin typeface="Nexa Bold"/>
                        </a:defRPr>
                      </a:pPr>
                      <a:r>
                        <a:rPr sz="800">
                          <a:latin typeface="Nexa Bold"/>
                        </a:rPr>
                        <a:t>Disposable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710741977"/>
                  </a:ext>
                </a:extLst>
              </a:tr>
              <a:tr h="1609818">
                <a:tc>
                  <a:txBody>
                    <a:bodyPr/>
                    <a:lstStyle/>
                    <a:p>
                      <a:pPr algn="ctr">
                        <a:defRPr sz="800">
                          <a:latin typeface="Nexa Bold"/>
                        </a:defRPr>
                      </a:pPr>
                      <a:r>
                        <a:rPr sz="800">
                          <a:latin typeface="Nexa Bold"/>
                        </a:rPr>
                        <a:t>Disposable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28936800"/>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8/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6</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Walmart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Sector</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Cremo</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09818">
                <a:tc>
                  <a:txBody>
                    <a:bodyPr/>
                    <a:lstStyle/>
                    <a:p>
                      <a:pPr algn="ctr">
                        <a:defRPr sz="800">
                          <a:latin typeface="Nexa Bold"/>
                        </a:defRPr>
                      </a:pPr>
                      <a:r>
                        <a:rPr sz="800">
                          <a:latin typeface="Nexa Bold"/>
                        </a:rPr>
                        <a:t>Disposable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710741977"/>
                  </a:ext>
                </a:extLst>
              </a:tr>
              <a:tr h="1609818">
                <a:tc>
                  <a:txBody>
                    <a:bodyPr/>
                    <a:lstStyle/>
                    <a:p>
                      <a:pPr algn="ctr">
                        <a:defRPr sz="800">
                          <a:latin typeface="Nexa Bold"/>
                        </a:defRPr>
                      </a:pPr>
                      <a:r>
                        <a:rPr sz="800">
                          <a:latin typeface="Nexa Bold"/>
                        </a:rPr>
                        <a:t>Disposable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51366202"/>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8/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7</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Walmart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Sector</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Edgewell Personal Care</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609818">
                <a:tc>
                  <a:txBody>
                    <a:bodyPr/>
                    <a:lstStyle/>
                    <a:p>
                      <a:pPr algn="ctr">
                        <a:defRPr sz="800">
                          <a:latin typeface="Nexa Bold"/>
                        </a:defRPr>
                      </a:pPr>
                      <a:r>
                        <a:rPr sz="800">
                          <a:latin typeface="Nexa Bold"/>
                        </a:rPr>
                        <a:t>Disposable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710741977"/>
                  </a:ext>
                </a:extLst>
              </a:tr>
              <a:tr h="1609818">
                <a:tc>
                  <a:txBody>
                    <a:bodyPr/>
                    <a:lstStyle/>
                    <a:p>
                      <a:pPr algn="ctr">
                        <a:defRPr sz="800">
                          <a:latin typeface="Nexa Bold"/>
                        </a:defRPr>
                      </a:pPr>
                      <a:r>
                        <a:rPr sz="800">
                          <a:latin typeface="Nexa Bold"/>
                        </a:rPr>
                        <a:t>Disposable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088920602"/>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8/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8</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Walmart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Sector</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Schick</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4909">
                <a:tc>
                  <a:txBody>
                    <a:bodyPr/>
                    <a:lstStyle/>
                    <a:p>
                      <a:pPr algn="ctr">
                        <a:defRPr sz="800">
                          <a:latin typeface="Nexa Bold"/>
                        </a:defRPr>
                      </a:pPr>
                      <a:r>
                        <a:rPr sz="800">
                          <a:latin typeface="Nexa Bold"/>
                        </a:rPr>
                        <a:t>System</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a:solidFill>
                          <a:srgbClr val="575555"/>
                        </a:solidFill>
                        <a:latin typeface="Nexa Book" panose="00000400000000000000" pitchFamily="50"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819674815"/>
                  </a:ext>
                </a:extLst>
              </a:tr>
              <a:tr h="804909">
                <a:tc>
                  <a:txBody>
                    <a:bodyPr/>
                    <a:lstStyle/>
                    <a:p>
                      <a:pPr algn="ctr">
                        <a:defRPr sz="800">
                          <a:latin typeface="Nexa Bold"/>
                        </a:defRPr>
                      </a:pPr>
                      <a:r>
                        <a:rPr sz="800">
                          <a:latin typeface="Nexa Bold"/>
                        </a:rPr>
                        <a:t>Hybrid</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67708359"/>
                  </a:ext>
                </a:extLst>
              </a:tr>
              <a:tr h="804909">
                <a:tc>
                  <a:txBody>
                    <a:bodyPr/>
                    <a:lstStyle/>
                    <a:p>
                      <a:pPr algn="ctr">
                        <a:defRPr sz="800">
                          <a:latin typeface="Nexa Bold"/>
                        </a:defRPr>
                      </a:pPr>
                      <a:r>
                        <a:rPr sz="800">
                          <a:latin typeface="Nexa Bold"/>
                        </a:rPr>
                        <a:t>Razor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0741977"/>
                  </a:ext>
                </a:extLst>
              </a:tr>
              <a:tr h="804909">
                <a:tc>
                  <a:txBody>
                    <a:bodyPr/>
                    <a:lstStyle/>
                    <a:p>
                      <a:pPr algn="ctr">
                        <a:defRPr sz="800">
                          <a:latin typeface="Nexa Bold"/>
                        </a:defRPr>
                      </a:pPr>
                      <a:r>
                        <a:rPr sz="800">
                          <a:latin typeface="Nexa Bold"/>
                        </a:rPr>
                        <a:t>Refill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37672338"/>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8/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9</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pPr>
              <a:defRPr sz="1200">
                <a:latin typeface="Nexa Bold (Headings)"/>
              </a:defRPr>
            </a:pPr>
            <a:r>
              <a:t>Volume Sold on Deal | Walmart | P12M</a:t>
            </a:r>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Sector</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a:solidFill>
                            <a:srgbClr val="575555"/>
                          </a:solidFill>
                          <a:latin typeface="Nexa Bold"/>
                        </a:defRPr>
                      </a:pPr>
                      <a:r>
                        <a:rPr sz="900">
                          <a:latin typeface="Nexa Bold"/>
                        </a:rPr>
                        <a:t>Equate</a:t>
                      </a:r>
                    </a:p>
                    <a:p>
                      <a:pPr algn="ctr">
                        <a:defRPr>
                          <a:solidFill>
                            <a:srgbClr val="575555"/>
                          </a:solidFill>
                        </a:defRPr>
                      </a:pPr>
                      <a:r>
                        <a:rPr sz="900">
                          <a:latin typeface="Nexa Bold"/>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4909">
                <a:tc>
                  <a:txBody>
                    <a:bodyPr/>
                    <a:lstStyle/>
                    <a:p>
                      <a:pPr algn="ctr">
                        <a:defRPr sz="800">
                          <a:latin typeface="Nexa Bold"/>
                        </a:defRPr>
                      </a:pPr>
                      <a:r>
                        <a:rPr sz="800">
                          <a:latin typeface="Nexa Bold"/>
                        </a:rPr>
                        <a:t>System</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a:solidFill>
                          <a:srgbClr val="575555"/>
                        </a:solidFill>
                        <a:latin typeface="Nexa Book" panose="00000400000000000000" pitchFamily="50"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E5F4F3"/>
                    </a:solidFill>
                  </a:tcPr>
                </a:tc>
                <a:extLst>
                  <a:ext uri="{0D108BD9-81ED-4DB2-BD59-A6C34878D82A}">
                    <a16:rowId xmlns:a16="http://schemas.microsoft.com/office/drawing/2014/main" val="819674815"/>
                  </a:ext>
                </a:extLst>
              </a:tr>
              <a:tr h="804909">
                <a:tc>
                  <a:txBody>
                    <a:bodyPr/>
                    <a:lstStyle/>
                    <a:p>
                      <a:pPr algn="ctr">
                        <a:defRPr sz="800">
                          <a:latin typeface="Nexa Bold"/>
                        </a:defRPr>
                      </a:pPr>
                      <a:r>
                        <a:rPr sz="800">
                          <a:latin typeface="Nexa Bold"/>
                        </a:rPr>
                        <a:t>Hybrid</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67708359"/>
                  </a:ext>
                </a:extLst>
              </a:tr>
              <a:tr h="804909">
                <a:tc>
                  <a:txBody>
                    <a:bodyPr/>
                    <a:lstStyle/>
                    <a:p>
                      <a:pPr algn="ctr">
                        <a:defRPr sz="800">
                          <a:latin typeface="Nexa Bold"/>
                        </a:defRPr>
                      </a:pPr>
                      <a:r>
                        <a:rPr sz="800">
                          <a:latin typeface="Nexa Bold"/>
                        </a:rPr>
                        <a:t>Razor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0741977"/>
                  </a:ext>
                </a:extLst>
              </a:tr>
              <a:tr h="804909">
                <a:tc>
                  <a:txBody>
                    <a:bodyPr/>
                    <a:lstStyle/>
                    <a:p>
                      <a:pPr algn="ctr">
                        <a:defRPr sz="800">
                          <a:latin typeface="Nexa Bold"/>
                        </a:defRPr>
                      </a:pPr>
                      <a:r>
                        <a:rPr sz="800">
                          <a:latin typeface="Nexa Bold"/>
                        </a:rPr>
                        <a:t>Refills</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317261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Props1.xml><?xml version="1.0" encoding="utf-8"?>
<ds:datastoreItem xmlns:ds="http://schemas.openxmlformats.org/officeDocument/2006/customXml" ds:itemID="{B7551193-7C66-436D-8ABA-4B99F0776D1A}">
  <ds:schemaRefs>
    <ds:schemaRef ds:uri="http://schemas.microsoft.com/sharepoint/v3/contenttype/forms"/>
  </ds:schemaRefs>
</ds:datastoreItem>
</file>

<file path=customXml/itemProps2.xml><?xml version="1.0" encoding="utf-8"?>
<ds:datastoreItem xmlns:ds="http://schemas.openxmlformats.org/officeDocument/2006/customXml" ds:itemID="{B4CCBFC5-8914-480B-85D5-05E1FE2691B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9DC54F4-FA62-467D-956C-561D8E4CAD18}">
  <ds:schemaRefs>
    <ds:schemaRef ds:uri="474cf4e4-8a51-432b-9e1b-0ea607ac38ff"/>
    <ds:schemaRef ds:uri="http://purl.org/dc/elements/1.1/"/>
    <ds:schemaRef ds:uri="http://www.w3.org/XML/1998/namespace"/>
    <ds:schemaRef ds:uri="http://schemas.microsoft.com/office/infopath/2007/PartnerControls"/>
    <ds:schemaRef ds:uri="http://purl.org/dc/dcmitype/"/>
    <ds:schemaRef ds:uri="http://schemas.microsoft.com/office/2006/documentManagement/types"/>
    <ds:schemaRef ds:uri="0ad93b7f-b0cd-4c46-aaaf-ff14495948cf"/>
    <ds:schemaRef ds:uri="http://schemas.microsoft.com/office/2006/metadata/properties"/>
    <ds:schemaRef ds:uri="http://schemas.openxmlformats.org/package/2006/metadata/core-properties"/>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30</TotalTime>
  <Words>28459</Words>
  <Application>Microsoft Office PowerPoint</Application>
  <PresentationFormat>On-screen Show (16:9)</PresentationFormat>
  <Paragraphs>9425</Paragraphs>
  <Slides>243</Slides>
  <Notes>95</Notes>
  <HiddenSlides>0</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1</vt:i4>
      </vt:variant>
      <vt:variant>
        <vt:lpstr>Slide Titles</vt:lpstr>
      </vt:variant>
      <vt:variant>
        <vt:i4>243</vt:i4>
      </vt:variant>
    </vt:vector>
  </HeadingPairs>
  <TitlesOfParts>
    <vt:vector size="257" baseType="lpstr">
      <vt:lpstr>Aptos</vt:lpstr>
      <vt:lpstr>Arial</vt:lpstr>
      <vt:lpstr>Calibri</vt:lpstr>
      <vt:lpstr>Nexa</vt:lpstr>
      <vt:lpstr>Nexa Bold</vt:lpstr>
      <vt:lpstr>Nexa Bold (Headings)</vt:lpstr>
      <vt:lpstr>Nexa Book</vt:lpstr>
      <vt:lpstr>Nexa Book (Body)</vt:lpstr>
      <vt:lpstr>Nexa Book Italic</vt:lpstr>
      <vt:lpstr>Nexa-RegularItalic</vt:lpstr>
      <vt:lpstr>Open Sans</vt:lpstr>
      <vt:lpstr>Raleway</vt:lpstr>
      <vt:lpstr>PricingOne Light Template Oct 2024</vt:lpstr>
      <vt:lpstr>think-cell Slide</vt:lpstr>
      <vt:lpstr>Promo evolution (Replace With SO WHAT)</vt:lpstr>
      <vt:lpstr>Promo evolution (Replace With SO WHAT)</vt:lpstr>
      <vt:lpstr>Promo evolution (Replace With SO WHAT)</vt:lpstr>
      <vt:lpstr>Promo evolution (Replace With SO WHAT)</vt:lpstr>
      <vt:lpstr>Promo evolution (Replace With SO WHAT)</vt:lpstr>
      <vt:lpstr>Promo evolution (Replace With SO WHAT)</vt:lpstr>
      <vt:lpstr>Promo evolution (Replace With SO WHAT)</vt:lpstr>
      <vt:lpstr>Promo evolution (Replace With SO WHAT)</vt:lpstr>
      <vt:lpstr>Promo evolution (Replace With SO WHAT)</vt:lpstr>
      <vt:lpstr>Promo evolution (Replace With SO WHAT)</vt:lpstr>
      <vt:lpstr>Promo evolution (Replace With SO WHAT)</vt:lpstr>
      <vt:lpstr>Promo evolution (Replace With SO WHAT)</vt:lpstr>
      <vt:lpstr>VSOD Summary by Sector (Replace With SO WHAT)</vt:lpstr>
      <vt:lpstr>VSOD Summary by Sector (Replace With SO WHAT)</vt:lpstr>
      <vt:lpstr>VSOD Summary by Sector (Replace With SO WHAT)</vt:lpstr>
      <vt:lpstr>VSOD Summary by Sector (Replace With SO WHAT)</vt:lpstr>
      <vt:lpstr>Value uplift by retailer by brand (Replace With SO WHAT)</vt:lpstr>
      <vt:lpstr>Value uplift by retailer by brand (Replace With SO WHAT)</vt:lpstr>
      <vt:lpstr>Value uplift by retailer by brand (Replace With SO WHAT)</vt:lpstr>
      <vt:lpstr>Value uplift by retailer by brand (Replace With SO WHAT)</vt:lpstr>
      <vt:lpstr>Value uplift by retailer by brand (Replace With SO WHAT)</vt:lpstr>
      <vt:lpstr>Value uplift by retailer by brand (Replace With SO WHAT)</vt:lpstr>
      <vt:lpstr>Volume Uplift vs discount depth (Replace With SO WHAT)</vt:lpstr>
      <vt:lpstr>Volume Uplift vs discount depth (Replace With SO WHAT)</vt:lpstr>
      <vt:lpstr>Volume Uplift vs discount depth (Replace With SO WHAT)</vt:lpstr>
      <vt:lpstr>Volume Uplift vs discount depth (Replace With SO WHAT)</vt:lpstr>
      <vt:lpstr>Volume Uplift vs discount depth (Replace With SO WHAT)</vt:lpstr>
      <vt:lpstr>Volume Uplift vs discount depth (Replace With SO WHAT)</vt:lpstr>
      <vt:lpstr>Volume Uplift vs discount depth (Replace With SO WHAT)</vt:lpstr>
      <vt:lpstr>Volume Uplift vs discount depth (Replace With SO WHAT)</vt:lpstr>
      <vt:lpstr>Volume Uplift vs discount depth (Replace With SO WHAT)</vt:lpstr>
      <vt:lpstr>Volume Uplift vs discount depth (Replace With SO WHAT)</vt:lpstr>
      <vt:lpstr>Volume Uplift vs discount depth (Replace With SO WHAT)</vt:lpstr>
      <vt:lpstr>Volume Uplift vs discount depth (Replace With SO WHAT)</vt:lpstr>
      <vt:lpstr>Value Uplift vs Promo Efficiency Quadrant (Replace With SO WHAT)</vt:lpstr>
      <vt:lpstr>Value Uplift vs Promo Efficiency Quadrant (Replace With SO WHAT)</vt:lpstr>
      <vt:lpstr>Value Uplift vs Promo Efficiency Quadrant (Replace With SO WHAT)</vt:lpstr>
      <vt:lpstr>Value Uplift vs Promo Efficiency Quadrant (Replace With SO WHAT)</vt:lpstr>
      <vt:lpstr>Value Uplift vs Promo Efficiency Quadrant (Replace With SO WHAT)</vt:lpstr>
      <vt:lpstr>Value Uplift vs Promo Efficiency Quadrant (Replace With SO WHAT)</vt:lpstr>
      <vt:lpstr>Value Uplift vs Promo Efficiency Quadrant (Replace With SO WHAT)</vt:lpstr>
      <vt:lpstr>Value Uplift vs Promo Efficiency Quadrant (Replace With SO WHAT)</vt:lpstr>
      <vt:lpstr>Value Uplift vs Promo Efficiency Quadrant (Replace With SO WHAT)</vt:lpstr>
      <vt:lpstr>Value Uplift vs Promo Efficiency Quadrant (Replace With SO WHAT)</vt:lpstr>
      <vt:lpstr>Value Uplift vs Promo Efficiency Quadrant (Replace With SO WHAT)</vt:lpstr>
      <vt:lpstr>Value Uplift vs Promo Efficiency Quadrant (Replace With SO WHAT)</vt:lpstr>
      <vt:lpstr>Top 20 promotions (Replace With SO WHAT)</vt:lpstr>
      <vt:lpstr>Top 20 promotions (Replace With SO WHAT)</vt:lpstr>
      <vt:lpstr>Top 20 promotions (Replace With SO WHAT)</vt:lpstr>
      <vt:lpstr>Top 20 promotions (Replace With SO WHAT)</vt:lpstr>
      <vt:lpstr>Top 20 promotions (Replace With SO WHAT)</vt:lpstr>
      <vt:lpstr>Top 20 promotions (Replace With SO WHAT)</vt:lpstr>
      <vt:lpstr>Top 20 promotions (Replace With SO WHAT)</vt:lpstr>
      <vt:lpstr>Top 20 promotions (Replace With SO WHAT)</vt:lpstr>
      <vt:lpstr>Top 20 promotions (Replace With SO WHAT)</vt:lpstr>
      <vt:lpstr>Top 20 promotions (Replace With SO WHAT)</vt:lpstr>
      <vt:lpstr>Top 20 promotions (Replace With SO WHAT)</vt:lpstr>
      <vt:lpstr>Top 20 promotions (Replace With SO WHAT)</vt:lpstr>
      <vt:lpstr>Top 20 promotions CLIENT ONLY (Replace With SO WHAT)</vt:lpstr>
      <vt:lpstr>Top 20 promotions CLIENT ONLY (Replace With SO WHAT)</vt:lpstr>
      <vt:lpstr>Top 20 promotions CLIENT ONLY (Replace With SO WHAT)</vt:lpstr>
      <vt:lpstr>Top 20 promotions CLIENT ONLY (Replace With SO WHAT)</vt:lpstr>
      <vt:lpstr>Top 20 promotions CLIENT ONLY (Replace With SO WHAT)</vt:lpstr>
      <vt:lpstr>Top 20 promotions CLIENT ONLY (Replace With SO WHAT)</vt:lpstr>
      <vt:lpstr>Top 20 promotions CLIENT ONLY (Replace With SO WHAT)</vt:lpstr>
      <vt:lpstr>Top 20 promotions CLIENT ONLY (Replace With SO WHAT)</vt:lpstr>
      <vt:lpstr>Top 20 promotions CLIENT ONLY (Replace With SO WHAT)</vt:lpstr>
      <vt:lpstr>Top 20 promotions CLIENT ONLY (Replace With SO WHAT)</vt:lpstr>
      <vt:lpstr>Top 20 promotions CLIENT ONLY (Replace With SO WHAT)</vt:lpstr>
      <vt:lpstr>Bottom 20 promotions CLIENT ONLY (Replace With SO WHAT)</vt:lpstr>
      <vt:lpstr>Bottom 20 promotions CLIENT ONLY (Replace With SO WHAT)</vt:lpstr>
      <vt:lpstr>Bottom 20 promotions CLIENT ONLY (Replace With SO WHAT)</vt:lpstr>
      <vt:lpstr>Bottom 20 promotions CLIENT ONLY (Replace With SO WHAT)</vt:lpstr>
      <vt:lpstr>Bottom 20 promotions CLIENT ONLY (Replace With SO WHAT)</vt:lpstr>
      <vt:lpstr>Bottom 20 promotions CLIENT ONLY (Replace With SO WHAT)</vt:lpstr>
      <vt:lpstr>Bottom 20 promotions CLIENT ONLY (Replace With SO WHAT)</vt:lpstr>
      <vt:lpstr>Bottom 20 promotions CLIENT ONLY (Replace With SO WHAT)</vt:lpstr>
      <vt:lpstr>Bottom 20 promotions CLIENT ONLY (Replace With SO WHAT)</vt:lpstr>
      <vt:lpstr>Bottom 20 promotions CLIENT ONLY (Replace With SO WHAT)</vt:lpstr>
      <vt:lpstr>Bottom 20 promotions CLIENT ONLY (Replace With SO WHAT)</vt:lpstr>
      <vt:lpstr>Volume Sold on Deal (Replace With SO WHAT)</vt:lpstr>
      <vt:lpstr>Volume Sold on Deal (Replace With SO WHAT)</vt:lpstr>
      <vt:lpstr>Volume Sold on Deal (Replace With SO WHAT)</vt:lpstr>
      <vt:lpstr>Volume Sold on Deal (Replace With SO WHAT)</vt:lpstr>
      <vt:lpstr>Volume Sold on Deal (Replace With SO WHAT)</vt:lpstr>
      <vt:lpstr>Volume Sold on Deal (Replace With SO WHAT)</vt:lpstr>
      <vt:lpstr>Volume Sold on Deal (Replace With SO WHAT)</vt:lpstr>
      <vt:lpstr>Volume Sold on Deal (Replace With SO WHAT)</vt:lpstr>
      <vt:lpstr>Volume Sold on Deal (Replace With SO WHAT)</vt:lpstr>
      <vt:lpstr>Volume Sold on Deal (Replace With SO WHAT)</vt:lpstr>
      <vt:lpstr>Volume Sold on Deal (Replace With SO WHAT)</vt:lpstr>
      <vt:lpstr>Volume Sold on Deal (Replace With SO WHAT)</vt:lpstr>
      <vt:lpstr>Volume Sold on Deal (Replace With SO WHAT)</vt:lpstr>
      <vt:lpstr>Volume Sold on Deal (Replace With SO WHAT)</vt:lpstr>
      <vt:lpstr>Volume Sold on Deal (Replace With SO WHAT)</vt:lpstr>
      <vt:lpstr>Volume Sold on Deal (Replace With SO WHAT)</vt:lpstr>
      <vt:lpstr>Volume Sold on Deal (Replace With SO WHAT)</vt:lpstr>
      <vt:lpstr>Volume Sold on Deal (Replace With SO WHAT)</vt:lpstr>
      <vt:lpstr>Volume Sold on Deal (Replace With SO WHAT)</vt:lpstr>
      <vt:lpstr>Volume Sold on Deal (Replace With SO WHAT)</vt:lpstr>
      <vt:lpstr>Volume Sold on Deal (Replace With SO WHAT)</vt:lpstr>
      <vt:lpstr>Volume Sold on Deal (Replace With SO WHAT)</vt:lpstr>
      <vt:lpstr>Volume Sold on Deal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sales per retailer (Replace With SO WHAT)</vt:lpstr>
      <vt:lpstr>Promo sales per retailer (Replace With SO WHAT)</vt:lpstr>
      <vt:lpstr>Promo sales per retailer (Replace With SO WHAT)</vt:lpstr>
      <vt:lpstr>Promo sales per retailer (Replace With SO WHAT)</vt:lpstr>
      <vt:lpstr>Promo sales per retailer (Replace With SO WHAT)</vt:lpstr>
      <vt:lpstr>Promo sales per retailer (Replace With SO WHAT)</vt:lpstr>
      <vt:lpstr>Promo sales per retailer (Replace With SO WHAT)</vt:lpstr>
      <vt:lpstr>Promo sales per retailer (Replace With SO WHAT)</vt:lpstr>
      <vt:lpstr>Promo sales per retailer (Replace With SO WHAT)</vt:lpstr>
      <vt:lpstr>Promo sales per retailer (Replace With SO WHAT)</vt:lpstr>
      <vt:lpstr>Promo sales per retailer (Replace With SO WHAT)</vt:lpstr>
      <vt:lpstr>Promo sales per retailer (Replace With SO WHAT)</vt:lpstr>
      <vt:lpstr>Promo sales per retailer (Replace With SO WHAT)</vt:lpstr>
      <vt:lpstr>Promo sales per retailer (Replace With SO WHAT)</vt:lpstr>
      <vt:lpstr>Promo sales per retailer (Replace With SO WHAT)</vt:lpstr>
      <vt:lpstr>Promo sales per retailer (Replace With SO WHAT)</vt:lpstr>
      <vt:lpstr>Promo sales per retailer (Replace With SO WHAT)</vt:lpstr>
      <vt:lpstr>Promo sales per retailer (Replace With SO WHAT)</vt:lpstr>
      <vt:lpstr>Promo sales per retailer (Replace With SO WHAT)</vt:lpstr>
      <vt:lpstr>Promo sales per retailer (Replace With SO WHAT)</vt:lpstr>
      <vt:lpstr>Promo sales per retailer (Replace With SO WHAT)</vt:lpstr>
      <vt:lpstr>Promo sales per retailer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Seasonality Index (Replace with SO WHAT)</vt:lpstr>
      <vt:lpstr>Seasonality Index (Replace with SO WHAT)</vt:lpstr>
      <vt:lpstr>Seasonality Index (Replace with SO WHAT)</vt:lpstr>
      <vt:lpstr>Seasonality Index (Replace with SO WHAT)</vt:lpstr>
      <vt:lpstr>Seasonality Index (Replace with SO WHAT)</vt:lpstr>
      <vt:lpstr>Seasonality Index (Replace with SO WHAT)</vt:lpstr>
      <vt:lpstr>Seasonality Index (Replace with SO WHAT)</vt:lpstr>
      <vt:lpstr>Seasonality Index (Replace with SO WHAT)</vt:lpstr>
      <vt:lpstr>Promotional Frequency Analysis (Replace with So What)</vt:lpstr>
      <vt:lpstr>Promotional Frequency Analysis (Replace with So What)</vt:lpstr>
      <vt:lpstr>Promotional Frequency Analysis (Replace with So What)</vt:lpstr>
      <vt:lpstr>Promotional Frequency Analysis (Replace with So What)</vt:lpstr>
      <vt:lpstr>Promotional Frequency Analysis (Replace with So What)</vt:lpstr>
      <vt:lpstr>Promotional Frequency Analysis (Replace with So What)</vt:lpstr>
      <vt:lpstr>Promotional Frequency Analysis (Replace with So What)</vt:lpstr>
      <vt:lpstr>Promotional Frequency Analysis (Replace with So What)</vt:lpstr>
      <vt:lpstr>Promotional Frequency Analysis (Replace with So What)</vt:lpstr>
      <vt:lpstr>Promotional Frequency Analysis (Replace with So What)</vt:lpstr>
      <vt:lpstr>Promotional Frequency Analysis (Replace with So What)</vt:lpstr>
      <vt:lpstr>Promotional Frequency Analysis (Replace with So What)</vt:lpstr>
      <vt:lpstr>Promotional Frequency Analysis (Replace with So What)</vt:lpstr>
      <vt:lpstr>Promotional Frequency Analysis (Replace with So What)</vt:lpstr>
      <vt:lpstr>Promotional Frequency Analysis (Replace with So What)</vt:lpstr>
      <vt:lpstr>Promotional Frequency Analysis (Replace with So What)</vt:lpstr>
      <vt:lpstr>Promo evolution (Replace With SO WHAT)</vt:lpstr>
      <vt:lpstr>Promo evolution (Replace With SO WHAT)</vt:lpstr>
      <vt:lpstr>Promo evolution (Replace With SO WHAT)</vt:lpstr>
      <vt:lpstr>Promo evolution (Replace With SO WHAT)</vt:lpstr>
      <vt:lpstr>Promo evolution (Replace With SO WHAT)</vt:lpstr>
      <vt:lpstr>Promo evolution (Replace With SO WHAT)</vt:lpstr>
      <vt:lpstr>Promo evolution (Replace With SO WHAT)</vt:lpstr>
      <vt:lpstr>Promo evolution (Replace With SO WHAT)</vt:lpstr>
      <vt:lpstr>Promo evolution (Replace With SO WHAT)</vt:lpstr>
      <vt:lpstr>Promo evolution (Replace With SO WHAT)</vt:lpstr>
      <vt:lpstr>Promo evolution (Replace With SO WHAT)</vt:lpstr>
      <vt:lpstr>Promo evolution (Replace With SO WHAT)</vt:lpstr>
      <vt:lpstr>VSOD Summary by Sector (Replace With SO WHAT)</vt:lpstr>
      <vt:lpstr>VSOD Summary by Sector (Replace With SO WHAT)</vt:lpstr>
      <vt:lpstr>VSOD Summary by Sector (Replace With SO WHAT)</vt:lpstr>
      <vt:lpstr>VSOD Summary by Sector (Replace With SO WHAT)</vt:lpstr>
      <vt:lpstr>Value uplift by retailer by brand (Replace With SO WHAT)</vt:lpstr>
      <vt:lpstr>Value uplift by retailer by brand (Replace With SO WHAT)</vt:lpstr>
      <vt:lpstr>Value uplift by retailer by brand (Replace With SO WHAT)</vt:lpstr>
      <vt:lpstr>Value uplift by retailer by brand (Replace With SO WHAT)</vt:lpstr>
      <vt:lpstr>Value uplift by retailer by brand (Replace With SO WHAT)</vt:lpstr>
      <vt:lpstr>Value uplift by retailer by brand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hare vs Value Share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Bhagya RANASINGHE</dc:creator>
  <cp:lastModifiedBy>Aleaa SALAH</cp:lastModifiedBy>
  <cp:revision>60</cp:revision>
  <dcterms:created xsi:type="dcterms:W3CDTF">2024-07-08T12:46:55Z</dcterms:created>
  <dcterms:modified xsi:type="dcterms:W3CDTF">2025-08-18T11:25: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